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4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5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6.xml" ContentType="application/vnd.openxmlformats-officedocument.them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7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8.xml" ContentType="application/vnd.openxmlformats-officedocument.them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9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10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11.xml" ContentType="application/vnd.openxmlformats-officedocument.them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heme/theme12.xml" ContentType="application/vnd.openxmlformats-officedocument.theme+xml"/>
  <Override PartName="/ppt/tags/tag91.xml" ContentType="application/vnd.openxmlformats-officedocument.presentationml.tags+xml"/>
  <Override PartName="/ppt/theme/theme13.xml" ContentType="application/vnd.openxmlformats-officedocument.theme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notesSlides/notesSlide1.xml" ContentType="application/vnd.openxmlformats-officedocument.presentationml.notesSlid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notesSlides/notesSlide2.xml" ContentType="application/vnd.openxmlformats-officedocument.presentationml.notesSlide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notesSlides/notesSlide3.xml" ContentType="application/vnd.openxmlformats-officedocument.presentationml.notesSlide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notesSlides/notesSlide4.xml" ContentType="application/vnd.openxmlformats-officedocument.presentationml.notesSlide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notesSlides/notesSlide5.xml" ContentType="application/vnd.openxmlformats-officedocument.presentationml.notesSlid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notesSlides/notesSlide6.xml" ContentType="application/vnd.openxmlformats-officedocument.presentationml.notesSlid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notesSlides/notesSlide7.xml" ContentType="application/vnd.openxmlformats-officedocument.presentationml.notesSlid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notesSlides/notesSlide8.xml" ContentType="application/vnd.openxmlformats-officedocument.presentationml.notesSlide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notesSlides/notesSlide9.xml" ContentType="application/vnd.openxmlformats-officedocument.presentationml.notesSlide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notesSlides/notesSlide10.xml" ContentType="application/vnd.openxmlformats-officedocument.presentationml.notesSlid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notesSlides/notesSlide11.xml" ContentType="application/vnd.openxmlformats-officedocument.presentationml.notesSlide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notesSlides/notesSlide12.xml" ContentType="application/vnd.openxmlformats-officedocument.presentationml.notesSlide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notesSlides/notesSlide13.xml" ContentType="application/vnd.openxmlformats-officedocument.presentationml.notesSlide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notesSlides/notesSlide14.xml" ContentType="application/vnd.openxmlformats-officedocument.presentationml.notesSlide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notesSlides/notesSlide15.xml" ContentType="application/vnd.openxmlformats-officedocument.presentationml.notesSlide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notesSlides/notesSlide16.xml" ContentType="application/vnd.openxmlformats-officedocument.presentationml.notesSlide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17.xml" ContentType="application/vnd.openxmlformats-officedocument.presentationml.notesSlide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notesSlides/notesSlide18.xml" ContentType="application/vnd.openxmlformats-officedocument.presentationml.notesSlide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notesSlides/notesSlide19.xml" ContentType="application/vnd.openxmlformats-officedocument.presentationml.notesSlide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notesSlides/notesSlide20.xml" ContentType="application/vnd.openxmlformats-officedocument.presentationml.notesSlide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notesSlides/notesSlide21.xml" ContentType="application/vnd.openxmlformats-officedocument.presentationml.notesSlide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22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notesSlides/notesSlide23.xml" ContentType="application/vnd.openxmlformats-officedocument.presentationml.notesSlide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notesSlides/notesSlide24.xml" ContentType="application/vnd.openxmlformats-officedocument.presentationml.notesSlide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notesSlides/notesSlide25.xml" ContentType="application/vnd.openxmlformats-officedocument.presentationml.notesSlid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notesSlides/notesSlide26.xml" ContentType="application/vnd.openxmlformats-officedocument.presentationml.notesSlide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notesSlides/notesSlide27.xml" ContentType="application/vnd.openxmlformats-officedocument.presentationml.notesSlid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28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29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30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31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32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33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34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notesSlides/notesSlide35.xml" ContentType="application/vnd.openxmlformats-officedocument.presentationml.notesSlide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36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notesSlides/notesSlide37.xml" ContentType="application/vnd.openxmlformats-officedocument.presentationml.notesSlide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notesSlides/notesSlide38.xml" ContentType="application/vnd.openxmlformats-officedocument.presentationml.notesSlide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notesSlides/notesSlide39.xml" ContentType="application/vnd.openxmlformats-officedocument.presentationml.notesSlide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40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41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notesSlides/notesSlide42.xml" ContentType="application/vnd.openxmlformats-officedocument.presentationml.notesSlide+xml"/>
  <Override PartName="/ppt/tags/tag2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  <p:sldMasterId id="2147483668" r:id="rId6"/>
    <p:sldMasterId id="2147483672" r:id="rId7"/>
    <p:sldMasterId id="2147483680" r:id="rId8"/>
    <p:sldMasterId id="2147483713" r:id="rId9"/>
    <p:sldMasterId id="2147483721" r:id="rId10"/>
    <p:sldMasterId id="2147483734" r:id="rId11"/>
    <p:sldMasterId id="2147483743" r:id="rId12"/>
    <p:sldMasterId id="2147483753" r:id="rId13"/>
    <p:sldMasterId id="2147483762" r:id="rId14"/>
    <p:sldMasterId id="2147483772" r:id="rId15"/>
  </p:sldMasterIdLst>
  <p:notesMasterIdLst>
    <p:notesMasterId r:id="rId58"/>
  </p:notesMasterIdLst>
  <p:handoutMasterIdLst>
    <p:handoutMasterId r:id="rId59"/>
  </p:handoutMasterIdLst>
  <p:sldIdLst>
    <p:sldId id="308" r:id="rId16"/>
    <p:sldId id="307" r:id="rId17"/>
    <p:sldId id="380" r:id="rId18"/>
    <p:sldId id="383" r:id="rId19"/>
    <p:sldId id="312" r:id="rId20"/>
    <p:sldId id="313" r:id="rId21"/>
    <p:sldId id="314" r:id="rId22"/>
    <p:sldId id="315" r:id="rId23"/>
    <p:sldId id="316" r:id="rId24"/>
    <p:sldId id="317" r:id="rId25"/>
    <p:sldId id="318" r:id="rId26"/>
    <p:sldId id="319" r:id="rId27"/>
    <p:sldId id="384" r:id="rId28"/>
    <p:sldId id="258" r:id="rId29"/>
    <p:sldId id="387" r:id="rId30"/>
    <p:sldId id="388" r:id="rId31"/>
    <p:sldId id="389" r:id="rId32"/>
    <p:sldId id="390" r:id="rId33"/>
    <p:sldId id="391" r:id="rId34"/>
    <p:sldId id="392" r:id="rId35"/>
    <p:sldId id="393" r:id="rId36"/>
    <p:sldId id="394" r:id="rId37"/>
    <p:sldId id="395" r:id="rId38"/>
    <p:sldId id="396" r:id="rId39"/>
    <p:sldId id="398" r:id="rId40"/>
    <p:sldId id="321" r:id="rId41"/>
    <p:sldId id="322" r:id="rId42"/>
    <p:sldId id="323" r:id="rId43"/>
    <p:sldId id="324" r:id="rId44"/>
    <p:sldId id="325" r:id="rId45"/>
    <p:sldId id="326" r:id="rId46"/>
    <p:sldId id="327" r:id="rId47"/>
    <p:sldId id="328" r:id="rId48"/>
    <p:sldId id="329" r:id="rId49"/>
    <p:sldId id="330" r:id="rId50"/>
    <p:sldId id="331" r:id="rId51"/>
    <p:sldId id="332" r:id="rId52"/>
    <p:sldId id="333" r:id="rId53"/>
    <p:sldId id="334" r:id="rId54"/>
    <p:sldId id="376" r:id="rId55"/>
    <p:sldId id="340" r:id="rId56"/>
    <p:sldId id="281" r:id="rId57"/>
  </p:sldIdLst>
  <p:sldSz cx="12192000" cy="6858000"/>
  <p:notesSz cx="6799263" cy="9929813"/>
  <p:custDataLst>
    <p:tags r:id="rId60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69" userDrawn="1">
          <p15:clr>
            <a:srgbClr val="A4A3A4"/>
          </p15:clr>
        </p15:guide>
        <p15:guide id="2" pos="3863" userDrawn="1">
          <p15:clr>
            <a:srgbClr val="A4A3A4"/>
          </p15:clr>
        </p15:guide>
        <p15:guide id="3" pos="166" userDrawn="1">
          <p15:clr>
            <a:srgbClr val="A4A3A4"/>
          </p15:clr>
        </p15:guide>
        <p15:guide id="4" pos="7514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1896E"/>
    <a:srgbClr val="003684"/>
    <a:srgbClr val="FA0057"/>
    <a:srgbClr val="001884"/>
    <a:srgbClr val="E6E6E6"/>
    <a:srgbClr val="AEC9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294" autoAdjust="0"/>
    <p:restoredTop sz="93648" autoAdjust="0"/>
  </p:normalViewPr>
  <p:slideViewPr>
    <p:cSldViewPr snapToGrid="0" showGuides="1">
      <p:cViewPr varScale="1">
        <p:scale>
          <a:sx n="103" d="100"/>
          <a:sy n="103" d="100"/>
        </p:scale>
        <p:origin x="528" y="108"/>
      </p:cViewPr>
      <p:guideLst>
        <p:guide orient="horz" pos="2069"/>
        <p:guide pos="3863"/>
        <p:guide pos="166"/>
        <p:guide pos="751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9.xml"/><Relationship Id="rId18" Type="http://schemas.openxmlformats.org/officeDocument/2006/relationships/slide" Target="slides/slide3.xml"/><Relationship Id="rId26" Type="http://schemas.openxmlformats.org/officeDocument/2006/relationships/slide" Target="slides/slide11.xml"/><Relationship Id="rId39" Type="http://schemas.openxmlformats.org/officeDocument/2006/relationships/slide" Target="slides/slide24.xml"/><Relationship Id="rId21" Type="http://schemas.openxmlformats.org/officeDocument/2006/relationships/slide" Target="slides/slide6.xml"/><Relationship Id="rId34" Type="http://schemas.openxmlformats.org/officeDocument/2006/relationships/slide" Target="slides/slide19.xml"/><Relationship Id="rId42" Type="http://schemas.openxmlformats.org/officeDocument/2006/relationships/slide" Target="slides/slide27.xml"/><Relationship Id="rId47" Type="http://schemas.openxmlformats.org/officeDocument/2006/relationships/slide" Target="slides/slide32.xml"/><Relationship Id="rId50" Type="http://schemas.openxmlformats.org/officeDocument/2006/relationships/slide" Target="slides/slide35.xml"/><Relationship Id="rId55" Type="http://schemas.openxmlformats.org/officeDocument/2006/relationships/slide" Target="slides/slide40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3.xml"/><Relationship Id="rId2" Type="http://schemas.openxmlformats.org/officeDocument/2006/relationships/customXml" Target="../customXml/item2.xml"/><Relationship Id="rId16" Type="http://schemas.openxmlformats.org/officeDocument/2006/relationships/slide" Target="slides/slide1.xml"/><Relationship Id="rId20" Type="http://schemas.openxmlformats.org/officeDocument/2006/relationships/slide" Target="slides/slide5.xml"/><Relationship Id="rId29" Type="http://schemas.openxmlformats.org/officeDocument/2006/relationships/slide" Target="slides/slide14.xml"/><Relationship Id="rId41" Type="http://schemas.openxmlformats.org/officeDocument/2006/relationships/slide" Target="slides/slide26.xml"/><Relationship Id="rId54" Type="http://schemas.openxmlformats.org/officeDocument/2006/relationships/slide" Target="slides/slide39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slide" Target="slides/slide9.xml"/><Relationship Id="rId32" Type="http://schemas.openxmlformats.org/officeDocument/2006/relationships/slide" Target="slides/slide17.xml"/><Relationship Id="rId37" Type="http://schemas.openxmlformats.org/officeDocument/2006/relationships/slide" Target="slides/slide22.xml"/><Relationship Id="rId40" Type="http://schemas.openxmlformats.org/officeDocument/2006/relationships/slide" Target="slides/slide25.xml"/><Relationship Id="rId45" Type="http://schemas.openxmlformats.org/officeDocument/2006/relationships/slide" Target="slides/slide30.xml"/><Relationship Id="rId53" Type="http://schemas.openxmlformats.org/officeDocument/2006/relationships/slide" Target="slides/slide38.xml"/><Relationship Id="rId58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Master" Target="slideMasters/slideMaster11.xml"/><Relationship Id="rId23" Type="http://schemas.openxmlformats.org/officeDocument/2006/relationships/slide" Target="slides/slide8.xml"/><Relationship Id="rId28" Type="http://schemas.openxmlformats.org/officeDocument/2006/relationships/slide" Target="slides/slide13.xml"/><Relationship Id="rId36" Type="http://schemas.openxmlformats.org/officeDocument/2006/relationships/slide" Target="slides/slide21.xml"/><Relationship Id="rId49" Type="http://schemas.openxmlformats.org/officeDocument/2006/relationships/slide" Target="slides/slide34.xml"/><Relationship Id="rId57" Type="http://schemas.openxmlformats.org/officeDocument/2006/relationships/slide" Target="slides/slide42.xml"/><Relationship Id="rId61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4.xml"/><Relationship Id="rId31" Type="http://schemas.openxmlformats.org/officeDocument/2006/relationships/slide" Target="slides/slide16.xml"/><Relationship Id="rId44" Type="http://schemas.openxmlformats.org/officeDocument/2006/relationships/slide" Target="slides/slide29.xml"/><Relationship Id="rId52" Type="http://schemas.openxmlformats.org/officeDocument/2006/relationships/slide" Target="slides/slide37.xml"/><Relationship Id="rId60" Type="http://schemas.openxmlformats.org/officeDocument/2006/relationships/tags" Target="tags/tag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7.xml"/><Relationship Id="rId27" Type="http://schemas.openxmlformats.org/officeDocument/2006/relationships/slide" Target="slides/slide12.xml"/><Relationship Id="rId30" Type="http://schemas.openxmlformats.org/officeDocument/2006/relationships/slide" Target="slides/slide15.xml"/><Relationship Id="rId35" Type="http://schemas.openxmlformats.org/officeDocument/2006/relationships/slide" Target="slides/slide20.xml"/><Relationship Id="rId43" Type="http://schemas.openxmlformats.org/officeDocument/2006/relationships/slide" Target="slides/slide28.xml"/><Relationship Id="rId48" Type="http://schemas.openxmlformats.org/officeDocument/2006/relationships/slide" Target="slides/slide33.xml"/><Relationship Id="rId56" Type="http://schemas.openxmlformats.org/officeDocument/2006/relationships/slide" Target="slides/slide41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4.xml"/><Relationship Id="rId51" Type="http://schemas.openxmlformats.org/officeDocument/2006/relationships/slide" Target="slides/slide36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2.xml"/><Relationship Id="rId25" Type="http://schemas.openxmlformats.org/officeDocument/2006/relationships/slide" Target="slides/slide10.xml"/><Relationship Id="rId33" Type="http://schemas.openxmlformats.org/officeDocument/2006/relationships/slide" Target="slides/slide18.xml"/><Relationship Id="rId38" Type="http://schemas.openxmlformats.org/officeDocument/2006/relationships/slide" Target="slides/slide23.xml"/><Relationship Id="rId46" Type="http://schemas.openxmlformats.org/officeDocument/2006/relationships/slide" Target="slides/slide31.xml"/><Relationship Id="rId5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2.xml"/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1344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D3CDC4B-DEA9-45EE-9243-6AC255787EE3}" type="datetimeFigureOut">
              <a:rPr lang="en-US" smtClean="0"/>
              <a:t>11/2/2020</a:t>
            </a:fld>
            <a:endParaRPr lang="en-US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  <p:custDataLst>
              <p:tags r:id="rId2"/>
            </p:custDataLst>
          </p:nvPr>
        </p:nvSpPr>
        <p:spPr>
          <a:xfrm>
            <a:off x="0" y="9431603"/>
            <a:ext cx="6799263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sz="10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00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1344" y="9431603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BBA0EA-FC29-46D6-B879-93D27C94FAC8}" type="slidenum">
              <a:rPr lang="en-US" smtClean="0"/>
              <a:t>‹N°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945751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tags" Target="../tags/tag91.xml"/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1344" y="0"/>
            <a:ext cx="2946347" cy="49821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DE329E-2A04-41C0-872D-6285DD66C45E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4713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 dirty="0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79927" y="4778722"/>
            <a:ext cx="5439410" cy="390986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  <p:custDataLst>
              <p:tags r:id="rId2"/>
            </p:custDataLst>
          </p:nvPr>
        </p:nvSpPr>
        <p:spPr>
          <a:xfrm>
            <a:off x="0" y="9431603"/>
            <a:ext cx="6799263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1344" y="9431603"/>
            <a:ext cx="2946347" cy="49821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A483AF-378F-4478-9161-B50402D90A37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567413199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5.xml"/></Relationships>
</file>

<file path=ppt/notesSlides/_rels/notesSlide1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2.xml"/></Relationships>
</file>

<file path=ppt/notesSlides/_rels/notesSlide1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5.xml"/></Relationships>
</file>

<file path=ppt/notesSlides/_rels/notesSlide1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28.xml"/></Relationships>
</file>

<file path=ppt/notesSlides/_rels/notesSlide1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1.xml"/></Relationships>
</file>

<file path=ppt/notesSlides/_rels/notesSlide1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4.xml"/></Relationships>
</file>

<file path=ppt/notesSlides/_rels/notesSlide1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37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0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3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6.xml"/></Relationships>
</file>

<file path=ppt/notesSlides/_rels/notesSlide1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1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49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98.xml"/></Relationships>
</file>

<file path=ppt/notesSlides/_rels/notesSlide2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52.xml"/></Relationships>
</file>

<file path=ppt/notesSlides/_rels/notesSlide2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55.xml"/></Relationships>
</file>

<file path=ppt/notesSlides/_rels/notesSlide2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58.xml"/></Relationships>
</file>

<file path=ppt/notesSlides/_rels/notesSlide2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1.xml"/></Relationships>
</file>

<file path=ppt/notesSlides/_rels/notesSlide2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4.xml"/></Relationships>
</file>

<file path=ppt/notesSlides/_rels/notesSlide2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67.xml"/></Relationships>
</file>

<file path=ppt/notesSlides/_rels/notesSlide2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70.xml"/></Relationships>
</file>

<file path=ppt/notesSlides/_rels/notesSlide2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73.xml"/></Relationships>
</file>

<file path=ppt/notesSlides/_rels/notesSlide2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76.xml"/></Relationships>
</file>

<file path=ppt/notesSlides/_rels/notesSlide2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2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79.xml"/></Relationships>
</file>

<file path=ppt/notesSlides/_rels/notesSlide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1.xml"/></Relationships>
</file>

<file path=ppt/notesSlides/_rels/notesSlide3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2.xml"/></Relationships>
</file>

<file path=ppt/notesSlides/_rels/notesSlide3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5.xml"/></Relationships>
</file>

<file path=ppt/notesSlides/_rels/notesSlide3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88.xml"/></Relationships>
</file>

<file path=ppt/notesSlides/_rels/notesSlide33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3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1.xml"/></Relationships>
</file>

<file path=ppt/notesSlides/_rels/notesSlide3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4.xml"/></Relationships>
</file>

<file path=ppt/notesSlides/_rels/notesSlide3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97.xml"/></Relationships>
</file>

<file path=ppt/notesSlides/_rels/notesSlide3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0.xml"/></Relationships>
</file>

<file path=ppt/notesSlides/_rels/notesSlide3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3.xml"/></Relationships>
</file>

<file path=ppt/notesSlides/_rels/notesSlide3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6.xml"/></Relationships>
</file>

<file path=ppt/notesSlides/_rels/notesSlide3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3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09.xml"/></Relationships>
</file>

<file path=ppt/notesSlides/_rels/notesSlide4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4.xml"/></Relationships>
</file>

<file path=ppt/notesSlides/_rels/notesSlide40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0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2.xml"/></Relationships>
</file>

<file path=ppt/notesSlides/_rels/notesSlide41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1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5.xml"/></Relationships>
</file>

<file path=ppt/notesSlides/_rels/notesSlide42.xml.rels><?xml version="1.0" encoding="UTF-8" standalone="yes"?>
<Relationships xmlns="http://schemas.openxmlformats.org/package/2006/relationships"><Relationship Id="rId3" Type="http://schemas.openxmlformats.org/officeDocument/2006/relationships/slide" Target="../slides/slide42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218.xm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slide" Target="../slides/slide5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07.xml"/></Relationships>
</file>

<file path=ppt/notesSlides/_rels/notesSlide6.xml.rels><?xml version="1.0" encoding="UTF-8" standalone="yes"?>
<Relationships xmlns="http://schemas.openxmlformats.org/package/2006/relationships"><Relationship Id="rId3" Type="http://schemas.openxmlformats.org/officeDocument/2006/relationships/slide" Target="../slides/slide6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0.xml"/></Relationships>
</file>

<file path=ppt/notesSlides/_rels/notesSlide7.xml.rels><?xml version="1.0" encoding="UTF-8" standalone="yes"?>
<Relationships xmlns="http://schemas.openxmlformats.org/package/2006/relationships"><Relationship Id="rId3" Type="http://schemas.openxmlformats.org/officeDocument/2006/relationships/slide" Target="../slides/slide7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3.xml"/></Relationships>
</file>

<file path=ppt/notesSlides/_rels/notesSlide8.xml.rels><?xml version="1.0" encoding="UTF-8" standalone="yes"?>
<Relationships xmlns="http://schemas.openxmlformats.org/package/2006/relationships"><Relationship Id="rId3" Type="http://schemas.openxmlformats.org/officeDocument/2006/relationships/slide" Target="../slides/slide8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6.xml"/></Relationships>
</file>

<file path=ppt/notesSlides/_rels/notesSlide9.xml.rels><?xml version="1.0" encoding="UTF-8" standalone="yes"?>
<Relationships xmlns="http://schemas.openxmlformats.org/package/2006/relationships"><Relationship Id="rId3" Type="http://schemas.openxmlformats.org/officeDocument/2006/relationships/slide" Target="../slides/slide9.xml"/><Relationship Id="rId2" Type="http://schemas.openxmlformats.org/officeDocument/2006/relationships/notesMaster" Target="../notesMasters/notesMaster1.xml"/><Relationship Id="rId1" Type="http://schemas.openxmlformats.org/officeDocument/2006/relationships/tags" Target="../tags/tag11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800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7989061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1511585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643366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7199746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3210685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5311494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4180429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64446874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41265576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1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5914395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6470080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20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5956766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4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71197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518536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8617152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8790117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831599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2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92401005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3665094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2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29420993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2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3792650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8344693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5741790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1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14839742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2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25717660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3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063180713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4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2043545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5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95906010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95358884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7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863395500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8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01060490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3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88875632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8201143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4713" cy="3351213"/>
          </a:xfrm>
        </p:spPr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93654149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pPr marL="0" marR="0" lvl="0" indent="0" algn="l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7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783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71553095"/>
      </p:ext>
    </p:extLst>
  </p:cSld>
  <p:clrMapOvr>
    <a:masterClrMapping/>
  </p:clrMapOvr>
</p:notes>
</file>

<file path=ppt/notesSlides/notesSlide4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e l'en-tête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9431603"/>
            <a:ext cx="6799263" cy="498214"/>
          </a:xfrm>
        </p:spPr>
        <p:txBody>
          <a:bodyPr/>
          <a:lstStyle/>
          <a:p>
            <a:r>
              <a:rPr lang="fr-FR"/>
              <a:t> </a:t>
            </a:r>
            <a:endParaRPr lang="fr-FR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42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221269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224703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6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8263418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981815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8A483AF-378F-4478-9161-B50402D90A37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02593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PT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7168671"/>
            <a:ext cx="6799263" cy="378677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A483AF-378F-4478-9161-B50402D90A37}" type="slidenum">
              <a:rPr lang="fr-FR" smtClean="0"/>
              <a:t>9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056938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5.xml"/><Relationship Id="rId4" Type="http://schemas.openxmlformats.org/officeDocument/2006/relationships/image" Target="../media/image3.jpe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6.xml"/><Relationship Id="rId4" Type="http://schemas.openxmlformats.org/officeDocument/2006/relationships/image" Target="../media/image10.jp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7.xml"/><Relationship Id="rId4" Type="http://schemas.openxmlformats.org/officeDocument/2006/relationships/image" Target="../media/image11.jpe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4.xml"/><Relationship Id="rId1" Type="http://schemas.openxmlformats.org/officeDocument/2006/relationships/tags" Target="../tags/tag2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3.jpe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jpe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4" Type="http://schemas.openxmlformats.org/officeDocument/2006/relationships/image" Target="../media/image10.jp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4" Type="http://schemas.openxmlformats.org/officeDocument/2006/relationships/image" Target="../media/image11.jpe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4.xml"/><Relationship Id="rId4" Type="http://schemas.openxmlformats.org/officeDocument/2006/relationships/image" Target="../media/image3.jpe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5.xml"/><Relationship Id="rId4" Type="http://schemas.openxmlformats.org/officeDocument/2006/relationships/image" Target="../media/image10.jp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36.xml"/><Relationship Id="rId4" Type="http://schemas.openxmlformats.org/officeDocument/2006/relationships/image" Target="../media/image11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4.jp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3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6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6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7.xml"/><Relationship Id="rId4" Type="http://schemas.openxmlformats.org/officeDocument/2006/relationships/image" Target="../media/image3.jpeg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8.xml"/><Relationship Id="rId4" Type="http://schemas.openxmlformats.org/officeDocument/2006/relationships/image" Target="../media/image10.jp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9.xml"/><Relationship Id="rId4" Type="http://schemas.openxmlformats.org/officeDocument/2006/relationships/image" Target="../media/image11.jpe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5.jpe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7.xml"/><Relationship Id="rId1" Type="http://schemas.openxmlformats.org/officeDocument/2006/relationships/tags" Target="../tags/tag5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6.xml"/><Relationship Id="rId4" Type="http://schemas.openxmlformats.org/officeDocument/2006/relationships/image" Target="../media/image3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7.xml"/><Relationship Id="rId4" Type="http://schemas.openxmlformats.org/officeDocument/2006/relationships/image" Target="../media/image10.jp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8.xml"/><Relationship Id="rId4" Type="http://schemas.openxmlformats.org/officeDocument/2006/relationships/image" Target="../media/image11.jpe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8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8.xml"/><Relationship Id="rId1" Type="http://schemas.openxmlformats.org/officeDocument/2006/relationships/tags" Target="../tags/tag6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5.xml"/><Relationship Id="rId4" Type="http://schemas.openxmlformats.org/officeDocument/2006/relationships/image" Target="../media/image3.jpe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6.xml"/><Relationship Id="rId4" Type="http://schemas.openxmlformats.org/officeDocument/2006/relationships/image" Target="../media/image10.jpg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67.xml"/><Relationship Id="rId4" Type="http://schemas.openxmlformats.org/officeDocument/2006/relationships/image" Target="../media/image11.jpeg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9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9.xml"/><Relationship Id="rId1" Type="http://schemas.openxmlformats.org/officeDocument/2006/relationships/tags" Target="../tags/tag70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4.xml"/><Relationship Id="rId4" Type="http://schemas.openxmlformats.org/officeDocument/2006/relationships/image" Target="../media/image3.jpe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5.xml"/><Relationship Id="rId4" Type="http://schemas.openxmlformats.org/officeDocument/2006/relationships/image" Target="../media/image10.jp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6.xml"/><Relationship Id="rId4" Type="http://schemas.openxmlformats.org/officeDocument/2006/relationships/image" Target="../media/image11.jpe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79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0.xml"/><Relationship Id="rId1" Type="http://schemas.openxmlformats.org/officeDocument/2006/relationships/tags" Target="../tags/tag80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3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4.xml"/><Relationship Id="rId4" Type="http://schemas.openxmlformats.org/officeDocument/2006/relationships/image" Target="../media/image3.jpe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5.xml"/><Relationship Id="rId4" Type="http://schemas.openxmlformats.org/officeDocument/2006/relationships/image" Target="../media/image10.jp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6.xml"/><Relationship Id="rId4" Type="http://schemas.openxmlformats.org/officeDocument/2006/relationships/image" Target="../media/image11.jpe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89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1.xml"/><Relationship Id="rId1" Type="http://schemas.openxmlformats.org/officeDocument/2006/relationships/tags" Target="../tags/tag9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464353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05621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8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0477098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77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345789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39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6" y="1527917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0787017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907018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36907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026864"/>
              <a:ext cx="296067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296067" y="4026864"/>
              <a:ext cx="8847933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1475" y="436317"/>
              <a:ext cx="3387651" cy="1605019"/>
            </a:xfrm>
            <a:prstGeom prst="rect">
              <a:avLst/>
            </a:prstGeom>
          </p:spPr>
        </p:pic>
      </p:grpSp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394756" y="2858763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01063384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017" y="2"/>
            <a:ext cx="11635678" cy="8752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17" y="1547691"/>
            <a:ext cx="11630743" cy="3632421"/>
          </a:xfrm>
        </p:spPr>
        <p:txBody>
          <a:bodyPr/>
          <a:lstStyle>
            <a:lvl1pPr marL="228564" indent="-228564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690" indent="-228564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2813" indent="-228564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061" indent="-228564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31290" y="6425633"/>
            <a:ext cx="329449" cy="2265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en-US" noProof="0" smtClean="0"/>
              <a:pPr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09928270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8167693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489143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5556016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8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5672900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77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8190037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98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6" y="1527917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717254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5686642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873013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52150991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90091585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70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19100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9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9218106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47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41" y="1527920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028091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4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85915893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957538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30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5"/>
            <a:ext cx="2844800" cy="365125"/>
          </a:xfrm>
          <a:prstGeom prst="rect">
            <a:avLst/>
          </a:prstGeom>
        </p:spPr>
        <p:txBody>
          <a:bodyPr/>
          <a:lstStyle/>
          <a:p>
            <a:fld id="{64795B94-2274-4F2A-9F30-FC6D3EA30BBD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8C0628-0189-4E3F-9696-4D6F706A22F2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706985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174A576-9E0D-48CF-B195-6A167128C7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46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174A576-9E0D-48CF-B195-6A167128C7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3DE962-478F-4D1A-89A6-FAC501E60DE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3" y="0"/>
            <a:ext cx="1587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000" b="1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69900" y="598760"/>
            <a:ext cx="1125220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GB" noProof="0"/>
              <a:t>Click to add subtitle</a:t>
            </a:r>
            <a:endParaRPr lang="en-GB" noProof="0" dirty="0"/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69900" y="402587"/>
            <a:ext cx="11252200" cy="33410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2000"/>
            </a:lvl1pPr>
          </a:lstStyle>
          <a:p>
            <a:r>
              <a:rPr lang="en-GB" noProof="0"/>
              <a:t>Click to edit Master title style</a:t>
            </a:r>
            <a:endParaRPr lang="en-GB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 hasCustomPrompt="1"/>
          </p:nvPr>
        </p:nvSpPr>
        <p:spPr>
          <a:xfrm>
            <a:off x="469900" y="1665818"/>
            <a:ext cx="11252200" cy="463338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>
              <a:buFontTx/>
              <a:buNone/>
              <a:defRPr/>
            </a:lvl1pPr>
            <a:lvl2pPr marL="127000" indent="-127000" algn="l">
              <a:buClrTx/>
              <a:buSzPct val="100000"/>
              <a:buFont typeface="Arial" panose="020B0604020202020204" pitchFamily="34" charset="0"/>
              <a:buChar char="•"/>
              <a:defRPr/>
            </a:lvl2pPr>
            <a:lvl3pPr marL="2794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3pPr>
            <a:lvl4pPr marL="431800" indent="-127000" algn="l">
              <a:buClrTx/>
              <a:buSzPct val="100000"/>
              <a:buFont typeface="Arial" panose="020B0604020202020204" pitchFamily="34" charset="0"/>
              <a:buChar char="◦"/>
              <a:defRPr/>
            </a:lvl4pPr>
            <a:lvl5pPr marL="584200" indent="-127000" algn="l">
              <a:buClrTx/>
              <a:buSzPct val="100000"/>
              <a:buFont typeface="Arial" panose="020B0604020202020204" pitchFamily="34" charset="0"/>
              <a:buChar char="−"/>
              <a:defRPr/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  <a:endParaRPr lang="en-GB" noProof="0" dirty="0"/>
          </a:p>
        </p:txBody>
      </p:sp>
      <p:sp>
        <p:nvSpPr>
          <p:cNvPr id="5" name="Slide Number Placeholder 2"/>
          <p:cNvSpPr>
            <a:spLocks noGrp="1"/>
          </p:cNvSpPr>
          <p:nvPr>
            <p:ph type="sldNum" sz="quarter" idx="17"/>
          </p:nvPr>
        </p:nvSpPr>
        <p:spPr>
          <a:xfrm>
            <a:off x="286939" y="6425620"/>
            <a:ext cx="266580" cy="226591"/>
          </a:xfrm>
        </p:spPr>
        <p:txBody>
          <a:bodyPr/>
          <a:lstStyle/>
          <a:p>
            <a:fld id="{233B3670-7CFA-4AE8-BD91-982E0BBFB5F8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1111698"/>
      </p:ext>
    </p:extLst>
  </p:cSld>
  <p:clrMapOvr>
    <a:masterClrMapping/>
  </p:clrMapOvr>
  <p:transition>
    <p:fade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&amp; subtitle">
  <p:cSld name="Title &amp; subtitle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9EF7D21-D0D2-4973-9731-CB36DD248A0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1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95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9EF7D21-D0D2-4973-9731-CB36DD248A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4" name="Shape 34"/>
          <p:cNvSpPr/>
          <p:nvPr/>
        </p:nvSpPr>
        <p:spPr>
          <a:xfrm>
            <a:off x="2119" y="1595"/>
            <a:ext cx="2116" cy="158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/>
          <a:lstStyle/>
          <a:p>
            <a:pPr eaLnBrk="1"/>
            <a:endParaRPr lang="en-GB" sz="1800" dirty="0"/>
          </a:p>
        </p:txBody>
      </p:sp>
      <p:sp>
        <p:nvSpPr>
          <p:cNvPr id="35" name="Shape 35"/>
          <p:cNvSpPr txBox="1">
            <a:spLocks noGrp="1"/>
          </p:cNvSpPr>
          <p:nvPr>
            <p:ph type="body" idx="1"/>
          </p:nvPr>
        </p:nvSpPr>
        <p:spPr>
          <a:xfrm>
            <a:off x="501655" y="651605"/>
            <a:ext cx="11188700" cy="7572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457200" marR="0" lvl="0" indent="-22860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575757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575757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1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marR="0" lvl="2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Char char="•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marR="0" lvl="3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marR="0" lvl="4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marR="0" lvl="5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3200400" marR="0" lvl="6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657600" marR="0" lvl="7" indent="-3048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4114800" marR="0" lvl="8" indent="-304800" algn="l" rtl="0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dk1"/>
              </a:buClr>
              <a:buSzPts val="1200"/>
              <a:buFont typeface="Verdana"/>
              <a:buChar char="−"/>
              <a:defRPr sz="12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 lang="en-GB" dirty="0"/>
          </a:p>
        </p:txBody>
      </p:sp>
      <p:sp>
        <p:nvSpPr>
          <p:cNvPr id="36" name="Shape 36"/>
          <p:cNvSpPr txBox="1">
            <a:spLocks noGrp="1"/>
          </p:cNvSpPr>
          <p:nvPr>
            <p:ph type="title"/>
          </p:nvPr>
        </p:nvSpPr>
        <p:spPr>
          <a:xfrm>
            <a:off x="501655" y="317503"/>
            <a:ext cx="11188700" cy="3341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Verdana"/>
              <a:buNone/>
              <a:defRPr sz="1800" b="1" i="0" u="none" strike="noStrike" cap="none">
                <a:solidFill>
                  <a:schemeClr val="dk1"/>
                </a:solidFill>
                <a:latin typeface="Century Gothic" panose="020B0502020202020204" pitchFamily="34" charset="0"/>
                <a:ea typeface="Verdana"/>
                <a:cs typeface="Verdana"/>
                <a:sym typeface="Verdana"/>
              </a:defRPr>
            </a:lvl1pPr>
            <a:lvl2pPr lvl="1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2pPr>
            <a:lvl3pPr lvl="2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3pPr>
            <a:lvl4pPr lvl="3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4pPr>
            <a:lvl5pPr lvl="4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5pPr>
            <a:lvl6pPr lvl="5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6pPr>
            <a:lvl7pPr lvl="6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7pPr>
            <a:lvl8pPr lvl="7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8pPr>
            <a:lvl9pPr lvl="8" indent="0">
              <a:spcBef>
                <a:spcPts val="0"/>
              </a:spcBef>
              <a:spcAft>
                <a:spcPts val="0"/>
              </a:spcAft>
              <a:buSzPts val="1400"/>
              <a:buFont typeface="Arial"/>
              <a:buNone/>
              <a:defRPr sz="1800"/>
            </a:lvl9pPr>
          </a:lstStyle>
          <a:p>
            <a:endParaRPr lang="en-GB" dirty="0"/>
          </a:p>
        </p:txBody>
      </p:sp>
      <p:sp>
        <p:nvSpPr>
          <p:cNvPr id="37" name="Shape 37"/>
          <p:cNvSpPr txBox="1">
            <a:spLocks noGrp="1"/>
          </p:cNvSpPr>
          <p:nvPr>
            <p:ph type="ftr" idx="11"/>
            <p:custDataLst>
              <p:tags r:id="rId3"/>
            </p:custDataLst>
          </p:nvPr>
        </p:nvSpPr>
        <p:spPr>
          <a:xfrm>
            <a:off x="0" y="6477000"/>
            <a:ext cx="12192000" cy="20002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r>
              <a:rPr lang="fr-FR"/>
              <a:t> </a:t>
            </a:r>
          </a:p>
        </p:txBody>
      </p:sp>
      <p:sp>
        <p:nvSpPr>
          <p:cNvPr id="39" name="Shape 39"/>
          <p:cNvSpPr txBox="1">
            <a:spLocks noGrp="1"/>
          </p:cNvSpPr>
          <p:nvPr>
            <p:ph type="dt" idx="10"/>
          </p:nvPr>
        </p:nvSpPr>
        <p:spPr>
          <a:xfrm>
            <a:off x="6335184" y="6477000"/>
            <a:ext cx="4896560" cy="1001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/>
          <a:lstStyle>
            <a:lvl1pPr marL="0" marR="0" lvl="0" indent="0" algn="l" rtl="0" eaLnBrk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651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45720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91440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37160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182880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28600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6pPr>
            <a:lvl7pPr marL="274320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7pPr>
            <a:lvl8pPr marL="320040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8pPr>
            <a:lvl9pPr marL="365760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Verdana"/>
              <a:buNone/>
              <a:defRPr sz="1800" b="0" i="0" u="none" strike="noStrike" cap="none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9pPr>
          </a:lstStyle>
          <a:p>
            <a:endParaRPr lang="en-GB" dirty="0"/>
          </a:p>
        </p:txBody>
      </p:sp>
      <p:sp>
        <p:nvSpPr>
          <p:cNvPr id="8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286939" y="6425620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GB" smtClean="0"/>
              <a:pPr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12342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31887938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9293216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83629660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642717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69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4082791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4007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2" y="4422863"/>
            <a:ext cx="12192002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3852943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13844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4961817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99381064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6761674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14565951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8277264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87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997518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6536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23455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2266630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4"/>
            <a:ext cx="11630742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202532905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7412813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799931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3568181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79599951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34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8771584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72317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2992097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5677665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6225396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8676990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e 4"/>
          <p:cNvGrpSpPr/>
          <p:nvPr userDrawn="1"/>
        </p:nvGrpSpPr>
        <p:grpSpPr>
          <a:xfrm>
            <a:off x="0" y="0"/>
            <a:ext cx="12192000" cy="6858000"/>
            <a:chOff x="0" y="0"/>
            <a:chExt cx="9144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9144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0" name="Rectangle 9"/>
            <p:cNvSpPr/>
            <p:nvPr userDrawn="1"/>
          </p:nvSpPr>
          <p:spPr>
            <a:xfrm>
              <a:off x="0" y="4026864"/>
              <a:ext cx="296067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296067" y="4026864"/>
              <a:ext cx="8847933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/>
            </a:p>
          </p:txBody>
        </p:sp>
        <p:pic>
          <p:nvPicPr>
            <p:cNvPr id="13" name="Image 12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41475" y="436317"/>
              <a:ext cx="3387651" cy="1605019"/>
            </a:xfrm>
            <a:prstGeom prst="rect">
              <a:avLst/>
            </a:prstGeom>
          </p:spPr>
        </p:pic>
      </p:grpSp>
      <p:sp>
        <p:nvSpPr>
          <p:cNvPr id="2" name="Titre 1"/>
          <p:cNvSpPr>
            <a:spLocks noGrp="1"/>
          </p:cNvSpPr>
          <p:nvPr userDrawn="1">
            <p:ph type="ctrTitle"/>
          </p:nvPr>
        </p:nvSpPr>
        <p:spPr>
          <a:xfrm>
            <a:off x="394755" y="2858756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9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8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28944161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339046195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935958358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7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8566693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868325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24958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1190164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2002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12978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1848631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2982547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7953" r="124" b="32085"/>
          <a:stretch/>
        </p:blipFill>
        <p:spPr>
          <a:xfrm>
            <a:off x="0" y="4419600"/>
            <a:ext cx="12192000" cy="2438400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41841093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246" b="25730"/>
          <a:stretch/>
        </p:blipFill>
        <p:spPr>
          <a:xfrm>
            <a:off x="1" y="4422866"/>
            <a:ext cx="12192000" cy="2436935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7675967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82003" y="0"/>
            <a:ext cx="11635679" cy="87520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03" y="1547689"/>
            <a:ext cx="11630743" cy="3632421"/>
          </a:xfrm>
        </p:spPr>
        <p:txBody>
          <a:bodyPr/>
          <a:lstStyle>
            <a:lvl1pPr marL="228594" indent="-228594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783" indent="-228594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2971" indent="-228594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349" indent="-228594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8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31277" y="6425621"/>
            <a:ext cx="329449" cy="22659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en-US" noProof="0" smtClean="0"/>
              <a:pPr/>
              <a:t>‹N°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382801744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203" b="56166"/>
          <a:stretch/>
        </p:blipFill>
        <p:spPr>
          <a:xfrm>
            <a:off x="-3" y="4422865"/>
            <a:ext cx="12192003" cy="2435137"/>
          </a:xfrm>
          <a:prstGeom prst="rect">
            <a:avLst/>
          </a:prstGeom>
        </p:spPr>
      </p:pic>
      <p:sp>
        <p:nvSpPr>
          <p:cNvPr id="15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278409387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8" name="think-cell Slide" r:id="rId5" imgW="501" imgH="502" progId="TCLayout.ActiveDocument.1">
                  <p:embed/>
                </p:oleObj>
              </mc:Choice>
              <mc:Fallback>
                <p:oleObj name="think-cell Slide" r:id="rId5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6938" y="1527916"/>
            <a:ext cx="11630743" cy="3632421"/>
          </a:xfrm>
        </p:spPr>
        <p:txBody>
          <a:bodyPr/>
          <a:lstStyle>
            <a:lvl1pPr marL="228600" indent="-228600"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1pPr>
            <a:lvl2pPr marL="685800" indent="-228600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>
                <a:solidFill>
                  <a:schemeClr val="tx1"/>
                </a:solidFill>
              </a:defRPr>
            </a:lvl2pPr>
            <a:lvl3pPr marL="1143000" indent="-228600">
              <a:buClr>
                <a:schemeClr val="tx1"/>
              </a:buClr>
              <a:buFont typeface="Century Gothic" panose="020B0502020202020204" pitchFamily="34" charset="0"/>
              <a:buChar char="−"/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 marL="2057400" indent="-228600">
              <a:buFont typeface="Century Gothic" panose="020B0502020202020204" pitchFamily="34" charset="0"/>
              <a:buChar char="-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3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7688143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241109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- column 2"/>
          <p:cNvSpPr>
            <a:spLocks noGrp="1"/>
          </p:cNvSpPr>
          <p:nvPr>
            <p:ph type="body" sz="quarter" idx="10" hasCustomPrompt="1"/>
          </p:nvPr>
        </p:nvSpPr>
        <p:spPr>
          <a:xfrm>
            <a:off x="503868" y="1620000"/>
            <a:ext cx="11183565" cy="42300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>
          <a:xfrm>
            <a:off x="503871" y="504000"/>
            <a:ext cx="11183564" cy="369332"/>
          </a:xfrm>
        </p:spPr>
        <p:txBody>
          <a:bodyPr/>
          <a:lstStyle/>
          <a:p>
            <a:r>
              <a:rPr lang="en-US" noProof="0" dirty="0"/>
              <a:t>Insert page title (sentence case)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464498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4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0A64231-1EC2-4CC2-A5E9-E004775A60AA}" type="datetimeFigureOut">
              <a:rPr lang="fr-FR" smtClean="0"/>
              <a:t>02/11/2020</a:t>
            </a:fld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/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17774414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2002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12978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2271208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82002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6212978" y="1474741"/>
            <a:ext cx="5704703" cy="4351338"/>
          </a:xfrm>
        </p:spPr>
        <p:txBody>
          <a:bodyPr vert="horz" lIns="0" tIns="36000" rIns="0" bIns="36000" rtlCol="0">
            <a:normAutofit/>
          </a:bodyPr>
          <a:lstStyle>
            <a:lvl1pPr>
              <a:defRPr lang="fr-FR" smtClean="0">
                <a:solidFill>
                  <a:schemeClr val="tx1"/>
                </a:solidFill>
              </a:defRPr>
            </a:lvl1pPr>
            <a:lvl2pPr>
              <a:defRPr lang="fr-FR" smtClean="0">
                <a:solidFill>
                  <a:schemeClr val="tx1"/>
                </a:solidFill>
              </a:defRPr>
            </a:lvl2pPr>
            <a:lvl3pPr>
              <a:defRPr lang="fr-FR" smtClean="0">
                <a:solidFill>
                  <a:schemeClr val="tx1"/>
                </a:solidFill>
              </a:defRPr>
            </a:lvl3pPr>
            <a:lvl4pPr>
              <a:defRPr lang="fr-FR" smtClean="0">
                <a:solidFill>
                  <a:schemeClr val="tx1"/>
                </a:solidFill>
              </a:defRPr>
            </a:lvl4pPr>
            <a:lvl5pPr>
              <a:defRPr lang="fr-FR">
                <a:solidFill>
                  <a:schemeClr val="tx1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</p:spPr>
        <p:txBody>
          <a:bodyPr/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233B3670-7CFA-4AE8-BD91-982E0BBFB5F8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194279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e 6"/>
          <p:cNvGrpSpPr/>
          <p:nvPr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8" name="Rectangle 7"/>
            <p:cNvSpPr/>
            <p:nvPr userDrawn="1"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pic>
          <p:nvPicPr>
            <p:cNvPr id="9" name="Image 8"/>
            <p:cNvPicPr>
              <a:picLocks noChangeAspect="1"/>
            </p:cNvPicPr>
            <p:nvPr userDrawn="1"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488353" y="436317"/>
              <a:ext cx="3387651" cy="1605019"/>
            </a:xfrm>
            <a:prstGeom prst="rect">
              <a:avLst/>
            </a:prstGeom>
          </p:spPr>
        </p:pic>
        <p:sp>
          <p:nvSpPr>
            <p:cNvPr id="10" name="Rectangle 9"/>
            <p:cNvSpPr/>
            <p:nvPr userDrawn="1"/>
          </p:nvSpPr>
          <p:spPr>
            <a:xfrm>
              <a:off x="0" y="4026864"/>
              <a:ext cx="394756" cy="396000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11" name="Rectangle 10"/>
            <p:cNvSpPr/>
            <p:nvPr userDrawn="1"/>
          </p:nvSpPr>
          <p:spPr>
            <a:xfrm>
              <a:off x="394756" y="4026864"/>
              <a:ext cx="11797244" cy="396000"/>
            </a:xfrm>
            <a:prstGeom prst="rect">
              <a:avLst/>
            </a:prstGeom>
            <a:solidFill>
              <a:srgbClr val="0036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394755" y="2858755"/>
            <a:ext cx="5040000" cy="1566510"/>
          </a:xfrm>
          <a:solidFill>
            <a:schemeClr val="bg1"/>
          </a:solidFill>
          <a:ln>
            <a:noFill/>
          </a:ln>
          <a:effectLst>
            <a:outerShdw blurRad="88900" dist="50800" dir="16200000" rotWithShape="0">
              <a:prstClr val="black">
                <a:alpha val="16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288000" rIns="288000" bIns="288000" rtlCol="0" anchor="b" anchorCtr="0">
            <a:spAutoFit/>
          </a:bodyPr>
          <a:lstStyle>
            <a:lvl1pPr>
              <a:defRPr kumimoji="0" lang="fr-FR" sz="3200" b="0" i="0" u="none" strike="noStrike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Espace réservé du pied de page 4"/>
          <p:cNvSpPr>
            <a:spLocks noGrp="1"/>
          </p:cNvSpPr>
          <p:nvPr>
            <p:ph type="ftr" sz="quarter" idx="3"/>
            <p:custDataLst>
              <p:tags r:id="rId1"/>
            </p:custDataLst>
          </p:nvPr>
        </p:nvSpPr>
        <p:spPr>
          <a:xfrm>
            <a:off x="0" y="6494865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1136828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tags" Target="../tags/tag72.xml"/><Relationship Id="rId3" Type="http://schemas.openxmlformats.org/officeDocument/2006/relationships/slideLayout" Target="../slideLayouts/slideLayout60.xml"/><Relationship Id="rId7" Type="http://schemas.openxmlformats.org/officeDocument/2006/relationships/slideLayout" Target="../slideLayouts/slideLayout64.xml"/><Relationship Id="rId12" Type="http://schemas.openxmlformats.org/officeDocument/2006/relationships/tags" Target="../tags/tag71.xml"/><Relationship Id="rId2" Type="http://schemas.openxmlformats.org/officeDocument/2006/relationships/slideLayout" Target="../slideLayouts/slideLayout59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vmlDrawing" Target="../drawings/vmlDrawing15.vml"/><Relationship Id="rId5" Type="http://schemas.openxmlformats.org/officeDocument/2006/relationships/slideLayout" Target="../slideLayouts/slideLayout62.xml"/><Relationship Id="rId15" Type="http://schemas.openxmlformats.org/officeDocument/2006/relationships/image" Target="../media/image8.emf"/><Relationship Id="rId10" Type="http://schemas.openxmlformats.org/officeDocument/2006/relationships/theme" Target="../theme/theme10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oleObject" Target="../embeddings/oleObject9.bin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tags" Target="../tags/tag82.xml"/><Relationship Id="rId3" Type="http://schemas.openxmlformats.org/officeDocument/2006/relationships/slideLayout" Target="../slideLayouts/slideLayout69.xml"/><Relationship Id="rId7" Type="http://schemas.openxmlformats.org/officeDocument/2006/relationships/slideLayout" Target="../slideLayouts/slideLayout73.xml"/><Relationship Id="rId12" Type="http://schemas.openxmlformats.org/officeDocument/2006/relationships/tags" Target="../tags/tag81.xml"/><Relationship Id="rId2" Type="http://schemas.openxmlformats.org/officeDocument/2006/relationships/slideLayout" Target="../slideLayouts/slideLayout68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vmlDrawing" Target="../drawings/vmlDrawing17.vml"/><Relationship Id="rId5" Type="http://schemas.openxmlformats.org/officeDocument/2006/relationships/slideLayout" Target="../slideLayouts/slideLayout71.xml"/><Relationship Id="rId15" Type="http://schemas.openxmlformats.org/officeDocument/2006/relationships/image" Target="../media/image8.emf"/><Relationship Id="rId10" Type="http://schemas.openxmlformats.org/officeDocument/2006/relationships/theme" Target="../theme/theme11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oleObject" Target="../embeddings/oleObject9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6.jpeg"/><Relationship Id="rId5" Type="http://schemas.openxmlformats.org/officeDocument/2006/relationships/tags" Target="../tags/tag8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ags" Target="../tags/tag13.xml"/><Relationship Id="rId5" Type="http://schemas.openxmlformats.org/officeDocument/2006/relationships/slideLayout" Target="../slideLayouts/slideLayout13.xml"/><Relationship Id="rId10" Type="http://schemas.openxmlformats.org/officeDocument/2006/relationships/tags" Target="../tags/tag12.xml"/><Relationship Id="rId4" Type="http://schemas.openxmlformats.org/officeDocument/2006/relationships/slideLayout" Target="../slideLayouts/slideLayout12.xml"/><Relationship Id="rId9" Type="http://schemas.openxmlformats.org/officeDocument/2006/relationships/vmlDrawing" Target="../drawings/vmlDrawing1.vml"/><Relationship Id="rId14" Type="http://schemas.openxmlformats.org/officeDocument/2006/relationships/image" Target="../media/image9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heme" Target="../theme/theme4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2.jpeg"/><Relationship Id="rId4" Type="http://schemas.openxmlformats.org/officeDocument/2006/relationships/tags" Target="../tags/tag2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13" Type="http://schemas.openxmlformats.org/officeDocument/2006/relationships/image" Target="../media/image8.em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tags" Target="../tags/tag24.xml"/><Relationship Id="rId5" Type="http://schemas.openxmlformats.org/officeDocument/2006/relationships/slideLayout" Target="../slideLayouts/slideLayout22.xml"/><Relationship Id="rId10" Type="http://schemas.openxmlformats.org/officeDocument/2006/relationships/tags" Target="../tags/tag23.xml"/><Relationship Id="rId4" Type="http://schemas.openxmlformats.org/officeDocument/2006/relationships/slideLayout" Target="../slideLayouts/slideLayout21.xml"/><Relationship Id="rId9" Type="http://schemas.openxmlformats.org/officeDocument/2006/relationships/vmlDrawing" Target="../drawings/vmlDrawing3.vml"/><Relationship Id="rId14" Type="http://schemas.openxmlformats.org/officeDocument/2006/relationships/image" Target="../media/image9.jpe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ags" Target="../tags/tag32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tags" Target="../tags/tag31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9.jpe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vmlDrawing" Target="../drawings/vmlDrawing5.v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8.emf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oleObject" Target="../embeddings/oleObject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ags" Target="../tags/tag45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tags" Target="../tags/tag44.xml"/><Relationship Id="rId5" Type="http://schemas.openxmlformats.org/officeDocument/2006/relationships/slideLayout" Target="../slideLayouts/slideLayout38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9.vml"/><Relationship Id="rId4" Type="http://schemas.openxmlformats.org/officeDocument/2006/relationships/slideLayout" Target="../slideLayouts/slideLayout37.xml"/><Relationship Id="rId9" Type="http://schemas.openxmlformats.org/officeDocument/2006/relationships/theme" Target="../theme/theme7.xml"/><Relationship Id="rId14" Type="http://schemas.openxmlformats.org/officeDocument/2006/relationships/image" Target="../media/image8.emf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tags" Target="../tags/tag5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tags" Target="../tags/tag53.xml"/><Relationship Id="rId5" Type="http://schemas.openxmlformats.org/officeDocument/2006/relationships/slideLayout" Target="../slideLayouts/slideLayout46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11.vml"/><Relationship Id="rId4" Type="http://schemas.openxmlformats.org/officeDocument/2006/relationships/slideLayout" Target="../slideLayouts/slideLayout45.xml"/><Relationship Id="rId9" Type="http://schemas.openxmlformats.org/officeDocument/2006/relationships/theme" Target="../theme/theme8.xml"/><Relationship Id="rId14" Type="http://schemas.openxmlformats.org/officeDocument/2006/relationships/image" Target="../media/image8.emf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oleObject" Target="../embeddings/oleObject9.bin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ags" Target="../tags/tag63.xml"/><Relationship Id="rId2" Type="http://schemas.openxmlformats.org/officeDocument/2006/relationships/slideLayout" Target="../slideLayouts/slideLayout51.xml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ags" Target="../tags/tag62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9.jpeg"/><Relationship Id="rId10" Type="http://schemas.openxmlformats.org/officeDocument/2006/relationships/vmlDrawing" Target="../drawings/vmlDrawing13.vml"/><Relationship Id="rId4" Type="http://schemas.openxmlformats.org/officeDocument/2006/relationships/slideLayout" Target="../slideLayouts/slideLayout53.xml"/><Relationship Id="rId9" Type="http://schemas.openxmlformats.org/officeDocument/2006/relationships/theme" Target="../theme/theme9.xml"/><Relationship Id="rId14" Type="http://schemas.openxmlformats.org/officeDocument/2006/relationships/image" Target="../media/image8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1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4"/>
            <a:ext cx="11630742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7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0" y="6425617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N°›</a:t>
            </a:fld>
            <a:endParaRPr lang="en-US" dirty="0"/>
          </a:p>
        </p:txBody>
      </p:sp>
      <p:pic>
        <p:nvPicPr>
          <p:cNvPr id="7" name="Image 6"/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5"/>
            <a:ext cx="1793966" cy="675605"/>
          </a:xfrm>
          <a:prstGeom prst="rect">
            <a:avLst/>
          </a:prstGeom>
        </p:spPr>
      </p:pic>
      <p:grpSp>
        <p:nvGrpSpPr>
          <p:cNvPr id="11" name="Groupe 10"/>
          <p:cNvGrpSpPr/>
          <p:nvPr userDrawn="1"/>
        </p:nvGrpSpPr>
        <p:grpSpPr>
          <a:xfrm>
            <a:off x="274320" y="880635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14151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5" r:id="rId2"/>
    <p:sldLayoutId id="2147483654" r:id="rId3"/>
    <p:sldLayoutId id="2147483653" r:id="rId4"/>
    <p:sldLayoutId id="2147483650" r:id="rId5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23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4727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3" r:id="rId1"/>
    <p:sldLayoutId id="2147483764" r:id="rId2"/>
    <p:sldLayoutId id="2147483765" r:id="rId3"/>
    <p:sldLayoutId id="2147483766" r:id="rId4"/>
    <p:sldLayoutId id="2147483767" r:id="rId5"/>
    <p:sldLayoutId id="2147483768" r:id="rId6"/>
    <p:sldLayoutId id="2147483769" r:id="rId7"/>
    <p:sldLayoutId id="2147483770" r:id="rId8"/>
    <p:sldLayoutId id="214748377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64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2388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3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2003" y="1527918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5"/>
            </p:custDataLst>
          </p:nvPr>
        </p:nvSpPr>
        <p:spPr>
          <a:xfrm>
            <a:off x="0" y="6494866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31277" y="6425621"/>
            <a:ext cx="329449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274320" y="880639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Image 12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031"/>
          <a:stretch/>
        </p:blipFill>
        <p:spPr>
          <a:xfrm>
            <a:off x="9826409" y="6182396"/>
            <a:ext cx="2319460" cy="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4175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733" r:id="rId3"/>
  </p:sldLayoutIdLst>
  <p:hf hd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5" name="think-cell Slide" r:id="rId12" imgW="501" imgH="502" progId="TCLayout.ActiveDocument.1">
                  <p:embed/>
                </p:oleObj>
              </mc:Choice>
              <mc:Fallback>
                <p:oleObj name="think-cell Slide" r:id="rId12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6" y="1527917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4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D0E1E414-D55F-4580-AB16-E62F2BA8F63E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6" y="6182409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84913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17" y="2"/>
            <a:ext cx="11635678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2017" y="1527920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>
          <a:xfrm>
            <a:off x="0" y="6494873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31290" y="6425633"/>
            <a:ext cx="329449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233B3670-7CFA-4AE8-BD91-982E0BBFB5F8}" type="slidenum">
              <a:rPr lang="en-US" smtClean="0"/>
              <a:pPr/>
              <a:t>‹N°›</a:t>
            </a:fld>
            <a:endParaRPr lang="en-US" dirty="0"/>
          </a:p>
        </p:txBody>
      </p:sp>
      <p:grpSp>
        <p:nvGrpSpPr>
          <p:cNvPr id="11" name="Groupe 10"/>
          <p:cNvGrpSpPr/>
          <p:nvPr userDrawn="1"/>
        </p:nvGrpSpPr>
        <p:grpSpPr>
          <a:xfrm>
            <a:off x="274320" y="880646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  <p:pic>
        <p:nvPicPr>
          <p:cNvPr id="10" name="Image 12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3031"/>
          <a:stretch/>
        </p:blipFill>
        <p:spPr>
          <a:xfrm>
            <a:off x="9826414" y="6182399"/>
            <a:ext cx="2319461" cy="6756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9251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</p:sldLayoutIdLst>
  <p:hf hdr="0" dt="0"/>
  <p:txStyles>
    <p:titleStyle>
      <a:lvl1pPr algn="l" defTabSz="914249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564" indent="-228564" algn="l" defTabSz="914249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690" indent="-228564" algn="l" defTabSz="914249" rtl="0" eaLnBrk="1" latinLnBrk="0" hangingPunct="1">
        <a:lnSpc>
          <a:spcPct val="110000"/>
        </a:lnSpc>
        <a:spcBef>
          <a:spcPts val="499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2813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599936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061" indent="-228564" algn="l" defTabSz="914249" rtl="0" eaLnBrk="1" latinLnBrk="0" hangingPunct="1">
        <a:lnSpc>
          <a:spcPct val="110000"/>
        </a:lnSpc>
        <a:spcBef>
          <a:spcPts val="499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185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311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436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562" indent="-228564" algn="l" defTabSz="914249" rtl="0" eaLnBrk="1" latinLnBrk="0" hangingPunct="1">
        <a:lnSpc>
          <a:spcPct val="90000"/>
        </a:lnSpc>
        <a:spcBef>
          <a:spcPts val="499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5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9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75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00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26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49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72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97" algn="l" defTabSz="91424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589" y="1593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74" name="think-cell Slide" r:id="rId12" imgW="501" imgH="502" progId="TCLayout.ActiveDocument.1">
                  <p:embed/>
                </p:oleObj>
              </mc:Choice>
              <mc:Fallback>
                <p:oleObj name="think-cell Slide" r:id="rId12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9" y="1593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6" y="1527917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1"/>
            </p:custDataLst>
          </p:nvPr>
        </p:nvSpPr>
        <p:spPr>
          <a:xfrm>
            <a:off x="0" y="6494862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4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D0E1E414-D55F-4580-AB16-E62F2BA8F63E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6" y="6182409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47729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  <p:sldLayoutId id="2147483715" r:id="rId2"/>
    <p:sldLayoutId id="2147483716" r:id="rId3"/>
    <p:sldLayoutId id="2147483717" r:id="rId4"/>
    <p:sldLayoutId id="2147483718" r:id="rId5"/>
    <p:sldLayoutId id="2147483719" r:id="rId6"/>
    <p:sldLayoutId id="2147483720" r:id="rId7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2"/>
            </p:custDataLst>
          </p:nvPr>
        </p:nvGraphicFramePr>
        <p:xfrm>
          <a:off x="1589" y="1594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23" name="think-cell Slide" r:id="rId14" imgW="501" imgH="502" progId="TCLayout.ActiveDocument.1">
                  <p:embed/>
                </p:oleObj>
              </mc:Choice>
              <mc:Fallback>
                <p:oleObj name="think-cell Slide" r:id="rId14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9" y="1594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5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41" y="1527920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3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20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7E8C0628-0189-4E3F-9696-4D6F706A22F2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41" y="6182401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41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273862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9" r:id="rId7"/>
    <p:sldLayoutId id="2147483730" r:id="rId8"/>
    <p:sldLayoutId id="2147483732" r:id="rId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5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4334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5" r:id="rId1"/>
    <p:sldLayoutId id="2147483736" r:id="rId2"/>
    <p:sldLayoutId id="2147483737" r:id="rId3"/>
    <p:sldLayoutId id="2147483738" r:id="rId4"/>
    <p:sldLayoutId id="2147483739" r:id="rId5"/>
    <p:sldLayoutId id="2147483740" r:id="rId6"/>
    <p:sldLayoutId id="2147483741" r:id="rId7"/>
    <p:sldLayoutId id="2147483742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3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352022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0" name="think-cell Slide" r:id="rId13" imgW="501" imgH="502" progId="TCLayout.ActiveDocument.1">
                  <p:embed/>
                </p:oleObj>
              </mc:Choice>
              <mc:Fallback>
                <p:oleObj name="think-cell Slide" r:id="rId13" imgW="501" imgH="502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2002" y="0"/>
            <a:ext cx="11635679" cy="875204"/>
          </a:xfrm>
          <a:prstGeom prst="rect">
            <a:avLst/>
          </a:prstGeom>
        </p:spPr>
        <p:txBody>
          <a:bodyPr lIns="0" tIns="36000" rIns="0" bIns="36000" anchor="ctr" anchorCtr="0"/>
          <a:lstStyle/>
          <a:p>
            <a:pPr lvl="0">
              <a:lnSpc>
                <a:spcPct val="95000"/>
              </a:lnSpc>
            </a:pPr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286938" y="1527916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</a:pPr>
            <a:r>
              <a:rPr lang="en-US" dirty="0"/>
              <a:t>Second level</a:t>
            </a:r>
          </a:p>
          <a:p>
            <a:pPr lvl="2">
              <a:buClr>
                <a:schemeClr val="tx1"/>
              </a:buClr>
              <a:buFont typeface="Century Gothic" panose="020B0502020202020204" pitchFamily="34" charset="0"/>
              <a:buChar char="−"/>
            </a:pPr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>
              <a:buFont typeface="Century Gothic" panose="020B0502020202020204" pitchFamily="34" charset="0"/>
              <a:buChar char="-"/>
            </a:pPr>
            <a:r>
              <a:rPr lang="en-US" dirty="0"/>
              <a:t>Fifth level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  <p:custDataLst>
              <p:tags r:id="rId12"/>
            </p:custDataLst>
          </p:nvPr>
        </p:nvSpPr>
        <p:spPr>
          <a:xfrm>
            <a:off x="0" y="6494867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" b="0" i="0" u="none">
                <a:solidFill>
                  <a:srgbClr val="000000"/>
                </a:solidFill>
                <a:latin typeface="Times New Roman" panose="02020603050405020304" pitchFamily="18" charset="0"/>
              </a:defRPr>
            </a:lvl1pPr>
          </a:lstStyle>
          <a:p>
            <a:r>
              <a:rPr lang="fr-FR"/>
              <a:t> </a:t>
            </a: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5962711" y="6425618"/>
            <a:ext cx="266580" cy="226591"/>
          </a:xfrm>
          <a:prstGeom prst="rect">
            <a:avLst/>
          </a:prstGeom>
        </p:spPr>
        <p:txBody>
          <a:bodyPr vert="horz" wrap="square" lIns="0" tIns="36000" rIns="0" bIns="36000" rtlCol="0" anchor="ctr">
            <a:spAutoFit/>
          </a:bodyPr>
          <a:lstStyle>
            <a:lvl1pPr algn="ctr">
              <a:defRPr lang="fr-FR" sz="1000" smtClean="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fld id="{82A262FC-6510-485B-927B-C547D18307EC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Image 6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67038" y="6182397"/>
            <a:ext cx="1793967" cy="675605"/>
          </a:xfrm>
          <a:prstGeom prst="rect">
            <a:avLst/>
          </a:prstGeom>
        </p:spPr>
      </p:pic>
      <p:grpSp>
        <p:nvGrpSpPr>
          <p:cNvPr id="11" name="Groupe 10"/>
          <p:cNvGrpSpPr/>
          <p:nvPr/>
        </p:nvGrpSpPr>
        <p:grpSpPr>
          <a:xfrm>
            <a:off x="274320" y="880637"/>
            <a:ext cx="11643360" cy="45719"/>
            <a:chOff x="309156" y="880635"/>
            <a:chExt cx="11643360" cy="45719"/>
          </a:xfrm>
        </p:grpSpPr>
        <p:sp>
          <p:nvSpPr>
            <p:cNvPr id="8" name="Rectangle 7"/>
            <p:cNvSpPr/>
            <p:nvPr userDrawn="1"/>
          </p:nvSpPr>
          <p:spPr>
            <a:xfrm flipV="1">
              <a:off x="309156" y="880635"/>
              <a:ext cx="376992" cy="45719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  <p:sp>
          <p:nvSpPr>
            <p:cNvPr id="9" name="Rectangle 8"/>
            <p:cNvSpPr/>
            <p:nvPr userDrawn="1"/>
          </p:nvSpPr>
          <p:spPr>
            <a:xfrm flipV="1">
              <a:off x="686148" y="880635"/>
              <a:ext cx="11266368" cy="4571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fr-FR" sz="18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496386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4" r:id="rId1"/>
    <p:sldLayoutId id="2147483755" r:id="rId2"/>
    <p:sldLayoutId id="2147483756" r:id="rId3"/>
    <p:sldLayoutId id="2147483757" r:id="rId4"/>
    <p:sldLayoutId id="2147483758" r:id="rId5"/>
    <p:sldLayoutId id="2147483759" r:id="rId6"/>
    <p:sldLayoutId id="2147483760" r:id="rId7"/>
    <p:sldLayoutId id="2147483761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r-FR" sz="2400" b="1" kern="1200" dirty="0">
          <a:solidFill>
            <a:schemeClr val="tx1"/>
          </a:solidFill>
          <a:latin typeface="Century Gothic" panose="020B0502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10000"/>
        </a:lnSpc>
        <a:spcBef>
          <a:spcPts val="1000"/>
        </a:spcBef>
        <a:buClr>
          <a:schemeClr val="bg2"/>
        </a:buClr>
        <a:buSzPct val="80000"/>
        <a:buFont typeface="Wingdings" panose="05000000000000000000" pitchFamily="2" charset="2"/>
        <a:buChar char="n"/>
        <a:defRPr lang="en-US" sz="2000" b="1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10000"/>
        </a:lnSpc>
        <a:spcBef>
          <a:spcPts val="500"/>
        </a:spcBef>
        <a:buSzPct val="80000"/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en-US" sz="2000" kern="1200" dirty="0" smtClean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10000"/>
        </a:lnSpc>
        <a:spcBef>
          <a:spcPts val="500"/>
        </a:spcBef>
        <a:buFont typeface="Arial" panose="020B0604020202020204" pitchFamily="34" charset="0"/>
        <a:buChar char="•"/>
        <a:defRPr lang="fr-FR" sz="2000" kern="1200" dirty="0">
          <a:solidFill>
            <a:schemeClr val="tx1"/>
          </a:solidFill>
          <a:latin typeface="Century Gothic" panose="020B0502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5" Type="http://schemas.openxmlformats.org/officeDocument/2006/relationships/image" Target="../media/image15.pn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1.xml"/><Relationship Id="rId1" Type="http://schemas.openxmlformats.org/officeDocument/2006/relationships/tags" Target="../tags/tag120.xml"/><Relationship Id="rId5" Type="http://schemas.openxmlformats.org/officeDocument/2006/relationships/image" Target="../media/image24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7.PNG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27.xml"/><Relationship Id="rId1" Type="http://schemas.openxmlformats.org/officeDocument/2006/relationships/tags" Target="../tags/tag126.xml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5" Type="http://schemas.openxmlformats.org/officeDocument/2006/relationships/image" Target="../media/image29.png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3.xml"/><Relationship Id="rId1" Type="http://schemas.openxmlformats.org/officeDocument/2006/relationships/tags" Target="../tags/tag132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33.png"/><Relationship Id="rId2" Type="http://schemas.openxmlformats.org/officeDocument/2006/relationships/tags" Target="../tags/tag136.xml"/><Relationship Id="rId1" Type="http://schemas.openxmlformats.org/officeDocument/2006/relationships/tags" Target="../tags/tag135.xml"/><Relationship Id="rId6" Type="http://schemas.openxmlformats.org/officeDocument/2006/relationships/image" Target="../media/image30.png"/><Relationship Id="rId5" Type="http://schemas.openxmlformats.org/officeDocument/2006/relationships/image" Target="../media/image32.png"/><Relationship Id="rId4" Type="http://schemas.openxmlformats.org/officeDocument/2006/relationships/notesSlide" Target="../notesSlides/notesSlide1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image" Target="../media/image34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2.xml"/><Relationship Id="rId1" Type="http://schemas.openxmlformats.org/officeDocument/2006/relationships/tags" Target="../tags/tag141.xml"/><Relationship Id="rId6" Type="http://schemas.openxmlformats.org/officeDocument/2006/relationships/image" Target="../media/image35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image" Target="../media/image36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48.xml"/><Relationship Id="rId1" Type="http://schemas.openxmlformats.org/officeDocument/2006/relationships/tags" Target="../tags/tag147.xml"/><Relationship Id="rId6" Type="http://schemas.openxmlformats.org/officeDocument/2006/relationships/image" Target="../media/image36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97.xml"/><Relationship Id="rId1" Type="http://schemas.openxmlformats.org/officeDocument/2006/relationships/tags" Target="../tags/tag96.xml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image" Target="../media/image37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6" Type="http://schemas.openxmlformats.org/officeDocument/2006/relationships/image" Target="../media/image38.pn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57.xml"/><Relationship Id="rId1" Type="http://schemas.openxmlformats.org/officeDocument/2006/relationships/tags" Target="../tags/tag156.xml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2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5" Type="http://schemas.openxmlformats.org/officeDocument/2006/relationships/image" Target="../media/image39.png"/><Relationship Id="rId4" Type="http://schemas.openxmlformats.org/officeDocument/2006/relationships/notesSlide" Target="../notesSlides/notesSlide2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3.xml"/><Relationship Id="rId1" Type="http://schemas.openxmlformats.org/officeDocument/2006/relationships/tags" Target="../tags/tag162.xml"/><Relationship Id="rId5" Type="http://schemas.openxmlformats.org/officeDocument/2006/relationships/image" Target="../media/image40.png"/><Relationship Id="rId4" Type="http://schemas.openxmlformats.org/officeDocument/2006/relationships/notesSlide" Target="../notesSlides/notesSlide2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6.xml"/><Relationship Id="rId1" Type="http://schemas.openxmlformats.org/officeDocument/2006/relationships/tags" Target="../tags/tag165.xml"/><Relationship Id="rId5" Type="http://schemas.openxmlformats.org/officeDocument/2006/relationships/image" Target="../media/image28.png"/><Relationship Id="rId4" Type="http://schemas.openxmlformats.org/officeDocument/2006/relationships/notesSlide" Target="../notesSlides/notesSlide2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69.xml"/><Relationship Id="rId1" Type="http://schemas.openxmlformats.org/officeDocument/2006/relationships/tags" Target="../tags/tag168.xml"/><Relationship Id="rId5" Type="http://schemas.openxmlformats.org/officeDocument/2006/relationships/image" Target="../media/image41.PNG"/><Relationship Id="rId4" Type="http://schemas.openxmlformats.org/officeDocument/2006/relationships/notesSlide" Target="../notesSlides/notesSlide2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2.xml"/><Relationship Id="rId1" Type="http://schemas.openxmlformats.org/officeDocument/2006/relationships/tags" Target="../tags/tag171.xml"/><Relationship Id="rId5" Type="http://schemas.openxmlformats.org/officeDocument/2006/relationships/image" Target="../media/image42.PNG"/><Relationship Id="rId4" Type="http://schemas.openxmlformats.org/officeDocument/2006/relationships/notesSlide" Target="../notesSlides/notesSlide2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notesSlide" Target="../notesSlides/notesSlide28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45.PNG"/><Relationship Id="rId4" Type="http://schemas.openxmlformats.org/officeDocument/2006/relationships/notesSlide" Target="../notesSlides/notesSlide2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notesSlide" Target="../notesSlides/notesSlide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5" Type="http://schemas.openxmlformats.org/officeDocument/2006/relationships/image" Target="../media/image41.PNG"/><Relationship Id="rId4" Type="http://schemas.openxmlformats.org/officeDocument/2006/relationships/notesSlide" Target="../notesSlides/notesSlide30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5" Type="http://schemas.openxmlformats.org/officeDocument/2006/relationships/image" Target="../media/image46.PNG"/><Relationship Id="rId4" Type="http://schemas.openxmlformats.org/officeDocument/2006/relationships/notesSlide" Target="../notesSlides/notesSlide3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87.xml"/><Relationship Id="rId1" Type="http://schemas.openxmlformats.org/officeDocument/2006/relationships/tags" Target="../tags/tag186.xml"/><Relationship Id="rId5" Type="http://schemas.openxmlformats.org/officeDocument/2006/relationships/image" Target="../media/image47.PNG"/><Relationship Id="rId4" Type="http://schemas.openxmlformats.org/officeDocument/2006/relationships/notesSlide" Target="../notesSlides/notesSlide3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0.xml"/><Relationship Id="rId1" Type="http://schemas.openxmlformats.org/officeDocument/2006/relationships/tags" Target="../tags/tag189.xml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3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5" Type="http://schemas.openxmlformats.org/officeDocument/2006/relationships/image" Target="../media/image41.PNG"/><Relationship Id="rId4" Type="http://schemas.openxmlformats.org/officeDocument/2006/relationships/notesSlide" Target="../notesSlides/notesSlide34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6.xml"/><Relationship Id="rId1" Type="http://schemas.openxmlformats.org/officeDocument/2006/relationships/tags" Target="../tags/tag195.xml"/><Relationship Id="rId5" Type="http://schemas.openxmlformats.org/officeDocument/2006/relationships/image" Target="../media/image49.PNG"/><Relationship Id="rId4" Type="http://schemas.openxmlformats.org/officeDocument/2006/relationships/notesSlide" Target="../notesSlides/notesSlide35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5" Type="http://schemas.openxmlformats.org/officeDocument/2006/relationships/image" Target="../media/image50.PNG"/><Relationship Id="rId4" Type="http://schemas.openxmlformats.org/officeDocument/2006/relationships/notesSlide" Target="../notesSlides/notesSlide3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5" Type="http://schemas.openxmlformats.org/officeDocument/2006/relationships/image" Target="../media/image51.PNG"/><Relationship Id="rId4" Type="http://schemas.openxmlformats.org/officeDocument/2006/relationships/notesSlide" Target="../notesSlides/notesSlide37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5.xml"/><Relationship Id="rId1" Type="http://schemas.openxmlformats.org/officeDocument/2006/relationships/tags" Target="../tags/tag204.xml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38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08.xml"/><Relationship Id="rId1" Type="http://schemas.openxmlformats.org/officeDocument/2006/relationships/tags" Target="../tags/tag20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notesSlide" Target="../notesSlides/notesSlide3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5" Type="http://schemas.openxmlformats.org/officeDocument/2006/relationships/image" Target="../media/image16.emf"/><Relationship Id="rId4" Type="http://schemas.openxmlformats.org/officeDocument/2006/relationships/notesSlide" Target="../notesSlides/notesSlide4.xml"/></Relationships>
</file>

<file path=ppt/slides/_rels/slide4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57.png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image" Target="../media/image56.png"/><Relationship Id="rId5" Type="http://schemas.openxmlformats.org/officeDocument/2006/relationships/image" Target="../media/image55.png"/><Relationship Id="rId4" Type="http://schemas.openxmlformats.org/officeDocument/2006/relationships/notesSlide" Target="../notesSlides/notesSlide40.xml"/></Relationships>
</file>

<file path=ppt/slides/_rels/slide41.xml.rels><?xml version="1.0" encoding="UTF-8" standalone="yes"?>
<Relationships xmlns="http://schemas.openxmlformats.org/package/2006/relationships"><Relationship Id="rId8" Type="http://schemas.openxmlformats.org/officeDocument/2006/relationships/hyperlink" Target="https://connectsupport.ariba.com/sites/Company?ANID=AN01274677429EMA&amp;h=aYCJ5Mm2uFBJv1T7QaeZ9A#Enablement-Inquiry" TargetMode="External"/><Relationship Id="rId13" Type="http://schemas.openxmlformats.org/officeDocument/2006/relationships/hyperlink" Target="mailto:light.enablement.nao@faurecia.com" TargetMode="External"/><Relationship Id="rId3" Type="http://schemas.openxmlformats.org/officeDocument/2006/relationships/slideLayout" Target="../slideLayouts/slideLayout17.xml"/><Relationship Id="rId7" Type="http://schemas.openxmlformats.org/officeDocument/2006/relationships/hyperlink" Target="https://connectsupport.ariba.com/sites/Company?ANID=AN01274677429LAC&amp;h=1a9ipmjaTdbyL4I4jaUcg#Enablement-Inquiry" TargetMode="External"/><Relationship Id="rId12" Type="http://schemas.openxmlformats.org/officeDocument/2006/relationships/hyperlink" Target="mailto:full.enablement.nao@faurecia.com" TargetMode="External"/><Relationship Id="rId2" Type="http://schemas.openxmlformats.org/officeDocument/2006/relationships/tags" Target="../tags/tag214.xml"/><Relationship Id="rId1" Type="http://schemas.openxmlformats.org/officeDocument/2006/relationships/tags" Target="../tags/tag213.xml"/><Relationship Id="rId6" Type="http://schemas.openxmlformats.org/officeDocument/2006/relationships/hyperlink" Target="https://connectsupport.ariba.com/sites/Company?ANID=AN01274677429BRZ&amp;h=ZUMjmQJ1cv1AyRPHP4rNzA#Enablement-Inquiry" TargetMode="External"/><Relationship Id="rId11" Type="http://schemas.openxmlformats.org/officeDocument/2006/relationships/hyperlink" Target="mailto:light.enablement.emea@faurecia.com" TargetMode="External"/><Relationship Id="rId5" Type="http://schemas.openxmlformats.org/officeDocument/2006/relationships/hyperlink" Target="https://connectsupport.ariba.com/sites/Company?ANID=AN01274677429NAM&amp;h=efiEiEb9GzUpOl83jqsNw#Enablement-Inquiry" TargetMode="External"/><Relationship Id="rId15" Type="http://schemas.openxmlformats.org/officeDocument/2006/relationships/hyperlink" Target="mailto:light.enablement.asia@faurecia.com" TargetMode="External"/><Relationship Id="rId10" Type="http://schemas.openxmlformats.org/officeDocument/2006/relationships/hyperlink" Target="mailto:supplier.enablement.emea@faurecia.com" TargetMode="External"/><Relationship Id="rId4" Type="http://schemas.openxmlformats.org/officeDocument/2006/relationships/notesSlide" Target="../notesSlides/notesSlide41.xml"/><Relationship Id="rId9" Type="http://schemas.openxmlformats.org/officeDocument/2006/relationships/hyperlink" Target="https://connectsupport.ariba.com/sites/Company?ANID=AN01274677429SEA&amp;h=kRV62sa3KWxd5CoBSswQ#Enablement-Inquiry" TargetMode="External"/><Relationship Id="rId14" Type="http://schemas.openxmlformats.org/officeDocument/2006/relationships/hyperlink" Target="mailto:supplier.enablement.asia@faurecia.com" TargetMode="Externa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17.xml"/><Relationship Id="rId1" Type="http://schemas.openxmlformats.org/officeDocument/2006/relationships/tags" Target="../tags/tag216.xml"/><Relationship Id="rId5" Type="http://schemas.openxmlformats.org/officeDocument/2006/relationships/image" Target="../media/image2.jpeg"/><Relationship Id="rId4" Type="http://schemas.openxmlformats.org/officeDocument/2006/relationships/notesSlide" Target="../notesSlides/notesSlide4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5" Type="http://schemas.openxmlformats.org/officeDocument/2006/relationships/image" Target="../media/image1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09.xml"/><Relationship Id="rId1" Type="http://schemas.openxmlformats.org/officeDocument/2006/relationships/tags" Target="../tags/tag108.xml"/><Relationship Id="rId5" Type="http://schemas.openxmlformats.org/officeDocument/2006/relationships/image" Target="../media/image18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5.xml"/><Relationship Id="rId1" Type="http://schemas.openxmlformats.org/officeDocument/2006/relationships/tags" Target="../tags/tag114.xml"/><Relationship Id="rId6" Type="http://schemas.openxmlformats.org/officeDocument/2006/relationships/image" Target="../media/image22.PNG"/><Relationship Id="rId5" Type="http://schemas.openxmlformats.org/officeDocument/2006/relationships/image" Target="../media/image21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5" Type="http://schemas.openxmlformats.org/officeDocument/2006/relationships/image" Target="../media/image23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2261500" y="1930975"/>
            <a:ext cx="5037933" cy="168962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2400" b="1" dirty="0"/>
              <a:t>How to:  Steps for Registering and interact with Ariba </a:t>
            </a:r>
            <a:br>
              <a:rPr lang="en-US" sz="2400" b="1" dirty="0"/>
            </a:br>
            <a:r>
              <a:rPr lang="en-US" sz="2400" b="1" dirty="0"/>
              <a:t>                     </a:t>
            </a:r>
          </a:p>
        </p:txBody>
      </p:sp>
      <p:sp>
        <p:nvSpPr>
          <p:cNvPr id="6" name="Espace réservé du pied de page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  <a:prstGeom prst="rect">
            <a:avLst/>
          </a:prstGeom>
        </p:spPr>
        <p:txBody>
          <a:bodyPr vert="horz" lIns="0" tIns="36000" rIns="0" bIns="36000" rtlCol="0" anchor="ctr">
            <a:spAutoFit/>
          </a:bodyPr>
          <a:lstStyle>
            <a:lvl1pPr>
              <a:defRPr lang="fr-FR" sz="1000">
                <a:solidFill>
                  <a:schemeClr val="tx1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US" sz="100">
                <a:solidFill>
                  <a:srgbClr val="000000"/>
                </a:solidFill>
                <a:latin typeface="Times New Roman" panose="02020603050405020304" pitchFamily="18" charset="0"/>
              </a:rPr>
              <a:t> </a:t>
            </a:r>
            <a:endParaRPr lang="en-US" sz="100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23604" y="4425269"/>
            <a:ext cx="9144793" cy="2493937"/>
          </a:xfrm>
          <a:prstGeom prst="rect">
            <a:avLst/>
          </a:prstGeom>
        </p:spPr>
      </p:pic>
      <p:sp>
        <p:nvSpPr>
          <p:cNvPr id="8" name="Espace réservé du contenu 2"/>
          <p:cNvSpPr txBox="1">
            <a:spLocks/>
          </p:cNvSpPr>
          <p:nvPr/>
        </p:nvSpPr>
        <p:spPr>
          <a:xfrm>
            <a:off x="10304314" y="6743688"/>
            <a:ext cx="363687" cy="102497"/>
          </a:xfrm>
          <a:prstGeom prst="rect">
            <a:avLst/>
          </a:prstGeom>
        </p:spPr>
        <p:txBody>
          <a:bodyPr vert="horz" lIns="0" tIns="36000" rIns="0" bIns="36000" rtlCol="0">
            <a:normAutofit fontScale="250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r>
              <a:rPr lang="en-US" dirty="0">
                <a:solidFill>
                  <a:srgbClr val="FFFFFF"/>
                </a:solidFill>
              </a:rPr>
              <a:t>Version 6</a:t>
            </a:r>
            <a:endParaRPr lang="en-US" sz="1800" dirty="0">
              <a:solidFill>
                <a:srgbClr val="003684"/>
              </a:solidFill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6258910" y="3002888"/>
            <a:ext cx="4529772" cy="698071"/>
          </a:xfrm>
          <a:prstGeom prst="rect">
            <a:avLst/>
          </a:prstGeom>
          <a:noFill/>
        </p:spPr>
        <p:txBody>
          <a:bodyPr wrap="square" tIns="36000" rIns="0" anchor="b" anchorCtr="0">
            <a:spAutoFit/>
          </a:bodyPr>
          <a:lstStyle/>
          <a:p>
            <a:pPr algn="r"/>
            <a:endParaRPr lang="en-US" sz="2000" dirty="0">
              <a:solidFill>
                <a:srgbClr val="003684"/>
              </a:solidFill>
              <a:latin typeface="Century Gothic" panose="020B0502020202020204" pitchFamily="34" charset="0"/>
            </a:endParaRPr>
          </a:p>
          <a:p>
            <a:pPr algn="r"/>
            <a:r>
              <a:rPr lang="fr-FR" sz="2000" dirty="0">
                <a:solidFill>
                  <a:srgbClr val="003684"/>
                </a:solidFill>
                <a:latin typeface="Century Gothic" panose="020B0502020202020204" pitchFamily="34" charset="0"/>
              </a:rPr>
              <a:t>September 2019 </a:t>
            </a:r>
            <a:endParaRPr lang="en-US" sz="2000" dirty="0">
              <a:solidFill>
                <a:srgbClr val="003684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7655355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dirty="0"/>
              <a:t>       </a:t>
            </a:r>
            <a:r>
              <a:rPr lang="pt-PT" dirty="0" err="1"/>
              <a:t>Registration</a:t>
            </a:r>
            <a:r>
              <a:rPr lang="pt-PT" dirty="0"/>
              <a:t> - Step 5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5070" y="1594884"/>
            <a:ext cx="4583136" cy="4895572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pPr/>
              <a:t>10</a:t>
            </a:fld>
            <a:endParaRPr lang="en-US" noProof="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563233"/>
          </a:xfrm>
          <a:prstGeom prst="rect">
            <a:avLst/>
          </a:prstGeom>
        </p:spPr>
        <p:txBody>
          <a:bodyPr vert="horz" lIns="0" tIns="36000" rIns="0" bIns="36000" rtlCol="0">
            <a:normAutofit fontScale="77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00" dirty="0"/>
              <a:t>You will get an e-mail confirming the registration with your User Name and Ariba Network ID</a:t>
            </a:r>
          </a:p>
          <a:p>
            <a:r>
              <a:rPr lang="en-US" sz="1700" dirty="0"/>
              <a:t>Click “Ariba.com” to  sign in to your account</a:t>
            </a:r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sp>
        <p:nvSpPr>
          <p:cNvPr id="3" name="Rounded Rectangle 2"/>
          <p:cNvSpPr/>
          <p:nvPr/>
        </p:nvSpPr>
        <p:spPr>
          <a:xfrm>
            <a:off x="5209954" y="3530011"/>
            <a:ext cx="510362" cy="147938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1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6DD9AA-788E-4F96-ACC3-7A0413F7C666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0078548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93472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Registration</a:t>
            </a:r>
            <a:r>
              <a:rPr lang="pt-PT" dirty="0"/>
              <a:t> - Step 6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58922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11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 fontScale="92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You will be directed to the main page of Ariba Network </a:t>
            </a:r>
          </a:p>
          <a:p>
            <a:r>
              <a:rPr lang="en-US" sz="1800" dirty="0"/>
              <a:t>Go to “Company Settings”, fill in the required information and the registration is complete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17" name="Content Placeholder 16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5470" y="2119925"/>
            <a:ext cx="1994472" cy="3430774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813948" y="2046705"/>
            <a:ext cx="3076353" cy="415866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58493" y="2069803"/>
            <a:ext cx="3125156" cy="4158664"/>
          </a:xfrm>
          <a:prstGeom prst="rect">
            <a:avLst/>
          </a:prstGeom>
        </p:spPr>
      </p:pic>
      <p:sp>
        <p:nvSpPr>
          <p:cNvPr id="9" name="Left Arrow 8"/>
          <p:cNvSpPr/>
          <p:nvPr/>
        </p:nvSpPr>
        <p:spPr>
          <a:xfrm>
            <a:off x="4600353" y="2558903"/>
            <a:ext cx="738740" cy="212651"/>
          </a:xfrm>
          <a:prstGeom prst="lef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ight Arrow 9"/>
          <p:cNvSpPr/>
          <p:nvPr/>
        </p:nvSpPr>
        <p:spPr>
          <a:xfrm>
            <a:off x="6528391" y="3026736"/>
            <a:ext cx="730102" cy="195681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ounded Rectangle 10"/>
          <p:cNvSpPr/>
          <p:nvPr/>
        </p:nvSpPr>
        <p:spPr>
          <a:xfrm>
            <a:off x="7321649" y="4771889"/>
            <a:ext cx="3140613" cy="934251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ight Arrow 12"/>
          <p:cNvSpPr/>
          <p:nvPr/>
        </p:nvSpPr>
        <p:spPr>
          <a:xfrm>
            <a:off x="2565990" y="2907144"/>
            <a:ext cx="517452" cy="69973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ight Arrow 13"/>
          <p:cNvSpPr/>
          <p:nvPr/>
        </p:nvSpPr>
        <p:spPr>
          <a:xfrm>
            <a:off x="2565990" y="4545265"/>
            <a:ext cx="517452" cy="69973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5" name="Right Arrow 14"/>
          <p:cNvSpPr/>
          <p:nvPr/>
        </p:nvSpPr>
        <p:spPr>
          <a:xfrm>
            <a:off x="2565990" y="4845693"/>
            <a:ext cx="517452" cy="69973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Right Arrow 15"/>
          <p:cNvSpPr/>
          <p:nvPr/>
        </p:nvSpPr>
        <p:spPr>
          <a:xfrm>
            <a:off x="2565990" y="5007456"/>
            <a:ext cx="517452" cy="69973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8" name="Right Arrow 17"/>
          <p:cNvSpPr/>
          <p:nvPr/>
        </p:nvSpPr>
        <p:spPr>
          <a:xfrm>
            <a:off x="2565990" y="5295995"/>
            <a:ext cx="517452" cy="69973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9" name="Rectangle 18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1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00D350E1-9D22-4499-9959-C757279E8BE9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257730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 Registration Complete!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5996034" y="6431656"/>
            <a:ext cx="259188" cy="211203"/>
          </a:xfrm>
        </p:spPr>
        <p:txBody>
          <a:bodyPr/>
          <a:lstStyle/>
          <a:p>
            <a:r>
              <a:rPr lang="en-US" sz="900" dirty="0">
                <a:solidFill>
                  <a:srgbClr val="003684"/>
                </a:solidFill>
              </a:rPr>
              <a:t>12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1731298" y="1606378"/>
            <a:ext cx="8710220" cy="4305094"/>
            <a:chOff x="397420" y="1374406"/>
            <a:chExt cx="8279921" cy="4759552"/>
          </a:xfrm>
          <a:solidFill>
            <a:srgbClr val="AEC9E8"/>
          </a:solidFill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3857342" y="3536138"/>
              <a:ext cx="204371" cy="218764"/>
            </a:xfrm>
            <a:custGeom>
              <a:avLst/>
              <a:gdLst>
                <a:gd name="T0" fmla="*/ 139 w 142"/>
                <a:gd name="T1" fmla="*/ 7 h 152"/>
                <a:gd name="T2" fmla="*/ 142 w 142"/>
                <a:gd name="T3" fmla="*/ 0 h 152"/>
                <a:gd name="T4" fmla="*/ 129 w 142"/>
                <a:gd name="T5" fmla="*/ 0 h 152"/>
                <a:gd name="T6" fmla="*/ 82 w 142"/>
                <a:gd name="T7" fmla="*/ 0 h 152"/>
                <a:gd name="T8" fmla="*/ 77 w 142"/>
                <a:gd name="T9" fmla="*/ 10 h 152"/>
                <a:gd name="T10" fmla="*/ 55 w 142"/>
                <a:gd name="T11" fmla="*/ 7 h 152"/>
                <a:gd name="T12" fmla="*/ 52 w 142"/>
                <a:gd name="T13" fmla="*/ 30 h 152"/>
                <a:gd name="T14" fmla="*/ 45 w 142"/>
                <a:gd name="T15" fmla="*/ 42 h 152"/>
                <a:gd name="T16" fmla="*/ 30 w 142"/>
                <a:gd name="T17" fmla="*/ 50 h 152"/>
                <a:gd name="T18" fmla="*/ 22 w 142"/>
                <a:gd name="T19" fmla="*/ 57 h 152"/>
                <a:gd name="T20" fmla="*/ 22 w 142"/>
                <a:gd name="T21" fmla="*/ 82 h 152"/>
                <a:gd name="T22" fmla="*/ 12 w 142"/>
                <a:gd name="T23" fmla="*/ 84 h 152"/>
                <a:gd name="T24" fmla="*/ 15 w 142"/>
                <a:gd name="T25" fmla="*/ 97 h 152"/>
                <a:gd name="T26" fmla="*/ 7 w 142"/>
                <a:gd name="T27" fmla="*/ 104 h 152"/>
                <a:gd name="T28" fmla="*/ 0 w 142"/>
                <a:gd name="T29" fmla="*/ 122 h 152"/>
                <a:gd name="T30" fmla="*/ 2 w 142"/>
                <a:gd name="T31" fmla="*/ 147 h 152"/>
                <a:gd name="T32" fmla="*/ 10 w 142"/>
                <a:gd name="T33" fmla="*/ 149 h 152"/>
                <a:gd name="T34" fmla="*/ 35 w 142"/>
                <a:gd name="T35" fmla="*/ 152 h 152"/>
                <a:gd name="T36" fmla="*/ 50 w 142"/>
                <a:gd name="T37" fmla="*/ 152 h 152"/>
                <a:gd name="T38" fmla="*/ 52 w 142"/>
                <a:gd name="T39" fmla="*/ 127 h 152"/>
                <a:gd name="T40" fmla="*/ 57 w 142"/>
                <a:gd name="T41" fmla="*/ 112 h 152"/>
                <a:gd name="T42" fmla="*/ 67 w 142"/>
                <a:gd name="T43" fmla="*/ 102 h 152"/>
                <a:gd name="T44" fmla="*/ 82 w 142"/>
                <a:gd name="T45" fmla="*/ 107 h 152"/>
                <a:gd name="T46" fmla="*/ 82 w 142"/>
                <a:gd name="T47" fmla="*/ 47 h 152"/>
                <a:gd name="T48" fmla="*/ 124 w 142"/>
                <a:gd name="T49" fmla="*/ 42 h 152"/>
                <a:gd name="T50" fmla="*/ 134 w 142"/>
                <a:gd name="T51" fmla="*/ 32 h 152"/>
                <a:gd name="T52" fmla="*/ 139 w 142"/>
                <a:gd name="T53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2" h="152">
                  <a:moveTo>
                    <a:pt x="139" y="7"/>
                  </a:moveTo>
                  <a:lnTo>
                    <a:pt x="142" y="0"/>
                  </a:lnTo>
                  <a:lnTo>
                    <a:pt x="129" y="0"/>
                  </a:lnTo>
                  <a:lnTo>
                    <a:pt x="82" y="0"/>
                  </a:lnTo>
                  <a:lnTo>
                    <a:pt x="77" y="10"/>
                  </a:lnTo>
                  <a:lnTo>
                    <a:pt x="55" y="7"/>
                  </a:lnTo>
                  <a:lnTo>
                    <a:pt x="52" y="30"/>
                  </a:lnTo>
                  <a:lnTo>
                    <a:pt x="45" y="42"/>
                  </a:lnTo>
                  <a:lnTo>
                    <a:pt x="30" y="50"/>
                  </a:lnTo>
                  <a:lnTo>
                    <a:pt x="22" y="57"/>
                  </a:lnTo>
                  <a:lnTo>
                    <a:pt x="22" y="82"/>
                  </a:lnTo>
                  <a:lnTo>
                    <a:pt x="12" y="84"/>
                  </a:lnTo>
                  <a:lnTo>
                    <a:pt x="15" y="97"/>
                  </a:lnTo>
                  <a:lnTo>
                    <a:pt x="7" y="104"/>
                  </a:lnTo>
                  <a:lnTo>
                    <a:pt x="0" y="122"/>
                  </a:lnTo>
                  <a:lnTo>
                    <a:pt x="2" y="147"/>
                  </a:lnTo>
                  <a:lnTo>
                    <a:pt x="10" y="149"/>
                  </a:lnTo>
                  <a:lnTo>
                    <a:pt x="35" y="152"/>
                  </a:lnTo>
                  <a:lnTo>
                    <a:pt x="50" y="152"/>
                  </a:lnTo>
                  <a:lnTo>
                    <a:pt x="52" y="127"/>
                  </a:lnTo>
                  <a:lnTo>
                    <a:pt x="57" y="112"/>
                  </a:lnTo>
                  <a:lnTo>
                    <a:pt x="67" y="102"/>
                  </a:lnTo>
                  <a:lnTo>
                    <a:pt x="82" y="107"/>
                  </a:lnTo>
                  <a:lnTo>
                    <a:pt x="82" y="47"/>
                  </a:lnTo>
                  <a:lnTo>
                    <a:pt x="124" y="42"/>
                  </a:lnTo>
                  <a:lnTo>
                    <a:pt x="134" y="32"/>
                  </a:lnTo>
                  <a:lnTo>
                    <a:pt x="139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7030856" y="4165084"/>
              <a:ext cx="286408" cy="322389"/>
            </a:xfrm>
            <a:custGeom>
              <a:avLst/>
              <a:gdLst>
                <a:gd name="T0" fmla="*/ 42 w 199"/>
                <a:gd name="T1" fmla="*/ 110 h 224"/>
                <a:gd name="T2" fmla="*/ 5 w 199"/>
                <a:gd name="T3" fmla="*/ 110 h 224"/>
                <a:gd name="T4" fmla="*/ 0 w 199"/>
                <a:gd name="T5" fmla="*/ 137 h 224"/>
                <a:gd name="T6" fmla="*/ 12 w 199"/>
                <a:gd name="T7" fmla="*/ 147 h 224"/>
                <a:gd name="T8" fmla="*/ 12 w 199"/>
                <a:gd name="T9" fmla="*/ 167 h 224"/>
                <a:gd name="T10" fmla="*/ 30 w 199"/>
                <a:gd name="T11" fmla="*/ 169 h 224"/>
                <a:gd name="T12" fmla="*/ 32 w 199"/>
                <a:gd name="T13" fmla="*/ 197 h 224"/>
                <a:gd name="T14" fmla="*/ 40 w 199"/>
                <a:gd name="T15" fmla="*/ 199 h 224"/>
                <a:gd name="T16" fmla="*/ 47 w 199"/>
                <a:gd name="T17" fmla="*/ 209 h 224"/>
                <a:gd name="T18" fmla="*/ 75 w 199"/>
                <a:gd name="T19" fmla="*/ 214 h 224"/>
                <a:gd name="T20" fmla="*/ 84 w 199"/>
                <a:gd name="T21" fmla="*/ 202 h 224"/>
                <a:gd name="T22" fmla="*/ 99 w 199"/>
                <a:gd name="T23" fmla="*/ 207 h 224"/>
                <a:gd name="T24" fmla="*/ 109 w 199"/>
                <a:gd name="T25" fmla="*/ 224 h 224"/>
                <a:gd name="T26" fmla="*/ 132 w 199"/>
                <a:gd name="T27" fmla="*/ 224 h 224"/>
                <a:gd name="T28" fmla="*/ 137 w 199"/>
                <a:gd name="T29" fmla="*/ 207 h 224"/>
                <a:gd name="T30" fmla="*/ 147 w 199"/>
                <a:gd name="T31" fmla="*/ 192 h 224"/>
                <a:gd name="T32" fmla="*/ 147 w 199"/>
                <a:gd name="T33" fmla="*/ 174 h 224"/>
                <a:gd name="T34" fmla="*/ 162 w 199"/>
                <a:gd name="T35" fmla="*/ 162 h 224"/>
                <a:gd name="T36" fmla="*/ 169 w 199"/>
                <a:gd name="T37" fmla="*/ 132 h 224"/>
                <a:gd name="T38" fmla="*/ 184 w 199"/>
                <a:gd name="T39" fmla="*/ 127 h 224"/>
                <a:gd name="T40" fmla="*/ 184 w 199"/>
                <a:gd name="T41" fmla="*/ 107 h 224"/>
                <a:gd name="T42" fmla="*/ 167 w 199"/>
                <a:gd name="T43" fmla="*/ 95 h 224"/>
                <a:gd name="T44" fmla="*/ 167 w 199"/>
                <a:gd name="T45" fmla="*/ 65 h 224"/>
                <a:gd name="T46" fmla="*/ 181 w 199"/>
                <a:gd name="T47" fmla="*/ 53 h 224"/>
                <a:gd name="T48" fmla="*/ 199 w 199"/>
                <a:gd name="T49" fmla="*/ 40 h 224"/>
                <a:gd name="T50" fmla="*/ 194 w 199"/>
                <a:gd name="T51" fmla="*/ 20 h 224"/>
                <a:gd name="T52" fmla="*/ 171 w 199"/>
                <a:gd name="T53" fmla="*/ 15 h 224"/>
                <a:gd name="T54" fmla="*/ 159 w 199"/>
                <a:gd name="T55" fmla="*/ 13 h 224"/>
                <a:gd name="T56" fmla="*/ 137 w 199"/>
                <a:gd name="T57" fmla="*/ 0 h 224"/>
                <a:gd name="T58" fmla="*/ 134 w 199"/>
                <a:gd name="T59" fmla="*/ 18 h 224"/>
                <a:gd name="T60" fmla="*/ 122 w 199"/>
                <a:gd name="T61" fmla="*/ 25 h 224"/>
                <a:gd name="T62" fmla="*/ 117 w 199"/>
                <a:gd name="T63" fmla="*/ 45 h 224"/>
                <a:gd name="T64" fmla="*/ 102 w 199"/>
                <a:gd name="T65" fmla="*/ 53 h 224"/>
                <a:gd name="T66" fmla="*/ 84 w 199"/>
                <a:gd name="T67" fmla="*/ 65 h 224"/>
                <a:gd name="T68" fmla="*/ 75 w 199"/>
                <a:gd name="T69" fmla="*/ 85 h 224"/>
                <a:gd name="T70" fmla="*/ 52 w 199"/>
                <a:gd name="T71" fmla="*/ 82 h 224"/>
                <a:gd name="T72" fmla="*/ 50 w 199"/>
                <a:gd name="T73" fmla="*/ 100 h 224"/>
                <a:gd name="T74" fmla="*/ 42 w 199"/>
                <a:gd name="T75" fmla="*/ 1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224">
                  <a:moveTo>
                    <a:pt x="42" y="110"/>
                  </a:moveTo>
                  <a:lnTo>
                    <a:pt x="5" y="110"/>
                  </a:lnTo>
                  <a:lnTo>
                    <a:pt x="0" y="137"/>
                  </a:lnTo>
                  <a:lnTo>
                    <a:pt x="12" y="147"/>
                  </a:lnTo>
                  <a:lnTo>
                    <a:pt x="12" y="167"/>
                  </a:lnTo>
                  <a:lnTo>
                    <a:pt x="30" y="169"/>
                  </a:lnTo>
                  <a:lnTo>
                    <a:pt x="32" y="197"/>
                  </a:lnTo>
                  <a:lnTo>
                    <a:pt x="40" y="199"/>
                  </a:lnTo>
                  <a:lnTo>
                    <a:pt x="47" y="209"/>
                  </a:lnTo>
                  <a:lnTo>
                    <a:pt x="75" y="214"/>
                  </a:lnTo>
                  <a:lnTo>
                    <a:pt x="84" y="202"/>
                  </a:lnTo>
                  <a:lnTo>
                    <a:pt x="99" y="207"/>
                  </a:lnTo>
                  <a:lnTo>
                    <a:pt x="109" y="224"/>
                  </a:lnTo>
                  <a:lnTo>
                    <a:pt x="132" y="224"/>
                  </a:lnTo>
                  <a:lnTo>
                    <a:pt x="137" y="207"/>
                  </a:lnTo>
                  <a:lnTo>
                    <a:pt x="147" y="192"/>
                  </a:lnTo>
                  <a:lnTo>
                    <a:pt x="147" y="174"/>
                  </a:lnTo>
                  <a:lnTo>
                    <a:pt x="162" y="162"/>
                  </a:lnTo>
                  <a:lnTo>
                    <a:pt x="169" y="132"/>
                  </a:lnTo>
                  <a:lnTo>
                    <a:pt x="184" y="127"/>
                  </a:lnTo>
                  <a:lnTo>
                    <a:pt x="184" y="107"/>
                  </a:lnTo>
                  <a:lnTo>
                    <a:pt x="167" y="95"/>
                  </a:lnTo>
                  <a:lnTo>
                    <a:pt x="167" y="65"/>
                  </a:lnTo>
                  <a:lnTo>
                    <a:pt x="181" y="53"/>
                  </a:lnTo>
                  <a:lnTo>
                    <a:pt x="199" y="40"/>
                  </a:lnTo>
                  <a:lnTo>
                    <a:pt x="194" y="20"/>
                  </a:lnTo>
                  <a:lnTo>
                    <a:pt x="171" y="15"/>
                  </a:lnTo>
                  <a:lnTo>
                    <a:pt x="159" y="13"/>
                  </a:lnTo>
                  <a:lnTo>
                    <a:pt x="137" y="0"/>
                  </a:lnTo>
                  <a:lnTo>
                    <a:pt x="134" y="18"/>
                  </a:lnTo>
                  <a:lnTo>
                    <a:pt x="122" y="25"/>
                  </a:lnTo>
                  <a:lnTo>
                    <a:pt x="117" y="45"/>
                  </a:lnTo>
                  <a:lnTo>
                    <a:pt x="102" y="53"/>
                  </a:lnTo>
                  <a:lnTo>
                    <a:pt x="84" y="65"/>
                  </a:lnTo>
                  <a:lnTo>
                    <a:pt x="75" y="85"/>
                  </a:lnTo>
                  <a:lnTo>
                    <a:pt x="52" y="82"/>
                  </a:lnTo>
                  <a:lnTo>
                    <a:pt x="50" y="100"/>
                  </a:lnTo>
                  <a:lnTo>
                    <a:pt x="42" y="1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015121" y="3972226"/>
              <a:ext cx="48934" cy="33102"/>
            </a:xfrm>
            <a:custGeom>
              <a:avLst/>
              <a:gdLst>
                <a:gd name="T0" fmla="*/ 34 w 34"/>
                <a:gd name="T1" fmla="*/ 23 h 23"/>
                <a:gd name="T2" fmla="*/ 32 w 34"/>
                <a:gd name="T3" fmla="*/ 0 h 23"/>
                <a:gd name="T4" fmla="*/ 12 w 34"/>
                <a:gd name="T5" fmla="*/ 0 h 23"/>
                <a:gd name="T6" fmla="*/ 0 w 34"/>
                <a:gd name="T7" fmla="*/ 5 h 23"/>
                <a:gd name="T8" fmla="*/ 34 w 3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23"/>
                  </a:moveTo>
                  <a:lnTo>
                    <a:pt x="3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34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2412350" y="3793761"/>
              <a:ext cx="70522" cy="71962"/>
            </a:xfrm>
            <a:custGeom>
              <a:avLst/>
              <a:gdLst>
                <a:gd name="T0" fmla="*/ 37 w 49"/>
                <a:gd name="T1" fmla="*/ 2 h 50"/>
                <a:gd name="T2" fmla="*/ 29 w 49"/>
                <a:gd name="T3" fmla="*/ 17 h 50"/>
                <a:gd name="T4" fmla="*/ 37 w 49"/>
                <a:gd name="T5" fmla="*/ 27 h 50"/>
                <a:gd name="T6" fmla="*/ 27 w 49"/>
                <a:gd name="T7" fmla="*/ 32 h 50"/>
                <a:gd name="T8" fmla="*/ 0 w 49"/>
                <a:gd name="T9" fmla="*/ 32 h 50"/>
                <a:gd name="T10" fmla="*/ 5 w 49"/>
                <a:gd name="T11" fmla="*/ 45 h 50"/>
                <a:gd name="T12" fmla="*/ 24 w 49"/>
                <a:gd name="T13" fmla="*/ 47 h 50"/>
                <a:gd name="T14" fmla="*/ 44 w 49"/>
                <a:gd name="T15" fmla="*/ 50 h 50"/>
                <a:gd name="T16" fmla="*/ 49 w 49"/>
                <a:gd name="T17" fmla="*/ 35 h 50"/>
                <a:gd name="T18" fmla="*/ 49 w 49"/>
                <a:gd name="T19" fmla="*/ 10 h 50"/>
                <a:gd name="T20" fmla="*/ 49 w 49"/>
                <a:gd name="T21" fmla="*/ 0 h 50"/>
                <a:gd name="T22" fmla="*/ 37 w 49"/>
                <a:gd name="T23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50">
                  <a:moveTo>
                    <a:pt x="37" y="2"/>
                  </a:moveTo>
                  <a:lnTo>
                    <a:pt x="29" y="17"/>
                  </a:lnTo>
                  <a:lnTo>
                    <a:pt x="37" y="27"/>
                  </a:lnTo>
                  <a:lnTo>
                    <a:pt x="27" y="32"/>
                  </a:lnTo>
                  <a:lnTo>
                    <a:pt x="0" y="32"/>
                  </a:lnTo>
                  <a:lnTo>
                    <a:pt x="5" y="45"/>
                  </a:lnTo>
                  <a:lnTo>
                    <a:pt x="24" y="47"/>
                  </a:lnTo>
                  <a:lnTo>
                    <a:pt x="44" y="50"/>
                  </a:lnTo>
                  <a:lnTo>
                    <a:pt x="49" y="35"/>
                  </a:lnTo>
                  <a:lnTo>
                    <a:pt x="49" y="10"/>
                  </a:lnTo>
                  <a:lnTo>
                    <a:pt x="49" y="0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271842" y="4015403"/>
              <a:ext cx="82036" cy="182782"/>
            </a:xfrm>
            <a:custGeom>
              <a:avLst/>
              <a:gdLst>
                <a:gd name="T0" fmla="*/ 0 w 57"/>
                <a:gd name="T1" fmla="*/ 45 h 127"/>
                <a:gd name="T2" fmla="*/ 8 w 57"/>
                <a:gd name="T3" fmla="*/ 57 h 127"/>
                <a:gd name="T4" fmla="*/ 13 w 57"/>
                <a:gd name="T5" fmla="*/ 80 h 127"/>
                <a:gd name="T6" fmla="*/ 13 w 57"/>
                <a:gd name="T7" fmla="*/ 104 h 127"/>
                <a:gd name="T8" fmla="*/ 20 w 57"/>
                <a:gd name="T9" fmla="*/ 127 h 127"/>
                <a:gd name="T10" fmla="*/ 43 w 57"/>
                <a:gd name="T11" fmla="*/ 117 h 127"/>
                <a:gd name="T12" fmla="*/ 38 w 57"/>
                <a:gd name="T13" fmla="*/ 77 h 127"/>
                <a:gd name="T14" fmla="*/ 50 w 57"/>
                <a:gd name="T15" fmla="*/ 62 h 127"/>
                <a:gd name="T16" fmla="*/ 57 w 57"/>
                <a:gd name="T17" fmla="*/ 22 h 127"/>
                <a:gd name="T18" fmla="*/ 55 w 57"/>
                <a:gd name="T19" fmla="*/ 0 h 127"/>
                <a:gd name="T20" fmla="*/ 38 w 57"/>
                <a:gd name="T21" fmla="*/ 0 h 127"/>
                <a:gd name="T22" fmla="*/ 33 w 57"/>
                <a:gd name="T23" fmla="*/ 20 h 127"/>
                <a:gd name="T24" fmla="*/ 13 w 57"/>
                <a:gd name="T25" fmla="*/ 25 h 127"/>
                <a:gd name="T26" fmla="*/ 0 w 57"/>
                <a:gd name="T27" fmla="*/ 4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127">
                  <a:moveTo>
                    <a:pt x="0" y="45"/>
                  </a:moveTo>
                  <a:lnTo>
                    <a:pt x="8" y="57"/>
                  </a:lnTo>
                  <a:lnTo>
                    <a:pt x="13" y="80"/>
                  </a:lnTo>
                  <a:lnTo>
                    <a:pt x="13" y="104"/>
                  </a:lnTo>
                  <a:lnTo>
                    <a:pt x="20" y="127"/>
                  </a:lnTo>
                  <a:lnTo>
                    <a:pt x="43" y="117"/>
                  </a:lnTo>
                  <a:lnTo>
                    <a:pt x="38" y="77"/>
                  </a:lnTo>
                  <a:lnTo>
                    <a:pt x="50" y="62"/>
                  </a:lnTo>
                  <a:lnTo>
                    <a:pt x="57" y="22"/>
                  </a:lnTo>
                  <a:lnTo>
                    <a:pt x="55" y="0"/>
                  </a:lnTo>
                  <a:lnTo>
                    <a:pt x="38" y="0"/>
                  </a:lnTo>
                  <a:lnTo>
                    <a:pt x="33" y="20"/>
                  </a:lnTo>
                  <a:lnTo>
                    <a:pt x="13" y="2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4558249" y="4867431"/>
              <a:ext cx="247548" cy="371323"/>
            </a:xfrm>
            <a:custGeom>
              <a:avLst/>
              <a:gdLst>
                <a:gd name="T0" fmla="*/ 0 w 172"/>
                <a:gd name="T1" fmla="*/ 5 h 258"/>
                <a:gd name="T2" fmla="*/ 18 w 172"/>
                <a:gd name="T3" fmla="*/ 0 h 258"/>
                <a:gd name="T4" fmla="*/ 37 w 172"/>
                <a:gd name="T5" fmla="*/ 7 h 258"/>
                <a:gd name="T6" fmla="*/ 67 w 172"/>
                <a:gd name="T7" fmla="*/ 10 h 258"/>
                <a:gd name="T8" fmla="*/ 115 w 172"/>
                <a:gd name="T9" fmla="*/ 7 h 258"/>
                <a:gd name="T10" fmla="*/ 119 w 172"/>
                <a:gd name="T11" fmla="*/ 17 h 258"/>
                <a:gd name="T12" fmla="*/ 157 w 172"/>
                <a:gd name="T13" fmla="*/ 22 h 258"/>
                <a:gd name="T14" fmla="*/ 172 w 172"/>
                <a:gd name="T15" fmla="*/ 24 h 258"/>
                <a:gd name="T16" fmla="*/ 162 w 172"/>
                <a:gd name="T17" fmla="*/ 42 h 258"/>
                <a:gd name="T18" fmla="*/ 162 w 172"/>
                <a:gd name="T19" fmla="*/ 104 h 258"/>
                <a:gd name="T20" fmla="*/ 152 w 172"/>
                <a:gd name="T21" fmla="*/ 111 h 258"/>
                <a:gd name="T22" fmla="*/ 144 w 172"/>
                <a:gd name="T23" fmla="*/ 116 h 258"/>
                <a:gd name="T24" fmla="*/ 144 w 172"/>
                <a:gd name="T25" fmla="*/ 179 h 258"/>
                <a:gd name="T26" fmla="*/ 139 w 172"/>
                <a:gd name="T27" fmla="*/ 248 h 258"/>
                <a:gd name="T28" fmla="*/ 129 w 172"/>
                <a:gd name="T29" fmla="*/ 258 h 258"/>
                <a:gd name="T30" fmla="*/ 107 w 172"/>
                <a:gd name="T31" fmla="*/ 256 h 258"/>
                <a:gd name="T32" fmla="*/ 97 w 172"/>
                <a:gd name="T33" fmla="*/ 241 h 258"/>
                <a:gd name="T34" fmla="*/ 95 w 172"/>
                <a:gd name="T35" fmla="*/ 248 h 258"/>
                <a:gd name="T36" fmla="*/ 82 w 172"/>
                <a:gd name="T37" fmla="*/ 248 h 258"/>
                <a:gd name="T38" fmla="*/ 77 w 172"/>
                <a:gd name="T39" fmla="*/ 233 h 258"/>
                <a:gd name="T40" fmla="*/ 67 w 172"/>
                <a:gd name="T41" fmla="*/ 221 h 258"/>
                <a:gd name="T42" fmla="*/ 55 w 172"/>
                <a:gd name="T43" fmla="*/ 218 h 258"/>
                <a:gd name="T44" fmla="*/ 55 w 172"/>
                <a:gd name="T45" fmla="*/ 196 h 258"/>
                <a:gd name="T46" fmla="*/ 50 w 172"/>
                <a:gd name="T47" fmla="*/ 169 h 258"/>
                <a:gd name="T48" fmla="*/ 50 w 172"/>
                <a:gd name="T49" fmla="*/ 151 h 258"/>
                <a:gd name="T50" fmla="*/ 47 w 172"/>
                <a:gd name="T51" fmla="*/ 126 h 258"/>
                <a:gd name="T52" fmla="*/ 42 w 172"/>
                <a:gd name="T53" fmla="*/ 106 h 258"/>
                <a:gd name="T54" fmla="*/ 35 w 172"/>
                <a:gd name="T55" fmla="*/ 94 h 258"/>
                <a:gd name="T56" fmla="*/ 30 w 172"/>
                <a:gd name="T57" fmla="*/ 82 h 258"/>
                <a:gd name="T58" fmla="*/ 18 w 172"/>
                <a:gd name="T59" fmla="*/ 59 h 258"/>
                <a:gd name="T60" fmla="*/ 13 w 172"/>
                <a:gd name="T61" fmla="*/ 47 h 258"/>
                <a:gd name="T62" fmla="*/ 0 w 172"/>
                <a:gd name="T63" fmla="*/ 29 h 258"/>
                <a:gd name="T64" fmla="*/ 0 w 172"/>
                <a:gd name="T65" fmla="*/ 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2" h="258">
                  <a:moveTo>
                    <a:pt x="0" y="5"/>
                  </a:moveTo>
                  <a:lnTo>
                    <a:pt x="18" y="0"/>
                  </a:lnTo>
                  <a:lnTo>
                    <a:pt x="37" y="7"/>
                  </a:lnTo>
                  <a:lnTo>
                    <a:pt x="67" y="10"/>
                  </a:lnTo>
                  <a:lnTo>
                    <a:pt x="115" y="7"/>
                  </a:lnTo>
                  <a:lnTo>
                    <a:pt x="119" y="17"/>
                  </a:lnTo>
                  <a:lnTo>
                    <a:pt x="157" y="22"/>
                  </a:lnTo>
                  <a:lnTo>
                    <a:pt x="172" y="24"/>
                  </a:lnTo>
                  <a:lnTo>
                    <a:pt x="162" y="42"/>
                  </a:lnTo>
                  <a:lnTo>
                    <a:pt x="162" y="104"/>
                  </a:lnTo>
                  <a:lnTo>
                    <a:pt x="152" y="111"/>
                  </a:lnTo>
                  <a:lnTo>
                    <a:pt x="144" y="116"/>
                  </a:lnTo>
                  <a:lnTo>
                    <a:pt x="144" y="179"/>
                  </a:lnTo>
                  <a:lnTo>
                    <a:pt x="139" y="248"/>
                  </a:lnTo>
                  <a:lnTo>
                    <a:pt x="129" y="258"/>
                  </a:lnTo>
                  <a:lnTo>
                    <a:pt x="107" y="256"/>
                  </a:lnTo>
                  <a:lnTo>
                    <a:pt x="97" y="241"/>
                  </a:lnTo>
                  <a:lnTo>
                    <a:pt x="95" y="248"/>
                  </a:lnTo>
                  <a:lnTo>
                    <a:pt x="82" y="248"/>
                  </a:lnTo>
                  <a:lnTo>
                    <a:pt x="77" y="233"/>
                  </a:lnTo>
                  <a:lnTo>
                    <a:pt x="67" y="221"/>
                  </a:lnTo>
                  <a:lnTo>
                    <a:pt x="55" y="218"/>
                  </a:lnTo>
                  <a:lnTo>
                    <a:pt x="55" y="196"/>
                  </a:lnTo>
                  <a:lnTo>
                    <a:pt x="50" y="169"/>
                  </a:lnTo>
                  <a:lnTo>
                    <a:pt x="50" y="151"/>
                  </a:lnTo>
                  <a:lnTo>
                    <a:pt x="47" y="126"/>
                  </a:lnTo>
                  <a:lnTo>
                    <a:pt x="42" y="106"/>
                  </a:lnTo>
                  <a:lnTo>
                    <a:pt x="35" y="94"/>
                  </a:lnTo>
                  <a:lnTo>
                    <a:pt x="30" y="82"/>
                  </a:lnTo>
                  <a:lnTo>
                    <a:pt x="18" y="59"/>
                  </a:lnTo>
                  <a:lnTo>
                    <a:pt x="13" y="47"/>
                  </a:lnTo>
                  <a:lnTo>
                    <a:pt x="0" y="29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8126114" y="4408314"/>
              <a:ext cx="48934" cy="71962"/>
            </a:xfrm>
            <a:custGeom>
              <a:avLst/>
              <a:gdLst>
                <a:gd name="T0" fmla="*/ 0 w 34"/>
                <a:gd name="T1" fmla="*/ 0 h 50"/>
                <a:gd name="T2" fmla="*/ 12 w 34"/>
                <a:gd name="T3" fmla="*/ 25 h 50"/>
                <a:gd name="T4" fmla="*/ 30 w 34"/>
                <a:gd name="T5" fmla="*/ 50 h 50"/>
                <a:gd name="T6" fmla="*/ 34 w 34"/>
                <a:gd name="T7" fmla="*/ 20 h 50"/>
                <a:gd name="T8" fmla="*/ 0 w 34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0">
                  <a:moveTo>
                    <a:pt x="0" y="0"/>
                  </a:moveTo>
                  <a:lnTo>
                    <a:pt x="12" y="25"/>
                  </a:lnTo>
                  <a:lnTo>
                    <a:pt x="30" y="50"/>
                  </a:lnTo>
                  <a:lnTo>
                    <a:pt x="34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1374660" y="3406606"/>
              <a:ext cx="725375" cy="551228"/>
            </a:xfrm>
            <a:custGeom>
              <a:avLst/>
              <a:gdLst>
                <a:gd name="T0" fmla="*/ 300 w 504"/>
                <a:gd name="T1" fmla="*/ 147 h 383"/>
                <a:gd name="T2" fmla="*/ 281 w 504"/>
                <a:gd name="T3" fmla="*/ 115 h 383"/>
                <a:gd name="T4" fmla="*/ 266 w 504"/>
                <a:gd name="T5" fmla="*/ 75 h 383"/>
                <a:gd name="T6" fmla="*/ 241 w 504"/>
                <a:gd name="T7" fmla="*/ 85 h 383"/>
                <a:gd name="T8" fmla="*/ 213 w 504"/>
                <a:gd name="T9" fmla="*/ 55 h 383"/>
                <a:gd name="T10" fmla="*/ 201 w 504"/>
                <a:gd name="T11" fmla="*/ 38 h 383"/>
                <a:gd name="T12" fmla="*/ 181 w 504"/>
                <a:gd name="T13" fmla="*/ 15 h 383"/>
                <a:gd name="T14" fmla="*/ 154 w 504"/>
                <a:gd name="T15" fmla="*/ 25 h 383"/>
                <a:gd name="T16" fmla="*/ 124 w 504"/>
                <a:gd name="T17" fmla="*/ 38 h 383"/>
                <a:gd name="T18" fmla="*/ 77 w 504"/>
                <a:gd name="T19" fmla="*/ 38 h 383"/>
                <a:gd name="T20" fmla="*/ 42 w 504"/>
                <a:gd name="T21" fmla="*/ 13 h 383"/>
                <a:gd name="T22" fmla="*/ 0 w 504"/>
                <a:gd name="T23" fmla="*/ 0 h 383"/>
                <a:gd name="T24" fmla="*/ 20 w 504"/>
                <a:gd name="T25" fmla="*/ 65 h 383"/>
                <a:gd name="T26" fmla="*/ 29 w 504"/>
                <a:gd name="T27" fmla="*/ 107 h 383"/>
                <a:gd name="T28" fmla="*/ 49 w 504"/>
                <a:gd name="T29" fmla="*/ 137 h 383"/>
                <a:gd name="T30" fmla="*/ 74 w 504"/>
                <a:gd name="T31" fmla="*/ 182 h 383"/>
                <a:gd name="T32" fmla="*/ 121 w 504"/>
                <a:gd name="T33" fmla="*/ 219 h 383"/>
                <a:gd name="T34" fmla="*/ 97 w 504"/>
                <a:gd name="T35" fmla="*/ 159 h 383"/>
                <a:gd name="T36" fmla="*/ 62 w 504"/>
                <a:gd name="T37" fmla="*/ 102 h 383"/>
                <a:gd name="T38" fmla="*/ 37 w 504"/>
                <a:gd name="T39" fmla="*/ 55 h 383"/>
                <a:gd name="T40" fmla="*/ 49 w 504"/>
                <a:gd name="T41" fmla="*/ 35 h 383"/>
                <a:gd name="T42" fmla="*/ 79 w 504"/>
                <a:gd name="T43" fmla="*/ 63 h 383"/>
                <a:gd name="T44" fmla="*/ 94 w 504"/>
                <a:gd name="T45" fmla="*/ 110 h 383"/>
                <a:gd name="T46" fmla="*/ 119 w 504"/>
                <a:gd name="T47" fmla="*/ 140 h 383"/>
                <a:gd name="T48" fmla="*/ 134 w 504"/>
                <a:gd name="T49" fmla="*/ 162 h 383"/>
                <a:gd name="T50" fmla="*/ 159 w 504"/>
                <a:gd name="T51" fmla="*/ 194 h 383"/>
                <a:gd name="T52" fmla="*/ 171 w 504"/>
                <a:gd name="T53" fmla="*/ 212 h 383"/>
                <a:gd name="T54" fmla="*/ 181 w 504"/>
                <a:gd name="T55" fmla="*/ 256 h 383"/>
                <a:gd name="T56" fmla="*/ 191 w 504"/>
                <a:gd name="T57" fmla="*/ 284 h 383"/>
                <a:gd name="T58" fmla="*/ 338 w 504"/>
                <a:gd name="T59" fmla="*/ 363 h 383"/>
                <a:gd name="T60" fmla="*/ 368 w 504"/>
                <a:gd name="T61" fmla="*/ 358 h 383"/>
                <a:gd name="T62" fmla="*/ 402 w 504"/>
                <a:gd name="T63" fmla="*/ 383 h 383"/>
                <a:gd name="T64" fmla="*/ 425 w 504"/>
                <a:gd name="T65" fmla="*/ 356 h 383"/>
                <a:gd name="T66" fmla="*/ 455 w 504"/>
                <a:gd name="T67" fmla="*/ 324 h 383"/>
                <a:gd name="T68" fmla="*/ 487 w 504"/>
                <a:gd name="T69" fmla="*/ 309 h 383"/>
                <a:gd name="T70" fmla="*/ 497 w 504"/>
                <a:gd name="T71" fmla="*/ 269 h 383"/>
                <a:gd name="T72" fmla="*/ 502 w 504"/>
                <a:gd name="T73" fmla="*/ 246 h 383"/>
                <a:gd name="T74" fmla="*/ 445 w 504"/>
                <a:gd name="T75" fmla="*/ 256 h 383"/>
                <a:gd name="T76" fmla="*/ 400 w 504"/>
                <a:gd name="T77" fmla="*/ 301 h 383"/>
                <a:gd name="T78" fmla="*/ 333 w 504"/>
                <a:gd name="T79" fmla="*/ 281 h 383"/>
                <a:gd name="T80" fmla="*/ 313 w 504"/>
                <a:gd name="T81" fmla="*/ 197 h 383"/>
                <a:gd name="T82" fmla="*/ 325 w 504"/>
                <a:gd name="T83" fmla="*/ 14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4" h="383">
                  <a:moveTo>
                    <a:pt x="325" y="147"/>
                  </a:moveTo>
                  <a:lnTo>
                    <a:pt x="300" y="147"/>
                  </a:lnTo>
                  <a:lnTo>
                    <a:pt x="295" y="122"/>
                  </a:lnTo>
                  <a:lnTo>
                    <a:pt x="281" y="115"/>
                  </a:lnTo>
                  <a:lnTo>
                    <a:pt x="276" y="90"/>
                  </a:lnTo>
                  <a:lnTo>
                    <a:pt x="266" y="75"/>
                  </a:lnTo>
                  <a:lnTo>
                    <a:pt x="246" y="63"/>
                  </a:lnTo>
                  <a:lnTo>
                    <a:pt x="241" y="85"/>
                  </a:lnTo>
                  <a:lnTo>
                    <a:pt x="223" y="85"/>
                  </a:lnTo>
                  <a:lnTo>
                    <a:pt x="213" y="55"/>
                  </a:lnTo>
                  <a:lnTo>
                    <a:pt x="203" y="53"/>
                  </a:lnTo>
                  <a:lnTo>
                    <a:pt x="201" y="38"/>
                  </a:lnTo>
                  <a:lnTo>
                    <a:pt x="186" y="33"/>
                  </a:lnTo>
                  <a:lnTo>
                    <a:pt x="181" y="15"/>
                  </a:lnTo>
                  <a:lnTo>
                    <a:pt x="169" y="25"/>
                  </a:lnTo>
                  <a:lnTo>
                    <a:pt x="154" y="25"/>
                  </a:lnTo>
                  <a:lnTo>
                    <a:pt x="151" y="38"/>
                  </a:lnTo>
                  <a:lnTo>
                    <a:pt x="124" y="38"/>
                  </a:lnTo>
                  <a:lnTo>
                    <a:pt x="104" y="45"/>
                  </a:lnTo>
                  <a:lnTo>
                    <a:pt x="77" y="38"/>
                  </a:lnTo>
                  <a:lnTo>
                    <a:pt x="57" y="20"/>
                  </a:lnTo>
                  <a:lnTo>
                    <a:pt x="42" y="13"/>
                  </a:lnTo>
                  <a:lnTo>
                    <a:pt x="37" y="3"/>
                  </a:lnTo>
                  <a:lnTo>
                    <a:pt x="0" y="0"/>
                  </a:lnTo>
                  <a:lnTo>
                    <a:pt x="2" y="45"/>
                  </a:lnTo>
                  <a:lnTo>
                    <a:pt x="20" y="65"/>
                  </a:lnTo>
                  <a:lnTo>
                    <a:pt x="34" y="90"/>
                  </a:lnTo>
                  <a:lnTo>
                    <a:pt x="29" y="107"/>
                  </a:lnTo>
                  <a:lnTo>
                    <a:pt x="20" y="115"/>
                  </a:lnTo>
                  <a:lnTo>
                    <a:pt x="49" y="137"/>
                  </a:lnTo>
                  <a:lnTo>
                    <a:pt x="69" y="152"/>
                  </a:lnTo>
                  <a:lnTo>
                    <a:pt x="74" y="182"/>
                  </a:lnTo>
                  <a:lnTo>
                    <a:pt x="107" y="219"/>
                  </a:lnTo>
                  <a:lnTo>
                    <a:pt x="121" y="219"/>
                  </a:lnTo>
                  <a:lnTo>
                    <a:pt x="112" y="189"/>
                  </a:lnTo>
                  <a:lnTo>
                    <a:pt x="97" y="159"/>
                  </a:lnTo>
                  <a:lnTo>
                    <a:pt x="84" y="130"/>
                  </a:lnTo>
                  <a:lnTo>
                    <a:pt x="62" y="102"/>
                  </a:lnTo>
                  <a:lnTo>
                    <a:pt x="49" y="77"/>
                  </a:lnTo>
                  <a:lnTo>
                    <a:pt x="37" y="55"/>
                  </a:lnTo>
                  <a:lnTo>
                    <a:pt x="37" y="28"/>
                  </a:lnTo>
                  <a:lnTo>
                    <a:pt x="49" y="35"/>
                  </a:lnTo>
                  <a:lnTo>
                    <a:pt x="64" y="50"/>
                  </a:lnTo>
                  <a:lnTo>
                    <a:pt x="79" y="63"/>
                  </a:lnTo>
                  <a:lnTo>
                    <a:pt x="82" y="95"/>
                  </a:lnTo>
                  <a:lnTo>
                    <a:pt x="94" y="110"/>
                  </a:lnTo>
                  <a:lnTo>
                    <a:pt x="109" y="132"/>
                  </a:lnTo>
                  <a:lnTo>
                    <a:pt x="119" y="140"/>
                  </a:lnTo>
                  <a:lnTo>
                    <a:pt x="119" y="157"/>
                  </a:lnTo>
                  <a:lnTo>
                    <a:pt x="134" y="162"/>
                  </a:lnTo>
                  <a:lnTo>
                    <a:pt x="136" y="184"/>
                  </a:lnTo>
                  <a:lnTo>
                    <a:pt x="159" y="194"/>
                  </a:lnTo>
                  <a:lnTo>
                    <a:pt x="159" y="209"/>
                  </a:lnTo>
                  <a:lnTo>
                    <a:pt x="171" y="212"/>
                  </a:lnTo>
                  <a:lnTo>
                    <a:pt x="174" y="234"/>
                  </a:lnTo>
                  <a:lnTo>
                    <a:pt x="181" y="256"/>
                  </a:lnTo>
                  <a:lnTo>
                    <a:pt x="176" y="274"/>
                  </a:lnTo>
                  <a:lnTo>
                    <a:pt x="191" y="284"/>
                  </a:lnTo>
                  <a:lnTo>
                    <a:pt x="288" y="346"/>
                  </a:lnTo>
                  <a:lnTo>
                    <a:pt x="338" y="363"/>
                  </a:lnTo>
                  <a:lnTo>
                    <a:pt x="355" y="351"/>
                  </a:lnTo>
                  <a:lnTo>
                    <a:pt x="368" y="358"/>
                  </a:lnTo>
                  <a:lnTo>
                    <a:pt x="387" y="366"/>
                  </a:lnTo>
                  <a:lnTo>
                    <a:pt x="402" y="383"/>
                  </a:lnTo>
                  <a:lnTo>
                    <a:pt x="410" y="361"/>
                  </a:lnTo>
                  <a:lnTo>
                    <a:pt x="425" y="356"/>
                  </a:lnTo>
                  <a:lnTo>
                    <a:pt x="427" y="336"/>
                  </a:lnTo>
                  <a:lnTo>
                    <a:pt x="455" y="324"/>
                  </a:lnTo>
                  <a:lnTo>
                    <a:pt x="465" y="319"/>
                  </a:lnTo>
                  <a:lnTo>
                    <a:pt x="487" y="309"/>
                  </a:lnTo>
                  <a:lnTo>
                    <a:pt x="499" y="291"/>
                  </a:lnTo>
                  <a:lnTo>
                    <a:pt x="497" y="269"/>
                  </a:lnTo>
                  <a:lnTo>
                    <a:pt x="504" y="264"/>
                  </a:lnTo>
                  <a:lnTo>
                    <a:pt x="502" y="246"/>
                  </a:lnTo>
                  <a:lnTo>
                    <a:pt x="462" y="242"/>
                  </a:lnTo>
                  <a:lnTo>
                    <a:pt x="445" y="256"/>
                  </a:lnTo>
                  <a:lnTo>
                    <a:pt x="427" y="294"/>
                  </a:lnTo>
                  <a:lnTo>
                    <a:pt x="400" y="301"/>
                  </a:lnTo>
                  <a:lnTo>
                    <a:pt x="360" y="304"/>
                  </a:lnTo>
                  <a:lnTo>
                    <a:pt x="333" y="281"/>
                  </a:lnTo>
                  <a:lnTo>
                    <a:pt x="323" y="232"/>
                  </a:lnTo>
                  <a:lnTo>
                    <a:pt x="313" y="197"/>
                  </a:lnTo>
                  <a:lnTo>
                    <a:pt x="320" y="169"/>
                  </a:lnTo>
                  <a:lnTo>
                    <a:pt x="325" y="1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17 w 119"/>
                <a:gd name="T37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20 w 119"/>
                <a:gd name="T37" fmla="*/ 10 h 60"/>
                <a:gd name="T38" fmla="*/ 17 w 119"/>
                <a:gd name="T39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20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2064055" y="3965030"/>
              <a:ext cx="115139" cy="107943"/>
            </a:xfrm>
            <a:custGeom>
              <a:avLst/>
              <a:gdLst>
                <a:gd name="T0" fmla="*/ 73 w 80"/>
                <a:gd name="T1" fmla="*/ 0 h 75"/>
                <a:gd name="T2" fmla="*/ 48 w 80"/>
                <a:gd name="T3" fmla="*/ 0 h 75"/>
                <a:gd name="T4" fmla="*/ 40 w 80"/>
                <a:gd name="T5" fmla="*/ 18 h 75"/>
                <a:gd name="T6" fmla="*/ 18 w 80"/>
                <a:gd name="T7" fmla="*/ 20 h 75"/>
                <a:gd name="T8" fmla="*/ 0 w 80"/>
                <a:gd name="T9" fmla="*/ 28 h 75"/>
                <a:gd name="T10" fmla="*/ 10 w 80"/>
                <a:gd name="T11" fmla="*/ 37 h 75"/>
                <a:gd name="T12" fmla="*/ 18 w 80"/>
                <a:gd name="T13" fmla="*/ 60 h 75"/>
                <a:gd name="T14" fmla="*/ 30 w 80"/>
                <a:gd name="T15" fmla="*/ 75 h 75"/>
                <a:gd name="T16" fmla="*/ 70 w 80"/>
                <a:gd name="T17" fmla="*/ 75 h 75"/>
                <a:gd name="T18" fmla="*/ 73 w 80"/>
                <a:gd name="T19" fmla="*/ 23 h 75"/>
                <a:gd name="T20" fmla="*/ 80 w 80"/>
                <a:gd name="T21" fmla="*/ 8 h 75"/>
                <a:gd name="T22" fmla="*/ 73 w 80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75">
                  <a:moveTo>
                    <a:pt x="73" y="0"/>
                  </a:moveTo>
                  <a:lnTo>
                    <a:pt x="48" y="0"/>
                  </a:lnTo>
                  <a:lnTo>
                    <a:pt x="40" y="18"/>
                  </a:lnTo>
                  <a:lnTo>
                    <a:pt x="18" y="20"/>
                  </a:lnTo>
                  <a:lnTo>
                    <a:pt x="0" y="28"/>
                  </a:lnTo>
                  <a:lnTo>
                    <a:pt x="10" y="37"/>
                  </a:lnTo>
                  <a:lnTo>
                    <a:pt x="18" y="60"/>
                  </a:lnTo>
                  <a:lnTo>
                    <a:pt x="30" y="75"/>
                  </a:lnTo>
                  <a:lnTo>
                    <a:pt x="70" y="75"/>
                  </a:lnTo>
                  <a:lnTo>
                    <a:pt x="73" y="23"/>
                  </a:lnTo>
                  <a:lnTo>
                    <a:pt x="80" y="8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auto">
            <a:xfrm>
              <a:off x="2684365" y="6064875"/>
              <a:ext cx="70523" cy="69083"/>
            </a:xfrm>
            <a:custGeom>
              <a:avLst/>
              <a:gdLst>
                <a:gd name="T0" fmla="*/ 0 w 49"/>
                <a:gd name="T1" fmla="*/ 38 h 48"/>
                <a:gd name="T2" fmla="*/ 12 w 49"/>
                <a:gd name="T3" fmla="*/ 0 h 48"/>
                <a:gd name="T4" fmla="*/ 14 w 49"/>
                <a:gd name="T5" fmla="*/ 0 h 48"/>
                <a:gd name="T6" fmla="*/ 27 w 49"/>
                <a:gd name="T7" fmla="*/ 15 h 48"/>
                <a:gd name="T8" fmla="*/ 49 w 49"/>
                <a:gd name="T9" fmla="*/ 33 h 48"/>
                <a:gd name="T10" fmla="*/ 22 w 49"/>
                <a:gd name="T11" fmla="*/ 30 h 48"/>
                <a:gd name="T12" fmla="*/ 17 w 49"/>
                <a:gd name="T13" fmla="*/ 48 h 48"/>
                <a:gd name="T14" fmla="*/ 0 w 49"/>
                <a:gd name="T15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8">
                  <a:moveTo>
                    <a:pt x="0" y="38"/>
                  </a:moveTo>
                  <a:lnTo>
                    <a:pt x="12" y="0"/>
                  </a:lnTo>
                  <a:lnTo>
                    <a:pt x="14" y="0"/>
                  </a:lnTo>
                  <a:lnTo>
                    <a:pt x="27" y="15"/>
                  </a:lnTo>
                  <a:lnTo>
                    <a:pt x="49" y="33"/>
                  </a:lnTo>
                  <a:lnTo>
                    <a:pt x="22" y="30"/>
                  </a:lnTo>
                  <a:lnTo>
                    <a:pt x="17" y="4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>
              <a:off x="2523170" y="5038699"/>
              <a:ext cx="428892" cy="972923"/>
            </a:xfrm>
            <a:custGeom>
              <a:avLst/>
              <a:gdLst>
                <a:gd name="T0" fmla="*/ 67 w 298"/>
                <a:gd name="T1" fmla="*/ 0 h 676"/>
                <a:gd name="T2" fmla="*/ 104 w 298"/>
                <a:gd name="T3" fmla="*/ 20 h 676"/>
                <a:gd name="T4" fmla="*/ 136 w 298"/>
                <a:gd name="T5" fmla="*/ 15 h 676"/>
                <a:gd name="T6" fmla="*/ 159 w 298"/>
                <a:gd name="T7" fmla="*/ 32 h 676"/>
                <a:gd name="T8" fmla="*/ 179 w 298"/>
                <a:gd name="T9" fmla="*/ 45 h 676"/>
                <a:gd name="T10" fmla="*/ 208 w 298"/>
                <a:gd name="T11" fmla="*/ 60 h 676"/>
                <a:gd name="T12" fmla="*/ 221 w 298"/>
                <a:gd name="T13" fmla="*/ 69 h 676"/>
                <a:gd name="T14" fmla="*/ 208 w 298"/>
                <a:gd name="T15" fmla="*/ 112 h 676"/>
                <a:gd name="T16" fmla="*/ 266 w 298"/>
                <a:gd name="T17" fmla="*/ 104 h 676"/>
                <a:gd name="T18" fmla="*/ 286 w 298"/>
                <a:gd name="T19" fmla="*/ 82 h 676"/>
                <a:gd name="T20" fmla="*/ 298 w 298"/>
                <a:gd name="T21" fmla="*/ 99 h 676"/>
                <a:gd name="T22" fmla="*/ 286 w 298"/>
                <a:gd name="T23" fmla="*/ 117 h 676"/>
                <a:gd name="T24" fmla="*/ 268 w 298"/>
                <a:gd name="T25" fmla="*/ 132 h 676"/>
                <a:gd name="T26" fmla="*/ 248 w 298"/>
                <a:gd name="T27" fmla="*/ 156 h 676"/>
                <a:gd name="T28" fmla="*/ 231 w 298"/>
                <a:gd name="T29" fmla="*/ 181 h 676"/>
                <a:gd name="T30" fmla="*/ 218 w 298"/>
                <a:gd name="T31" fmla="*/ 219 h 676"/>
                <a:gd name="T32" fmla="*/ 226 w 298"/>
                <a:gd name="T33" fmla="*/ 268 h 676"/>
                <a:gd name="T34" fmla="*/ 233 w 298"/>
                <a:gd name="T35" fmla="*/ 273 h 676"/>
                <a:gd name="T36" fmla="*/ 251 w 298"/>
                <a:gd name="T37" fmla="*/ 281 h 676"/>
                <a:gd name="T38" fmla="*/ 261 w 298"/>
                <a:gd name="T39" fmla="*/ 311 h 676"/>
                <a:gd name="T40" fmla="*/ 248 w 298"/>
                <a:gd name="T41" fmla="*/ 340 h 676"/>
                <a:gd name="T42" fmla="*/ 228 w 298"/>
                <a:gd name="T43" fmla="*/ 355 h 676"/>
                <a:gd name="T44" fmla="*/ 186 w 298"/>
                <a:gd name="T45" fmla="*/ 363 h 676"/>
                <a:gd name="T46" fmla="*/ 169 w 298"/>
                <a:gd name="T47" fmla="*/ 370 h 676"/>
                <a:gd name="T48" fmla="*/ 174 w 298"/>
                <a:gd name="T49" fmla="*/ 413 h 676"/>
                <a:gd name="T50" fmla="*/ 129 w 298"/>
                <a:gd name="T51" fmla="*/ 403 h 676"/>
                <a:gd name="T52" fmla="*/ 139 w 298"/>
                <a:gd name="T53" fmla="*/ 432 h 676"/>
                <a:gd name="T54" fmla="*/ 146 w 298"/>
                <a:gd name="T55" fmla="*/ 460 h 676"/>
                <a:gd name="T56" fmla="*/ 131 w 298"/>
                <a:gd name="T57" fmla="*/ 477 h 676"/>
                <a:gd name="T58" fmla="*/ 114 w 298"/>
                <a:gd name="T59" fmla="*/ 504 h 676"/>
                <a:gd name="T60" fmla="*/ 99 w 298"/>
                <a:gd name="T61" fmla="*/ 517 h 676"/>
                <a:gd name="T62" fmla="*/ 124 w 298"/>
                <a:gd name="T63" fmla="*/ 554 h 676"/>
                <a:gd name="T64" fmla="*/ 124 w 298"/>
                <a:gd name="T65" fmla="*/ 577 h 676"/>
                <a:gd name="T66" fmla="*/ 109 w 298"/>
                <a:gd name="T67" fmla="*/ 594 h 676"/>
                <a:gd name="T68" fmla="*/ 94 w 298"/>
                <a:gd name="T69" fmla="*/ 626 h 676"/>
                <a:gd name="T70" fmla="*/ 87 w 298"/>
                <a:gd name="T71" fmla="*/ 651 h 676"/>
                <a:gd name="T72" fmla="*/ 32 w 298"/>
                <a:gd name="T73" fmla="*/ 676 h 676"/>
                <a:gd name="T74" fmla="*/ 12 w 298"/>
                <a:gd name="T75" fmla="*/ 641 h 676"/>
                <a:gd name="T76" fmla="*/ 20 w 298"/>
                <a:gd name="T77" fmla="*/ 584 h 676"/>
                <a:gd name="T78" fmla="*/ 22 w 298"/>
                <a:gd name="T79" fmla="*/ 495 h 676"/>
                <a:gd name="T80" fmla="*/ 15 w 298"/>
                <a:gd name="T81" fmla="*/ 445 h 676"/>
                <a:gd name="T82" fmla="*/ 2 w 298"/>
                <a:gd name="T83" fmla="*/ 395 h 676"/>
                <a:gd name="T84" fmla="*/ 17 w 298"/>
                <a:gd name="T85" fmla="*/ 363 h 676"/>
                <a:gd name="T86" fmla="*/ 12 w 298"/>
                <a:gd name="T87" fmla="*/ 308 h 676"/>
                <a:gd name="T88" fmla="*/ 12 w 298"/>
                <a:gd name="T89" fmla="*/ 286 h 676"/>
                <a:gd name="T90" fmla="*/ 22 w 298"/>
                <a:gd name="T91" fmla="*/ 256 h 676"/>
                <a:gd name="T92" fmla="*/ 12 w 298"/>
                <a:gd name="T93" fmla="*/ 234 h 676"/>
                <a:gd name="T94" fmla="*/ 20 w 298"/>
                <a:gd name="T95" fmla="*/ 196 h 676"/>
                <a:gd name="T96" fmla="*/ 15 w 298"/>
                <a:gd name="T97" fmla="*/ 152 h 676"/>
                <a:gd name="T98" fmla="*/ 22 w 298"/>
                <a:gd name="T99" fmla="*/ 122 h 676"/>
                <a:gd name="T100" fmla="*/ 39 w 298"/>
                <a:gd name="T101" fmla="*/ 97 h 676"/>
                <a:gd name="T102" fmla="*/ 42 w 298"/>
                <a:gd name="T103" fmla="*/ 72 h 676"/>
                <a:gd name="T104" fmla="*/ 52 w 298"/>
                <a:gd name="T105" fmla="*/ 45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676">
                  <a:moveTo>
                    <a:pt x="54" y="22"/>
                  </a:moveTo>
                  <a:lnTo>
                    <a:pt x="67" y="0"/>
                  </a:lnTo>
                  <a:lnTo>
                    <a:pt x="82" y="12"/>
                  </a:lnTo>
                  <a:lnTo>
                    <a:pt x="104" y="20"/>
                  </a:lnTo>
                  <a:lnTo>
                    <a:pt x="124" y="2"/>
                  </a:lnTo>
                  <a:lnTo>
                    <a:pt x="136" y="15"/>
                  </a:lnTo>
                  <a:lnTo>
                    <a:pt x="154" y="22"/>
                  </a:lnTo>
                  <a:lnTo>
                    <a:pt x="159" y="32"/>
                  </a:lnTo>
                  <a:lnTo>
                    <a:pt x="169" y="35"/>
                  </a:lnTo>
                  <a:lnTo>
                    <a:pt x="179" y="45"/>
                  </a:lnTo>
                  <a:lnTo>
                    <a:pt x="184" y="57"/>
                  </a:lnTo>
                  <a:lnTo>
                    <a:pt x="208" y="60"/>
                  </a:lnTo>
                  <a:lnTo>
                    <a:pt x="213" y="62"/>
                  </a:lnTo>
                  <a:lnTo>
                    <a:pt x="221" y="69"/>
                  </a:lnTo>
                  <a:lnTo>
                    <a:pt x="213" y="94"/>
                  </a:lnTo>
                  <a:lnTo>
                    <a:pt x="208" y="112"/>
                  </a:lnTo>
                  <a:lnTo>
                    <a:pt x="266" y="114"/>
                  </a:lnTo>
                  <a:lnTo>
                    <a:pt x="266" y="104"/>
                  </a:lnTo>
                  <a:lnTo>
                    <a:pt x="278" y="97"/>
                  </a:lnTo>
                  <a:lnTo>
                    <a:pt x="286" y="82"/>
                  </a:lnTo>
                  <a:lnTo>
                    <a:pt x="288" y="99"/>
                  </a:lnTo>
                  <a:lnTo>
                    <a:pt x="298" y="99"/>
                  </a:lnTo>
                  <a:lnTo>
                    <a:pt x="298" y="114"/>
                  </a:lnTo>
                  <a:lnTo>
                    <a:pt x="286" y="117"/>
                  </a:lnTo>
                  <a:lnTo>
                    <a:pt x="276" y="129"/>
                  </a:lnTo>
                  <a:lnTo>
                    <a:pt x="268" y="132"/>
                  </a:lnTo>
                  <a:lnTo>
                    <a:pt x="258" y="147"/>
                  </a:lnTo>
                  <a:lnTo>
                    <a:pt x="248" y="156"/>
                  </a:lnTo>
                  <a:lnTo>
                    <a:pt x="241" y="169"/>
                  </a:lnTo>
                  <a:lnTo>
                    <a:pt x="231" y="181"/>
                  </a:lnTo>
                  <a:lnTo>
                    <a:pt x="221" y="199"/>
                  </a:lnTo>
                  <a:lnTo>
                    <a:pt x="218" y="219"/>
                  </a:lnTo>
                  <a:lnTo>
                    <a:pt x="221" y="246"/>
                  </a:lnTo>
                  <a:lnTo>
                    <a:pt x="226" y="268"/>
                  </a:lnTo>
                  <a:lnTo>
                    <a:pt x="233" y="266"/>
                  </a:lnTo>
                  <a:lnTo>
                    <a:pt x="233" y="273"/>
                  </a:lnTo>
                  <a:lnTo>
                    <a:pt x="241" y="278"/>
                  </a:lnTo>
                  <a:lnTo>
                    <a:pt x="251" y="281"/>
                  </a:lnTo>
                  <a:lnTo>
                    <a:pt x="251" y="306"/>
                  </a:lnTo>
                  <a:lnTo>
                    <a:pt x="261" y="311"/>
                  </a:lnTo>
                  <a:lnTo>
                    <a:pt x="258" y="333"/>
                  </a:lnTo>
                  <a:lnTo>
                    <a:pt x="248" y="340"/>
                  </a:lnTo>
                  <a:lnTo>
                    <a:pt x="233" y="343"/>
                  </a:lnTo>
                  <a:lnTo>
                    <a:pt x="228" y="355"/>
                  </a:lnTo>
                  <a:lnTo>
                    <a:pt x="218" y="355"/>
                  </a:lnTo>
                  <a:lnTo>
                    <a:pt x="186" y="363"/>
                  </a:lnTo>
                  <a:lnTo>
                    <a:pt x="174" y="363"/>
                  </a:lnTo>
                  <a:lnTo>
                    <a:pt x="169" y="370"/>
                  </a:lnTo>
                  <a:lnTo>
                    <a:pt x="174" y="388"/>
                  </a:lnTo>
                  <a:lnTo>
                    <a:pt x="174" y="413"/>
                  </a:lnTo>
                  <a:lnTo>
                    <a:pt x="156" y="420"/>
                  </a:lnTo>
                  <a:lnTo>
                    <a:pt x="129" y="403"/>
                  </a:lnTo>
                  <a:lnTo>
                    <a:pt x="124" y="422"/>
                  </a:lnTo>
                  <a:lnTo>
                    <a:pt x="139" y="432"/>
                  </a:lnTo>
                  <a:lnTo>
                    <a:pt x="144" y="445"/>
                  </a:lnTo>
                  <a:lnTo>
                    <a:pt x="146" y="460"/>
                  </a:lnTo>
                  <a:lnTo>
                    <a:pt x="139" y="467"/>
                  </a:lnTo>
                  <a:lnTo>
                    <a:pt x="131" y="477"/>
                  </a:lnTo>
                  <a:lnTo>
                    <a:pt x="124" y="500"/>
                  </a:lnTo>
                  <a:lnTo>
                    <a:pt x="114" y="504"/>
                  </a:lnTo>
                  <a:lnTo>
                    <a:pt x="112" y="514"/>
                  </a:lnTo>
                  <a:lnTo>
                    <a:pt x="99" y="517"/>
                  </a:lnTo>
                  <a:lnTo>
                    <a:pt x="97" y="542"/>
                  </a:lnTo>
                  <a:lnTo>
                    <a:pt x="124" y="554"/>
                  </a:lnTo>
                  <a:lnTo>
                    <a:pt x="124" y="567"/>
                  </a:lnTo>
                  <a:lnTo>
                    <a:pt x="124" y="577"/>
                  </a:lnTo>
                  <a:lnTo>
                    <a:pt x="114" y="584"/>
                  </a:lnTo>
                  <a:lnTo>
                    <a:pt x="109" y="594"/>
                  </a:lnTo>
                  <a:lnTo>
                    <a:pt x="109" y="624"/>
                  </a:lnTo>
                  <a:lnTo>
                    <a:pt x="94" y="626"/>
                  </a:lnTo>
                  <a:lnTo>
                    <a:pt x="87" y="634"/>
                  </a:lnTo>
                  <a:lnTo>
                    <a:pt x="87" y="651"/>
                  </a:lnTo>
                  <a:lnTo>
                    <a:pt x="84" y="674"/>
                  </a:lnTo>
                  <a:lnTo>
                    <a:pt x="32" y="676"/>
                  </a:lnTo>
                  <a:lnTo>
                    <a:pt x="27" y="651"/>
                  </a:lnTo>
                  <a:lnTo>
                    <a:pt x="12" y="641"/>
                  </a:lnTo>
                  <a:lnTo>
                    <a:pt x="10" y="587"/>
                  </a:lnTo>
                  <a:lnTo>
                    <a:pt x="20" y="584"/>
                  </a:lnTo>
                  <a:lnTo>
                    <a:pt x="22" y="569"/>
                  </a:lnTo>
                  <a:lnTo>
                    <a:pt x="22" y="495"/>
                  </a:lnTo>
                  <a:lnTo>
                    <a:pt x="15" y="475"/>
                  </a:lnTo>
                  <a:lnTo>
                    <a:pt x="15" y="445"/>
                  </a:lnTo>
                  <a:lnTo>
                    <a:pt x="10" y="413"/>
                  </a:lnTo>
                  <a:lnTo>
                    <a:pt x="2" y="395"/>
                  </a:lnTo>
                  <a:lnTo>
                    <a:pt x="5" y="380"/>
                  </a:lnTo>
                  <a:lnTo>
                    <a:pt x="17" y="363"/>
                  </a:lnTo>
                  <a:lnTo>
                    <a:pt x="0" y="328"/>
                  </a:lnTo>
                  <a:lnTo>
                    <a:pt x="12" y="308"/>
                  </a:lnTo>
                  <a:lnTo>
                    <a:pt x="20" y="296"/>
                  </a:lnTo>
                  <a:lnTo>
                    <a:pt x="12" y="286"/>
                  </a:lnTo>
                  <a:lnTo>
                    <a:pt x="12" y="258"/>
                  </a:lnTo>
                  <a:lnTo>
                    <a:pt x="22" y="256"/>
                  </a:lnTo>
                  <a:lnTo>
                    <a:pt x="22" y="236"/>
                  </a:lnTo>
                  <a:lnTo>
                    <a:pt x="12" y="234"/>
                  </a:lnTo>
                  <a:lnTo>
                    <a:pt x="12" y="204"/>
                  </a:lnTo>
                  <a:lnTo>
                    <a:pt x="20" y="196"/>
                  </a:lnTo>
                  <a:lnTo>
                    <a:pt x="17" y="181"/>
                  </a:lnTo>
                  <a:lnTo>
                    <a:pt x="15" y="152"/>
                  </a:lnTo>
                  <a:lnTo>
                    <a:pt x="20" y="139"/>
                  </a:lnTo>
                  <a:lnTo>
                    <a:pt x="22" y="122"/>
                  </a:lnTo>
                  <a:lnTo>
                    <a:pt x="34" y="114"/>
                  </a:lnTo>
                  <a:lnTo>
                    <a:pt x="39" y="97"/>
                  </a:lnTo>
                  <a:lnTo>
                    <a:pt x="32" y="84"/>
                  </a:lnTo>
                  <a:lnTo>
                    <a:pt x="42" y="72"/>
                  </a:lnTo>
                  <a:lnTo>
                    <a:pt x="42" y="47"/>
                  </a:lnTo>
                  <a:lnTo>
                    <a:pt x="52" y="45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2701635" y="4949467"/>
              <a:ext cx="233156" cy="253305"/>
            </a:xfrm>
            <a:custGeom>
              <a:avLst/>
              <a:gdLst>
                <a:gd name="T0" fmla="*/ 30 w 162"/>
                <a:gd name="T1" fmla="*/ 84 h 176"/>
                <a:gd name="T2" fmla="*/ 35 w 162"/>
                <a:gd name="T3" fmla="*/ 94 h 176"/>
                <a:gd name="T4" fmla="*/ 45 w 162"/>
                <a:gd name="T5" fmla="*/ 97 h 176"/>
                <a:gd name="T6" fmla="*/ 55 w 162"/>
                <a:gd name="T7" fmla="*/ 107 h 176"/>
                <a:gd name="T8" fmla="*/ 60 w 162"/>
                <a:gd name="T9" fmla="*/ 119 h 176"/>
                <a:gd name="T10" fmla="*/ 84 w 162"/>
                <a:gd name="T11" fmla="*/ 122 h 176"/>
                <a:gd name="T12" fmla="*/ 89 w 162"/>
                <a:gd name="T13" fmla="*/ 124 h 176"/>
                <a:gd name="T14" fmla="*/ 97 w 162"/>
                <a:gd name="T15" fmla="*/ 131 h 176"/>
                <a:gd name="T16" fmla="*/ 89 w 162"/>
                <a:gd name="T17" fmla="*/ 156 h 176"/>
                <a:gd name="T18" fmla="*/ 84 w 162"/>
                <a:gd name="T19" fmla="*/ 174 h 176"/>
                <a:gd name="T20" fmla="*/ 142 w 162"/>
                <a:gd name="T21" fmla="*/ 176 h 176"/>
                <a:gd name="T22" fmla="*/ 142 w 162"/>
                <a:gd name="T23" fmla="*/ 166 h 176"/>
                <a:gd name="T24" fmla="*/ 154 w 162"/>
                <a:gd name="T25" fmla="*/ 159 h 176"/>
                <a:gd name="T26" fmla="*/ 162 w 162"/>
                <a:gd name="T27" fmla="*/ 144 h 176"/>
                <a:gd name="T28" fmla="*/ 159 w 162"/>
                <a:gd name="T29" fmla="*/ 139 h 176"/>
                <a:gd name="T30" fmla="*/ 157 w 162"/>
                <a:gd name="T31" fmla="*/ 94 h 176"/>
                <a:gd name="T32" fmla="*/ 142 w 162"/>
                <a:gd name="T33" fmla="*/ 92 h 176"/>
                <a:gd name="T34" fmla="*/ 139 w 162"/>
                <a:gd name="T35" fmla="*/ 72 h 176"/>
                <a:gd name="T36" fmla="*/ 122 w 162"/>
                <a:gd name="T37" fmla="*/ 69 h 176"/>
                <a:gd name="T38" fmla="*/ 112 w 162"/>
                <a:gd name="T39" fmla="*/ 67 h 176"/>
                <a:gd name="T40" fmla="*/ 109 w 162"/>
                <a:gd name="T41" fmla="*/ 57 h 176"/>
                <a:gd name="T42" fmla="*/ 92 w 162"/>
                <a:gd name="T43" fmla="*/ 54 h 176"/>
                <a:gd name="T44" fmla="*/ 89 w 162"/>
                <a:gd name="T45" fmla="*/ 40 h 176"/>
                <a:gd name="T46" fmla="*/ 77 w 162"/>
                <a:gd name="T47" fmla="*/ 35 h 176"/>
                <a:gd name="T48" fmla="*/ 77 w 162"/>
                <a:gd name="T49" fmla="*/ 22 h 176"/>
                <a:gd name="T50" fmla="*/ 70 w 162"/>
                <a:gd name="T51" fmla="*/ 7 h 176"/>
                <a:gd name="T52" fmla="*/ 47 w 162"/>
                <a:gd name="T53" fmla="*/ 0 h 176"/>
                <a:gd name="T54" fmla="*/ 35 w 162"/>
                <a:gd name="T55" fmla="*/ 10 h 176"/>
                <a:gd name="T56" fmla="*/ 12 w 162"/>
                <a:gd name="T57" fmla="*/ 20 h 176"/>
                <a:gd name="T58" fmla="*/ 7 w 162"/>
                <a:gd name="T59" fmla="*/ 35 h 176"/>
                <a:gd name="T60" fmla="*/ 0 w 162"/>
                <a:gd name="T61" fmla="*/ 64 h 176"/>
                <a:gd name="T62" fmla="*/ 12 w 162"/>
                <a:gd name="T63" fmla="*/ 77 h 176"/>
                <a:gd name="T64" fmla="*/ 30 w 162"/>
                <a:gd name="T65" fmla="*/ 8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176">
                  <a:moveTo>
                    <a:pt x="30" y="84"/>
                  </a:moveTo>
                  <a:lnTo>
                    <a:pt x="35" y="94"/>
                  </a:lnTo>
                  <a:lnTo>
                    <a:pt x="45" y="97"/>
                  </a:lnTo>
                  <a:lnTo>
                    <a:pt x="55" y="107"/>
                  </a:lnTo>
                  <a:lnTo>
                    <a:pt x="60" y="119"/>
                  </a:lnTo>
                  <a:lnTo>
                    <a:pt x="84" y="122"/>
                  </a:lnTo>
                  <a:lnTo>
                    <a:pt x="89" y="124"/>
                  </a:lnTo>
                  <a:lnTo>
                    <a:pt x="97" y="131"/>
                  </a:lnTo>
                  <a:lnTo>
                    <a:pt x="89" y="156"/>
                  </a:lnTo>
                  <a:lnTo>
                    <a:pt x="84" y="174"/>
                  </a:lnTo>
                  <a:lnTo>
                    <a:pt x="142" y="176"/>
                  </a:lnTo>
                  <a:lnTo>
                    <a:pt x="142" y="166"/>
                  </a:lnTo>
                  <a:lnTo>
                    <a:pt x="154" y="159"/>
                  </a:lnTo>
                  <a:lnTo>
                    <a:pt x="162" y="144"/>
                  </a:lnTo>
                  <a:lnTo>
                    <a:pt x="159" y="139"/>
                  </a:lnTo>
                  <a:lnTo>
                    <a:pt x="157" y="94"/>
                  </a:lnTo>
                  <a:lnTo>
                    <a:pt x="142" y="92"/>
                  </a:lnTo>
                  <a:lnTo>
                    <a:pt x="139" y="72"/>
                  </a:lnTo>
                  <a:lnTo>
                    <a:pt x="122" y="69"/>
                  </a:lnTo>
                  <a:lnTo>
                    <a:pt x="112" y="67"/>
                  </a:lnTo>
                  <a:lnTo>
                    <a:pt x="109" y="57"/>
                  </a:lnTo>
                  <a:lnTo>
                    <a:pt x="92" y="54"/>
                  </a:lnTo>
                  <a:lnTo>
                    <a:pt x="89" y="40"/>
                  </a:lnTo>
                  <a:lnTo>
                    <a:pt x="77" y="35"/>
                  </a:lnTo>
                  <a:lnTo>
                    <a:pt x="77" y="22"/>
                  </a:lnTo>
                  <a:lnTo>
                    <a:pt x="70" y="7"/>
                  </a:lnTo>
                  <a:lnTo>
                    <a:pt x="47" y="0"/>
                  </a:lnTo>
                  <a:lnTo>
                    <a:pt x="35" y="10"/>
                  </a:lnTo>
                  <a:lnTo>
                    <a:pt x="12" y="20"/>
                  </a:lnTo>
                  <a:lnTo>
                    <a:pt x="7" y="35"/>
                  </a:lnTo>
                  <a:lnTo>
                    <a:pt x="0" y="64"/>
                  </a:lnTo>
                  <a:lnTo>
                    <a:pt x="12" y="77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2311603" y="3839817"/>
              <a:ext cx="60448" cy="28785"/>
            </a:xfrm>
            <a:custGeom>
              <a:avLst/>
              <a:gdLst>
                <a:gd name="T0" fmla="*/ 10 w 42"/>
                <a:gd name="T1" fmla="*/ 0 h 20"/>
                <a:gd name="T2" fmla="*/ 25 w 42"/>
                <a:gd name="T3" fmla="*/ 0 h 20"/>
                <a:gd name="T4" fmla="*/ 42 w 42"/>
                <a:gd name="T5" fmla="*/ 8 h 20"/>
                <a:gd name="T6" fmla="*/ 35 w 42"/>
                <a:gd name="T7" fmla="*/ 20 h 20"/>
                <a:gd name="T8" fmla="*/ 15 w 42"/>
                <a:gd name="T9" fmla="*/ 20 h 20"/>
                <a:gd name="T10" fmla="*/ 0 w 42"/>
                <a:gd name="T11" fmla="*/ 13 h 20"/>
                <a:gd name="T12" fmla="*/ 10 w 42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0">
                  <a:moveTo>
                    <a:pt x="10" y="0"/>
                  </a:moveTo>
                  <a:lnTo>
                    <a:pt x="25" y="0"/>
                  </a:lnTo>
                  <a:lnTo>
                    <a:pt x="42" y="8"/>
                  </a:lnTo>
                  <a:lnTo>
                    <a:pt x="35" y="20"/>
                  </a:lnTo>
                  <a:lnTo>
                    <a:pt x="15" y="20"/>
                  </a:lnTo>
                  <a:lnTo>
                    <a:pt x="0" y="1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" name="Freeform 25"/>
            <p:cNvSpPr>
              <a:spLocks/>
            </p:cNvSpPr>
            <p:nvPr/>
          </p:nvSpPr>
          <p:spPr bwMode="auto">
            <a:xfrm>
              <a:off x="2475676" y="3793761"/>
              <a:ext cx="96428" cy="71962"/>
            </a:xfrm>
            <a:custGeom>
              <a:avLst/>
              <a:gdLst>
                <a:gd name="T0" fmla="*/ 0 w 67"/>
                <a:gd name="T1" fmla="*/ 50 h 50"/>
                <a:gd name="T2" fmla="*/ 5 w 67"/>
                <a:gd name="T3" fmla="*/ 35 h 50"/>
                <a:gd name="T4" fmla="*/ 5 w 67"/>
                <a:gd name="T5" fmla="*/ 10 h 50"/>
                <a:gd name="T6" fmla="*/ 5 w 67"/>
                <a:gd name="T7" fmla="*/ 0 h 50"/>
                <a:gd name="T8" fmla="*/ 23 w 67"/>
                <a:gd name="T9" fmla="*/ 2 h 50"/>
                <a:gd name="T10" fmla="*/ 28 w 67"/>
                <a:gd name="T11" fmla="*/ 10 h 50"/>
                <a:gd name="T12" fmla="*/ 35 w 67"/>
                <a:gd name="T13" fmla="*/ 12 h 50"/>
                <a:gd name="T14" fmla="*/ 43 w 67"/>
                <a:gd name="T15" fmla="*/ 12 h 50"/>
                <a:gd name="T16" fmla="*/ 48 w 67"/>
                <a:gd name="T17" fmla="*/ 25 h 50"/>
                <a:gd name="T18" fmla="*/ 55 w 67"/>
                <a:gd name="T19" fmla="*/ 30 h 50"/>
                <a:gd name="T20" fmla="*/ 67 w 67"/>
                <a:gd name="T21" fmla="*/ 37 h 50"/>
                <a:gd name="T22" fmla="*/ 65 w 67"/>
                <a:gd name="T23" fmla="*/ 45 h 50"/>
                <a:gd name="T24" fmla="*/ 48 w 67"/>
                <a:gd name="T25" fmla="*/ 47 h 50"/>
                <a:gd name="T26" fmla="*/ 23 w 67"/>
                <a:gd name="T27" fmla="*/ 45 h 50"/>
                <a:gd name="T28" fmla="*/ 0 w 67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50">
                  <a:moveTo>
                    <a:pt x="0" y="50"/>
                  </a:moveTo>
                  <a:lnTo>
                    <a:pt x="5" y="35"/>
                  </a:lnTo>
                  <a:lnTo>
                    <a:pt x="5" y="10"/>
                  </a:lnTo>
                  <a:lnTo>
                    <a:pt x="5" y="0"/>
                  </a:lnTo>
                  <a:lnTo>
                    <a:pt x="23" y="2"/>
                  </a:lnTo>
                  <a:lnTo>
                    <a:pt x="28" y="10"/>
                  </a:lnTo>
                  <a:lnTo>
                    <a:pt x="35" y="12"/>
                  </a:lnTo>
                  <a:lnTo>
                    <a:pt x="43" y="12"/>
                  </a:lnTo>
                  <a:lnTo>
                    <a:pt x="48" y="25"/>
                  </a:lnTo>
                  <a:lnTo>
                    <a:pt x="55" y="30"/>
                  </a:lnTo>
                  <a:lnTo>
                    <a:pt x="67" y="37"/>
                  </a:lnTo>
                  <a:lnTo>
                    <a:pt x="65" y="45"/>
                  </a:lnTo>
                  <a:lnTo>
                    <a:pt x="48" y="47"/>
                  </a:lnTo>
                  <a:lnTo>
                    <a:pt x="23" y="45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2593693" y="3844134"/>
              <a:ext cx="40299" cy="24467"/>
            </a:xfrm>
            <a:custGeom>
              <a:avLst/>
              <a:gdLst>
                <a:gd name="T0" fmla="*/ 10 w 28"/>
                <a:gd name="T1" fmla="*/ 0 h 17"/>
                <a:gd name="T2" fmla="*/ 0 w 28"/>
                <a:gd name="T3" fmla="*/ 7 h 17"/>
                <a:gd name="T4" fmla="*/ 5 w 28"/>
                <a:gd name="T5" fmla="*/ 12 h 17"/>
                <a:gd name="T6" fmla="*/ 18 w 28"/>
                <a:gd name="T7" fmla="*/ 17 h 17"/>
                <a:gd name="T8" fmla="*/ 28 w 28"/>
                <a:gd name="T9" fmla="*/ 12 h 17"/>
                <a:gd name="T10" fmla="*/ 28 w 28"/>
                <a:gd name="T11" fmla="*/ 0 h 17"/>
                <a:gd name="T12" fmla="*/ 10 w 2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7">
                  <a:moveTo>
                    <a:pt x="10" y="0"/>
                  </a:moveTo>
                  <a:lnTo>
                    <a:pt x="0" y="7"/>
                  </a:lnTo>
                  <a:lnTo>
                    <a:pt x="5" y="12"/>
                  </a:lnTo>
                  <a:lnTo>
                    <a:pt x="18" y="17"/>
                  </a:lnTo>
                  <a:lnTo>
                    <a:pt x="28" y="12"/>
                  </a:lnTo>
                  <a:lnTo>
                    <a:pt x="28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" name="Freeform 27"/>
            <p:cNvSpPr>
              <a:spLocks/>
            </p:cNvSpPr>
            <p:nvPr/>
          </p:nvSpPr>
          <p:spPr bwMode="auto">
            <a:xfrm>
              <a:off x="3818482" y="3890190"/>
              <a:ext cx="171269" cy="146802"/>
            </a:xfrm>
            <a:custGeom>
              <a:avLst/>
              <a:gdLst>
                <a:gd name="T0" fmla="*/ 22 w 119"/>
                <a:gd name="T1" fmla="*/ 80 h 102"/>
                <a:gd name="T2" fmla="*/ 22 w 119"/>
                <a:gd name="T3" fmla="*/ 94 h 102"/>
                <a:gd name="T4" fmla="*/ 37 w 119"/>
                <a:gd name="T5" fmla="*/ 94 h 102"/>
                <a:gd name="T6" fmla="*/ 44 w 119"/>
                <a:gd name="T7" fmla="*/ 102 h 102"/>
                <a:gd name="T8" fmla="*/ 54 w 119"/>
                <a:gd name="T9" fmla="*/ 89 h 102"/>
                <a:gd name="T10" fmla="*/ 74 w 119"/>
                <a:gd name="T11" fmla="*/ 82 h 102"/>
                <a:gd name="T12" fmla="*/ 99 w 119"/>
                <a:gd name="T13" fmla="*/ 87 h 102"/>
                <a:gd name="T14" fmla="*/ 119 w 119"/>
                <a:gd name="T15" fmla="*/ 87 h 102"/>
                <a:gd name="T16" fmla="*/ 109 w 119"/>
                <a:gd name="T17" fmla="*/ 67 h 102"/>
                <a:gd name="T18" fmla="*/ 99 w 119"/>
                <a:gd name="T19" fmla="*/ 57 h 102"/>
                <a:gd name="T20" fmla="*/ 97 w 119"/>
                <a:gd name="T21" fmla="*/ 42 h 102"/>
                <a:gd name="T22" fmla="*/ 84 w 119"/>
                <a:gd name="T23" fmla="*/ 35 h 102"/>
                <a:gd name="T24" fmla="*/ 69 w 119"/>
                <a:gd name="T25" fmla="*/ 15 h 102"/>
                <a:gd name="T26" fmla="*/ 57 w 119"/>
                <a:gd name="T27" fmla="*/ 10 h 102"/>
                <a:gd name="T28" fmla="*/ 49 w 119"/>
                <a:gd name="T29" fmla="*/ 0 h 102"/>
                <a:gd name="T30" fmla="*/ 34 w 119"/>
                <a:gd name="T31" fmla="*/ 2 h 102"/>
                <a:gd name="T32" fmla="*/ 12 w 119"/>
                <a:gd name="T33" fmla="*/ 27 h 102"/>
                <a:gd name="T34" fmla="*/ 0 w 119"/>
                <a:gd name="T35" fmla="*/ 35 h 102"/>
                <a:gd name="T36" fmla="*/ 14 w 119"/>
                <a:gd name="T37" fmla="*/ 37 h 102"/>
                <a:gd name="T38" fmla="*/ 27 w 119"/>
                <a:gd name="T39" fmla="*/ 52 h 102"/>
                <a:gd name="T40" fmla="*/ 34 w 119"/>
                <a:gd name="T41" fmla="*/ 60 h 102"/>
                <a:gd name="T42" fmla="*/ 22 w 119"/>
                <a:gd name="T43" fmla="*/ 67 h 102"/>
                <a:gd name="T44" fmla="*/ 22 w 119"/>
                <a:gd name="T45" fmla="*/ 8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" h="102">
                  <a:moveTo>
                    <a:pt x="22" y="80"/>
                  </a:moveTo>
                  <a:lnTo>
                    <a:pt x="22" y="94"/>
                  </a:lnTo>
                  <a:lnTo>
                    <a:pt x="37" y="94"/>
                  </a:lnTo>
                  <a:lnTo>
                    <a:pt x="44" y="102"/>
                  </a:lnTo>
                  <a:lnTo>
                    <a:pt x="54" y="89"/>
                  </a:lnTo>
                  <a:lnTo>
                    <a:pt x="74" y="82"/>
                  </a:lnTo>
                  <a:lnTo>
                    <a:pt x="99" y="87"/>
                  </a:lnTo>
                  <a:lnTo>
                    <a:pt x="119" y="87"/>
                  </a:lnTo>
                  <a:lnTo>
                    <a:pt x="109" y="67"/>
                  </a:lnTo>
                  <a:lnTo>
                    <a:pt x="99" y="57"/>
                  </a:lnTo>
                  <a:lnTo>
                    <a:pt x="97" y="42"/>
                  </a:lnTo>
                  <a:lnTo>
                    <a:pt x="84" y="35"/>
                  </a:lnTo>
                  <a:lnTo>
                    <a:pt x="69" y="15"/>
                  </a:lnTo>
                  <a:lnTo>
                    <a:pt x="57" y="10"/>
                  </a:lnTo>
                  <a:lnTo>
                    <a:pt x="49" y="0"/>
                  </a:lnTo>
                  <a:lnTo>
                    <a:pt x="34" y="2"/>
                  </a:lnTo>
                  <a:lnTo>
                    <a:pt x="12" y="27"/>
                  </a:lnTo>
                  <a:lnTo>
                    <a:pt x="0" y="35"/>
                  </a:lnTo>
                  <a:lnTo>
                    <a:pt x="14" y="37"/>
                  </a:lnTo>
                  <a:lnTo>
                    <a:pt x="27" y="52"/>
                  </a:lnTo>
                  <a:lnTo>
                    <a:pt x="34" y="60"/>
                  </a:lnTo>
                  <a:lnTo>
                    <a:pt x="22" y="67"/>
                  </a:lnTo>
                  <a:lnTo>
                    <a:pt x="22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" name="Freeform 30"/>
            <p:cNvSpPr>
              <a:spLocks/>
            </p:cNvSpPr>
            <p:nvPr/>
          </p:nvSpPr>
          <p:spPr bwMode="auto">
            <a:xfrm>
              <a:off x="7897275" y="4451491"/>
              <a:ext cx="207250" cy="218764"/>
            </a:xfrm>
            <a:custGeom>
              <a:avLst/>
              <a:gdLst>
                <a:gd name="T0" fmla="*/ 19 w 144"/>
                <a:gd name="T1" fmla="*/ 90 h 152"/>
                <a:gd name="T2" fmla="*/ 0 w 144"/>
                <a:gd name="T3" fmla="*/ 0 h 152"/>
                <a:gd name="T4" fmla="*/ 17 w 144"/>
                <a:gd name="T5" fmla="*/ 8 h 152"/>
                <a:gd name="T6" fmla="*/ 47 w 144"/>
                <a:gd name="T7" fmla="*/ 5 h 152"/>
                <a:gd name="T8" fmla="*/ 47 w 144"/>
                <a:gd name="T9" fmla="*/ 30 h 152"/>
                <a:gd name="T10" fmla="*/ 64 w 144"/>
                <a:gd name="T11" fmla="*/ 38 h 152"/>
                <a:gd name="T12" fmla="*/ 69 w 144"/>
                <a:gd name="T13" fmla="*/ 50 h 152"/>
                <a:gd name="T14" fmla="*/ 84 w 144"/>
                <a:gd name="T15" fmla="*/ 62 h 152"/>
                <a:gd name="T16" fmla="*/ 94 w 144"/>
                <a:gd name="T17" fmla="*/ 72 h 152"/>
                <a:gd name="T18" fmla="*/ 92 w 144"/>
                <a:gd name="T19" fmla="*/ 92 h 152"/>
                <a:gd name="T20" fmla="*/ 104 w 144"/>
                <a:gd name="T21" fmla="*/ 115 h 152"/>
                <a:gd name="T22" fmla="*/ 129 w 144"/>
                <a:gd name="T23" fmla="*/ 122 h 152"/>
                <a:gd name="T24" fmla="*/ 144 w 144"/>
                <a:gd name="T25" fmla="*/ 147 h 152"/>
                <a:gd name="T26" fmla="*/ 131 w 144"/>
                <a:gd name="T27" fmla="*/ 149 h 152"/>
                <a:gd name="T28" fmla="*/ 121 w 144"/>
                <a:gd name="T29" fmla="*/ 152 h 152"/>
                <a:gd name="T30" fmla="*/ 116 w 144"/>
                <a:gd name="T31" fmla="*/ 152 h 152"/>
                <a:gd name="T32" fmla="*/ 101 w 144"/>
                <a:gd name="T33" fmla="*/ 144 h 152"/>
                <a:gd name="T34" fmla="*/ 89 w 144"/>
                <a:gd name="T35" fmla="*/ 142 h 152"/>
                <a:gd name="T36" fmla="*/ 64 w 144"/>
                <a:gd name="T37" fmla="*/ 117 h 152"/>
                <a:gd name="T38" fmla="*/ 49 w 144"/>
                <a:gd name="T39" fmla="*/ 95 h 152"/>
                <a:gd name="T40" fmla="*/ 19 w 144"/>
                <a:gd name="T41" fmla="*/ 9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52">
                  <a:moveTo>
                    <a:pt x="19" y="90"/>
                  </a:moveTo>
                  <a:lnTo>
                    <a:pt x="0" y="0"/>
                  </a:lnTo>
                  <a:lnTo>
                    <a:pt x="17" y="8"/>
                  </a:lnTo>
                  <a:lnTo>
                    <a:pt x="47" y="5"/>
                  </a:lnTo>
                  <a:lnTo>
                    <a:pt x="47" y="30"/>
                  </a:lnTo>
                  <a:lnTo>
                    <a:pt x="64" y="38"/>
                  </a:lnTo>
                  <a:lnTo>
                    <a:pt x="69" y="50"/>
                  </a:lnTo>
                  <a:lnTo>
                    <a:pt x="84" y="62"/>
                  </a:lnTo>
                  <a:lnTo>
                    <a:pt x="94" y="72"/>
                  </a:lnTo>
                  <a:lnTo>
                    <a:pt x="92" y="92"/>
                  </a:lnTo>
                  <a:lnTo>
                    <a:pt x="104" y="115"/>
                  </a:lnTo>
                  <a:lnTo>
                    <a:pt x="129" y="122"/>
                  </a:lnTo>
                  <a:lnTo>
                    <a:pt x="144" y="147"/>
                  </a:lnTo>
                  <a:lnTo>
                    <a:pt x="131" y="149"/>
                  </a:lnTo>
                  <a:lnTo>
                    <a:pt x="121" y="152"/>
                  </a:lnTo>
                  <a:lnTo>
                    <a:pt x="116" y="152"/>
                  </a:lnTo>
                  <a:lnTo>
                    <a:pt x="101" y="144"/>
                  </a:lnTo>
                  <a:lnTo>
                    <a:pt x="89" y="142"/>
                  </a:lnTo>
                  <a:lnTo>
                    <a:pt x="64" y="117"/>
                  </a:lnTo>
                  <a:lnTo>
                    <a:pt x="49" y="95"/>
                  </a:lnTo>
                  <a:lnTo>
                    <a:pt x="19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" name="Freeform 31"/>
            <p:cNvSpPr>
              <a:spLocks/>
            </p:cNvSpPr>
            <p:nvPr/>
          </p:nvSpPr>
          <p:spPr bwMode="auto">
            <a:xfrm>
              <a:off x="8068545" y="4491790"/>
              <a:ext cx="67644" cy="53252"/>
            </a:xfrm>
            <a:custGeom>
              <a:avLst/>
              <a:gdLst>
                <a:gd name="T0" fmla="*/ 2 w 47"/>
                <a:gd name="T1" fmla="*/ 17 h 37"/>
                <a:gd name="T2" fmla="*/ 0 w 47"/>
                <a:gd name="T3" fmla="*/ 32 h 37"/>
                <a:gd name="T4" fmla="*/ 17 w 47"/>
                <a:gd name="T5" fmla="*/ 37 h 37"/>
                <a:gd name="T6" fmla="*/ 40 w 47"/>
                <a:gd name="T7" fmla="*/ 24 h 37"/>
                <a:gd name="T8" fmla="*/ 47 w 47"/>
                <a:gd name="T9" fmla="*/ 12 h 37"/>
                <a:gd name="T10" fmla="*/ 47 w 47"/>
                <a:gd name="T11" fmla="*/ 0 h 37"/>
                <a:gd name="T12" fmla="*/ 32 w 47"/>
                <a:gd name="T13" fmla="*/ 0 h 37"/>
                <a:gd name="T14" fmla="*/ 27 w 47"/>
                <a:gd name="T15" fmla="*/ 12 h 37"/>
                <a:gd name="T16" fmla="*/ 2 w 47"/>
                <a:gd name="T17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2" y="17"/>
                  </a:moveTo>
                  <a:lnTo>
                    <a:pt x="0" y="32"/>
                  </a:lnTo>
                  <a:lnTo>
                    <a:pt x="17" y="37"/>
                  </a:lnTo>
                  <a:lnTo>
                    <a:pt x="40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32" y="0"/>
                  </a:lnTo>
                  <a:lnTo>
                    <a:pt x="27" y="12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" name="Freeform 32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0 w 28"/>
                <a:gd name="T25" fmla="*/ 17 h 17"/>
                <a:gd name="T26" fmla="*/ 13 w 28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3 w 28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4451746" y="3249730"/>
              <a:ext cx="99308" cy="189979"/>
            </a:xfrm>
            <a:custGeom>
              <a:avLst/>
              <a:gdLst>
                <a:gd name="T0" fmla="*/ 37 w 69"/>
                <a:gd name="T1" fmla="*/ 132 h 132"/>
                <a:gd name="T2" fmla="*/ 27 w 69"/>
                <a:gd name="T3" fmla="*/ 129 h 132"/>
                <a:gd name="T4" fmla="*/ 24 w 69"/>
                <a:gd name="T5" fmla="*/ 109 h 132"/>
                <a:gd name="T6" fmla="*/ 7 w 69"/>
                <a:gd name="T7" fmla="*/ 104 h 132"/>
                <a:gd name="T8" fmla="*/ 0 w 69"/>
                <a:gd name="T9" fmla="*/ 85 h 132"/>
                <a:gd name="T10" fmla="*/ 5 w 69"/>
                <a:gd name="T11" fmla="*/ 65 h 132"/>
                <a:gd name="T12" fmla="*/ 22 w 69"/>
                <a:gd name="T13" fmla="*/ 60 h 132"/>
                <a:gd name="T14" fmla="*/ 12 w 69"/>
                <a:gd name="T15" fmla="*/ 45 h 132"/>
                <a:gd name="T16" fmla="*/ 14 w 69"/>
                <a:gd name="T17" fmla="*/ 32 h 132"/>
                <a:gd name="T18" fmla="*/ 24 w 69"/>
                <a:gd name="T19" fmla="*/ 32 h 132"/>
                <a:gd name="T20" fmla="*/ 19 w 69"/>
                <a:gd name="T21" fmla="*/ 7 h 132"/>
                <a:gd name="T22" fmla="*/ 32 w 69"/>
                <a:gd name="T23" fmla="*/ 0 h 132"/>
                <a:gd name="T24" fmla="*/ 42 w 69"/>
                <a:gd name="T25" fmla="*/ 0 h 132"/>
                <a:gd name="T26" fmla="*/ 49 w 69"/>
                <a:gd name="T27" fmla="*/ 5 h 132"/>
                <a:gd name="T28" fmla="*/ 64 w 69"/>
                <a:gd name="T29" fmla="*/ 12 h 132"/>
                <a:gd name="T30" fmla="*/ 59 w 69"/>
                <a:gd name="T31" fmla="*/ 27 h 132"/>
                <a:gd name="T32" fmla="*/ 67 w 69"/>
                <a:gd name="T33" fmla="*/ 37 h 132"/>
                <a:gd name="T34" fmla="*/ 64 w 69"/>
                <a:gd name="T35" fmla="*/ 60 h 132"/>
                <a:gd name="T36" fmla="*/ 52 w 69"/>
                <a:gd name="T37" fmla="*/ 62 h 132"/>
                <a:gd name="T38" fmla="*/ 49 w 69"/>
                <a:gd name="T39" fmla="*/ 80 h 132"/>
                <a:gd name="T40" fmla="*/ 62 w 69"/>
                <a:gd name="T41" fmla="*/ 82 h 132"/>
                <a:gd name="T42" fmla="*/ 69 w 69"/>
                <a:gd name="T43" fmla="*/ 92 h 132"/>
                <a:gd name="T44" fmla="*/ 64 w 69"/>
                <a:gd name="T45" fmla="*/ 119 h 132"/>
                <a:gd name="T46" fmla="*/ 54 w 69"/>
                <a:gd name="T47" fmla="*/ 122 h 132"/>
                <a:gd name="T48" fmla="*/ 37 w 69"/>
                <a:gd name="T4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" h="132">
                  <a:moveTo>
                    <a:pt x="37" y="132"/>
                  </a:moveTo>
                  <a:lnTo>
                    <a:pt x="27" y="129"/>
                  </a:lnTo>
                  <a:lnTo>
                    <a:pt x="24" y="109"/>
                  </a:lnTo>
                  <a:lnTo>
                    <a:pt x="7" y="104"/>
                  </a:lnTo>
                  <a:lnTo>
                    <a:pt x="0" y="85"/>
                  </a:lnTo>
                  <a:lnTo>
                    <a:pt x="5" y="65"/>
                  </a:lnTo>
                  <a:lnTo>
                    <a:pt x="22" y="60"/>
                  </a:lnTo>
                  <a:lnTo>
                    <a:pt x="12" y="45"/>
                  </a:lnTo>
                  <a:lnTo>
                    <a:pt x="14" y="32"/>
                  </a:lnTo>
                  <a:lnTo>
                    <a:pt x="24" y="32"/>
                  </a:lnTo>
                  <a:lnTo>
                    <a:pt x="19" y="7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9" y="5"/>
                  </a:lnTo>
                  <a:lnTo>
                    <a:pt x="64" y="12"/>
                  </a:lnTo>
                  <a:lnTo>
                    <a:pt x="59" y="27"/>
                  </a:lnTo>
                  <a:lnTo>
                    <a:pt x="67" y="37"/>
                  </a:lnTo>
                  <a:lnTo>
                    <a:pt x="64" y="60"/>
                  </a:lnTo>
                  <a:lnTo>
                    <a:pt x="52" y="62"/>
                  </a:lnTo>
                  <a:lnTo>
                    <a:pt x="49" y="80"/>
                  </a:lnTo>
                  <a:lnTo>
                    <a:pt x="62" y="82"/>
                  </a:lnTo>
                  <a:lnTo>
                    <a:pt x="69" y="92"/>
                  </a:lnTo>
                  <a:lnTo>
                    <a:pt x="64" y="119"/>
                  </a:lnTo>
                  <a:lnTo>
                    <a:pt x="54" y="122"/>
                  </a:lnTo>
                  <a:lnTo>
                    <a:pt x="37" y="1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auto">
            <a:xfrm>
              <a:off x="7288479" y="3628249"/>
              <a:ext cx="43177" cy="86354"/>
            </a:xfrm>
            <a:custGeom>
              <a:avLst/>
              <a:gdLst>
                <a:gd name="T0" fmla="*/ 15 w 30"/>
                <a:gd name="T1" fmla="*/ 0 h 60"/>
                <a:gd name="T2" fmla="*/ 2 w 30"/>
                <a:gd name="T3" fmla="*/ 15 h 60"/>
                <a:gd name="T4" fmla="*/ 0 w 30"/>
                <a:gd name="T5" fmla="*/ 40 h 60"/>
                <a:gd name="T6" fmla="*/ 17 w 30"/>
                <a:gd name="T7" fmla="*/ 60 h 60"/>
                <a:gd name="T8" fmla="*/ 30 w 30"/>
                <a:gd name="T9" fmla="*/ 30 h 60"/>
                <a:gd name="T10" fmla="*/ 15 w 30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0">
                  <a:moveTo>
                    <a:pt x="15" y="0"/>
                  </a:moveTo>
                  <a:lnTo>
                    <a:pt x="2" y="15"/>
                  </a:lnTo>
                  <a:lnTo>
                    <a:pt x="0" y="40"/>
                  </a:lnTo>
                  <a:lnTo>
                    <a:pt x="17" y="60"/>
                  </a:lnTo>
                  <a:lnTo>
                    <a:pt x="30" y="3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1" name="Freeform 36"/>
            <p:cNvSpPr>
              <a:spLocks/>
            </p:cNvSpPr>
            <p:nvPr/>
          </p:nvSpPr>
          <p:spPr bwMode="auto">
            <a:xfrm>
              <a:off x="6268061" y="3478568"/>
              <a:ext cx="215885" cy="110822"/>
            </a:xfrm>
            <a:custGeom>
              <a:avLst/>
              <a:gdLst>
                <a:gd name="T0" fmla="*/ 0 w 150"/>
                <a:gd name="T1" fmla="*/ 0 h 77"/>
                <a:gd name="T2" fmla="*/ 20 w 150"/>
                <a:gd name="T3" fmla="*/ 0 h 77"/>
                <a:gd name="T4" fmla="*/ 35 w 150"/>
                <a:gd name="T5" fmla="*/ 15 h 77"/>
                <a:gd name="T6" fmla="*/ 55 w 150"/>
                <a:gd name="T7" fmla="*/ 25 h 77"/>
                <a:gd name="T8" fmla="*/ 60 w 150"/>
                <a:gd name="T9" fmla="*/ 13 h 77"/>
                <a:gd name="T10" fmla="*/ 63 w 150"/>
                <a:gd name="T11" fmla="*/ 32 h 77"/>
                <a:gd name="T12" fmla="*/ 75 w 150"/>
                <a:gd name="T13" fmla="*/ 40 h 77"/>
                <a:gd name="T14" fmla="*/ 92 w 150"/>
                <a:gd name="T15" fmla="*/ 50 h 77"/>
                <a:gd name="T16" fmla="*/ 132 w 150"/>
                <a:gd name="T17" fmla="*/ 52 h 77"/>
                <a:gd name="T18" fmla="*/ 150 w 150"/>
                <a:gd name="T19" fmla="*/ 57 h 77"/>
                <a:gd name="T20" fmla="*/ 140 w 150"/>
                <a:gd name="T21" fmla="*/ 75 h 77"/>
                <a:gd name="T22" fmla="*/ 122 w 150"/>
                <a:gd name="T23" fmla="*/ 75 h 77"/>
                <a:gd name="T24" fmla="*/ 105 w 150"/>
                <a:gd name="T25" fmla="*/ 77 h 77"/>
                <a:gd name="T26" fmla="*/ 87 w 150"/>
                <a:gd name="T27" fmla="*/ 67 h 77"/>
                <a:gd name="T28" fmla="*/ 68 w 150"/>
                <a:gd name="T29" fmla="*/ 65 h 77"/>
                <a:gd name="T30" fmla="*/ 40 w 150"/>
                <a:gd name="T31" fmla="*/ 52 h 77"/>
                <a:gd name="T32" fmla="*/ 18 w 150"/>
                <a:gd name="T33" fmla="*/ 47 h 77"/>
                <a:gd name="T34" fmla="*/ 3 w 150"/>
                <a:gd name="T35" fmla="*/ 30 h 77"/>
                <a:gd name="T36" fmla="*/ 0 w 150"/>
                <a:gd name="T3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" h="77">
                  <a:moveTo>
                    <a:pt x="0" y="0"/>
                  </a:moveTo>
                  <a:lnTo>
                    <a:pt x="20" y="0"/>
                  </a:lnTo>
                  <a:lnTo>
                    <a:pt x="35" y="15"/>
                  </a:lnTo>
                  <a:lnTo>
                    <a:pt x="55" y="25"/>
                  </a:lnTo>
                  <a:lnTo>
                    <a:pt x="60" y="13"/>
                  </a:lnTo>
                  <a:lnTo>
                    <a:pt x="63" y="32"/>
                  </a:lnTo>
                  <a:lnTo>
                    <a:pt x="75" y="40"/>
                  </a:lnTo>
                  <a:lnTo>
                    <a:pt x="92" y="50"/>
                  </a:lnTo>
                  <a:lnTo>
                    <a:pt x="132" y="52"/>
                  </a:lnTo>
                  <a:lnTo>
                    <a:pt x="150" y="57"/>
                  </a:lnTo>
                  <a:lnTo>
                    <a:pt x="140" y="75"/>
                  </a:lnTo>
                  <a:lnTo>
                    <a:pt x="122" y="75"/>
                  </a:lnTo>
                  <a:lnTo>
                    <a:pt x="105" y="77"/>
                  </a:lnTo>
                  <a:lnTo>
                    <a:pt x="87" y="67"/>
                  </a:lnTo>
                  <a:lnTo>
                    <a:pt x="68" y="65"/>
                  </a:lnTo>
                  <a:lnTo>
                    <a:pt x="40" y="52"/>
                  </a:lnTo>
                  <a:lnTo>
                    <a:pt x="18" y="47"/>
                  </a:lnTo>
                  <a:lnTo>
                    <a:pt x="3" y="3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6737252" y="3747706"/>
              <a:ext cx="200054" cy="349734"/>
            </a:xfrm>
            <a:custGeom>
              <a:avLst/>
              <a:gdLst>
                <a:gd name="T0" fmla="*/ 18 w 139"/>
                <a:gd name="T1" fmla="*/ 218 h 243"/>
                <a:gd name="T2" fmla="*/ 25 w 139"/>
                <a:gd name="T3" fmla="*/ 206 h 243"/>
                <a:gd name="T4" fmla="*/ 37 w 139"/>
                <a:gd name="T5" fmla="*/ 179 h 243"/>
                <a:gd name="T6" fmla="*/ 22 w 139"/>
                <a:gd name="T7" fmla="*/ 166 h 243"/>
                <a:gd name="T8" fmla="*/ 15 w 139"/>
                <a:gd name="T9" fmla="*/ 144 h 243"/>
                <a:gd name="T10" fmla="*/ 15 w 139"/>
                <a:gd name="T11" fmla="*/ 129 h 243"/>
                <a:gd name="T12" fmla="*/ 20 w 139"/>
                <a:gd name="T13" fmla="*/ 96 h 243"/>
                <a:gd name="T14" fmla="*/ 5 w 139"/>
                <a:gd name="T15" fmla="*/ 79 h 243"/>
                <a:gd name="T16" fmla="*/ 0 w 139"/>
                <a:gd name="T17" fmla="*/ 67 h 243"/>
                <a:gd name="T18" fmla="*/ 3 w 139"/>
                <a:gd name="T19" fmla="*/ 34 h 243"/>
                <a:gd name="T20" fmla="*/ 20 w 139"/>
                <a:gd name="T21" fmla="*/ 27 h 243"/>
                <a:gd name="T22" fmla="*/ 30 w 139"/>
                <a:gd name="T23" fmla="*/ 17 h 243"/>
                <a:gd name="T24" fmla="*/ 40 w 139"/>
                <a:gd name="T25" fmla="*/ 0 h 243"/>
                <a:gd name="T26" fmla="*/ 42 w 139"/>
                <a:gd name="T27" fmla="*/ 14 h 243"/>
                <a:gd name="T28" fmla="*/ 47 w 139"/>
                <a:gd name="T29" fmla="*/ 34 h 243"/>
                <a:gd name="T30" fmla="*/ 55 w 139"/>
                <a:gd name="T31" fmla="*/ 42 h 243"/>
                <a:gd name="T32" fmla="*/ 67 w 139"/>
                <a:gd name="T33" fmla="*/ 47 h 243"/>
                <a:gd name="T34" fmla="*/ 87 w 139"/>
                <a:gd name="T35" fmla="*/ 72 h 243"/>
                <a:gd name="T36" fmla="*/ 100 w 139"/>
                <a:gd name="T37" fmla="*/ 59 h 243"/>
                <a:gd name="T38" fmla="*/ 114 w 139"/>
                <a:gd name="T39" fmla="*/ 74 h 243"/>
                <a:gd name="T40" fmla="*/ 124 w 139"/>
                <a:gd name="T41" fmla="*/ 99 h 243"/>
                <a:gd name="T42" fmla="*/ 129 w 139"/>
                <a:gd name="T43" fmla="*/ 111 h 243"/>
                <a:gd name="T44" fmla="*/ 139 w 139"/>
                <a:gd name="T45" fmla="*/ 114 h 243"/>
                <a:gd name="T46" fmla="*/ 139 w 139"/>
                <a:gd name="T47" fmla="*/ 144 h 243"/>
                <a:gd name="T48" fmla="*/ 119 w 139"/>
                <a:gd name="T49" fmla="*/ 146 h 243"/>
                <a:gd name="T50" fmla="*/ 102 w 139"/>
                <a:gd name="T51" fmla="*/ 136 h 243"/>
                <a:gd name="T52" fmla="*/ 87 w 139"/>
                <a:gd name="T53" fmla="*/ 151 h 243"/>
                <a:gd name="T54" fmla="*/ 80 w 139"/>
                <a:gd name="T55" fmla="*/ 174 h 243"/>
                <a:gd name="T56" fmla="*/ 60 w 139"/>
                <a:gd name="T57" fmla="*/ 171 h 243"/>
                <a:gd name="T58" fmla="*/ 50 w 139"/>
                <a:gd name="T59" fmla="*/ 208 h 243"/>
                <a:gd name="T60" fmla="*/ 60 w 139"/>
                <a:gd name="T61" fmla="*/ 226 h 243"/>
                <a:gd name="T62" fmla="*/ 45 w 139"/>
                <a:gd name="T63" fmla="*/ 243 h 243"/>
                <a:gd name="T64" fmla="*/ 30 w 139"/>
                <a:gd name="T65" fmla="*/ 233 h 243"/>
                <a:gd name="T66" fmla="*/ 18 w 139"/>
                <a:gd name="T67" fmla="*/ 21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243">
                  <a:moveTo>
                    <a:pt x="18" y="218"/>
                  </a:moveTo>
                  <a:lnTo>
                    <a:pt x="25" y="206"/>
                  </a:lnTo>
                  <a:lnTo>
                    <a:pt x="37" y="179"/>
                  </a:lnTo>
                  <a:lnTo>
                    <a:pt x="22" y="166"/>
                  </a:lnTo>
                  <a:lnTo>
                    <a:pt x="15" y="144"/>
                  </a:lnTo>
                  <a:lnTo>
                    <a:pt x="15" y="129"/>
                  </a:lnTo>
                  <a:lnTo>
                    <a:pt x="20" y="96"/>
                  </a:lnTo>
                  <a:lnTo>
                    <a:pt x="5" y="79"/>
                  </a:lnTo>
                  <a:lnTo>
                    <a:pt x="0" y="67"/>
                  </a:lnTo>
                  <a:lnTo>
                    <a:pt x="3" y="34"/>
                  </a:lnTo>
                  <a:lnTo>
                    <a:pt x="20" y="27"/>
                  </a:lnTo>
                  <a:lnTo>
                    <a:pt x="30" y="17"/>
                  </a:lnTo>
                  <a:lnTo>
                    <a:pt x="40" y="0"/>
                  </a:lnTo>
                  <a:lnTo>
                    <a:pt x="42" y="14"/>
                  </a:lnTo>
                  <a:lnTo>
                    <a:pt x="47" y="34"/>
                  </a:lnTo>
                  <a:lnTo>
                    <a:pt x="55" y="42"/>
                  </a:lnTo>
                  <a:lnTo>
                    <a:pt x="67" y="47"/>
                  </a:lnTo>
                  <a:lnTo>
                    <a:pt x="87" y="72"/>
                  </a:lnTo>
                  <a:lnTo>
                    <a:pt x="100" y="59"/>
                  </a:lnTo>
                  <a:lnTo>
                    <a:pt x="114" y="74"/>
                  </a:lnTo>
                  <a:lnTo>
                    <a:pt x="124" y="99"/>
                  </a:lnTo>
                  <a:lnTo>
                    <a:pt x="129" y="111"/>
                  </a:lnTo>
                  <a:lnTo>
                    <a:pt x="139" y="114"/>
                  </a:lnTo>
                  <a:lnTo>
                    <a:pt x="139" y="144"/>
                  </a:lnTo>
                  <a:lnTo>
                    <a:pt x="119" y="146"/>
                  </a:lnTo>
                  <a:lnTo>
                    <a:pt x="102" y="136"/>
                  </a:lnTo>
                  <a:lnTo>
                    <a:pt x="87" y="151"/>
                  </a:lnTo>
                  <a:lnTo>
                    <a:pt x="80" y="174"/>
                  </a:lnTo>
                  <a:lnTo>
                    <a:pt x="60" y="171"/>
                  </a:lnTo>
                  <a:lnTo>
                    <a:pt x="50" y="208"/>
                  </a:lnTo>
                  <a:lnTo>
                    <a:pt x="60" y="226"/>
                  </a:lnTo>
                  <a:lnTo>
                    <a:pt x="45" y="243"/>
                  </a:lnTo>
                  <a:lnTo>
                    <a:pt x="30" y="233"/>
                  </a:lnTo>
                  <a:lnTo>
                    <a:pt x="18" y="2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3" name="Freeform 38"/>
            <p:cNvSpPr>
              <a:spLocks/>
            </p:cNvSpPr>
            <p:nvPr/>
          </p:nvSpPr>
          <p:spPr bwMode="auto">
            <a:xfrm>
              <a:off x="5335436" y="2050847"/>
              <a:ext cx="38860" cy="43177"/>
            </a:xfrm>
            <a:custGeom>
              <a:avLst/>
              <a:gdLst>
                <a:gd name="T0" fmla="*/ 12 w 27"/>
                <a:gd name="T1" fmla="*/ 0 h 30"/>
                <a:gd name="T2" fmla="*/ 0 w 27"/>
                <a:gd name="T3" fmla="*/ 18 h 30"/>
                <a:gd name="T4" fmla="*/ 5 w 27"/>
                <a:gd name="T5" fmla="*/ 30 h 30"/>
                <a:gd name="T6" fmla="*/ 15 w 27"/>
                <a:gd name="T7" fmla="*/ 28 h 30"/>
                <a:gd name="T8" fmla="*/ 27 w 27"/>
                <a:gd name="T9" fmla="*/ 13 h 30"/>
                <a:gd name="T10" fmla="*/ 12 w 27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0">
                  <a:moveTo>
                    <a:pt x="12" y="0"/>
                  </a:moveTo>
                  <a:lnTo>
                    <a:pt x="0" y="18"/>
                  </a:lnTo>
                  <a:lnTo>
                    <a:pt x="5" y="30"/>
                  </a:lnTo>
                  <a:lnTo>
                    <a:pt x="15" y="28"/>
                  </a:lnTo>
                  <a:lnTo>
                    <a:pt x="27" y="13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4" name="Freeform 39"/>
            <p:cNvSpPr>
              <a:spLocks/>
            </p:cNvSpPr>
            <p:nvPr/>
          </p:nvSpPr>
          <p:spPr bwMode="auto">
            <a:xfrm>
              <a:off x="5531172" y="2014866"/>
              <a:ext cx="57569" cy="25906"/>
            </a:xfrm>
            <a:custGeom>
              <a:avLst/>
              <a:gdLst>
                <a:gd name="T0" fmla="*/ 35 w 40"/>
                <a:gd name="T1" fmla="*/ 5 h 18"/>
                <a:gd name="T2" fmla="*/ 18 w 40"/>
                <a:gd name="T3" fmla="*/ 0 h 18"/>
                <a:gd name="T4" fmla="*/ 0 w 40"/>
                <a:gd name="T5" fmla="*/ 15 h 18"/>
                <a:gd name="T6" fmla="*/ 13 w 40"/>
                <a:gd name="T7" fmla="*/ 15 h 18"/>
                <a:gd name="T8" fmla="*/ 40 w 40"/>
                <a:gd name="T9" fmla="*/ 18 h 18"/>
                <a:gd name="T10" fmla="*/ 35 w 40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8">
                  <a:moveTo>
                    <a:pt x="35" y="5"/>
                  </a:moveTo>
                  <a:lnTo>
                    <a:pt x="18" y="0"/>
                  </a:lnTo>
                  <a:lnTo>
                    <a:pt x="0" y="15"/>
                  </a:lnTo>
                  <a:lnTo>
                    <a:pt x="13" y="15"/>
                  </a:lnTo>
                  <a:lnTo>
                    <a:pt x="40" y="18"/>
                  </a:lnTo>
                  <a:lnTo>
                    <a:pt x="3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5405959" y="1722701"/>
              <a:ext cx="341098" cy="292165"/>
            </a:xfrm>
            <a:custGeom>
              <a:avLst/>
              <a:gdLst>
                <a:gd name="T0" fmla="*/ 58 w 237"/>
                <a:gd name="T1" fmla="*/ 116 h 203"/>
                <a:gd name="T2" fmla="*/ 72 w 237"/>
                <a:gd name="T3" fmla="*/ 104 h 203"/>
                <a:gd name="T4" fmla="*/ 77 w 237"/>
                <a:gd name="T5" fmla="*/ 97 h 203"/>
                <a:gd name="T6" fmla="*/ 100 w 237"/>
                <a:gd name="T7" fmla="*/ 79 h 203"/>
                <a:gd name="T8" fmla="*/ 125 w 237"/>
                <a:gd name="T9" fmla="*/ 64 h 203"/>
                <a:gd name="T10" fmla="*/ 149 w 237"/>
                <a:gd name="T11" fmla="*/ 44 h 203"/>
                <a:gd name="T12" fmla="*/ 167 w 237"/>
                <a:gd name="T13" fmla="*/ 39 h 203"/>
                <a:gd name="T14" fmla="*/ 202 w 237"/>
                <a:gd name="T15" fmla="*/ 27 h 203"/>
                <a:gd name="T16" fmla="*/ 227 w 237"/>
                <a:gd name="T17" fmla="*/ 19 h 203"/>
                <a:gd name="T18" fmla="*/ 237 w 237"/>
                <a:gd name="T19" fmla="*/ 12 h 203"/>
                <a:gd name="T20" fmla="*/ 229 w 237"/>
                <a:gd name="T21" fmla="*/ 0 h 203"/>
                <a:gd name="T22" fmla="*/ 199 w 237"/>
                <a:gd name="T23" fmla="*/ 0 h 203"/>
                <a:gd name="T24" fmla="*/ 179 w 237"/>
                <a:gd name="T25" fmla="*/ 15 h 203"/>
                <a:gd name="T26" fmla="*/ 149 w 237"/>
                <a:gd name="T27" fmla="*/ 22 h 203"/>
                <a:gd name="T28" fmla="*/ 117 w 237"/>
                <a:gd name="T29" fmla="*/ 24 h 203"/>
                <a:gd name="T30" fmla="*/ 100 w 237"/>
                <a:gd name="T31" fmla="*/ 39 h 203"/>
                <a:gd name="T32" fmla="*/ 80 w 237"/>
                <a:gd name="T33" fmla="*/ 39 h 203"/>
                <a:gd name="T34" fmla="*/ 70 w 237"/>
                <a:gd name="T35" fmla="*/ 54 h 203"/>
                <a:gd name="T36" fmla="*/ 40 w 237"/>
                <a:gd name="T37" fmla="*/ 59 h 203"/>
                <a:gd name="T38" fmla="*/ 35 w 237"/>
                <a:gd name="T39" fmla="*/ 82 h 203"/>
                <a:gd name="T40" fmla="*/ 33 w 237"/>
                <a:gd name="T41" fmla="*/ 94 h 203"/>
                <a:gd name="T42" fmla="*/ 20 w 237"/>
                <a:gd name="T43" fmla="*/ 94 h 203"/>
                <a:gd name="T44" fmla="*/ 20 w 237"/>
                <a:gd name="T45" fmla="*/ 97 h 203"/>
                <a:gd name="T46" fmla="*/ 23 w 237"/>
                <a:gd name="T47" fmla="*/ 104 h 203"/>
                <a:gd name="T48" fmla="*/ 18 w 237"/>
                <a:gd name="T49" fmla="*/ 111 h 203"/>
                <a:gd name="T50" fmla="*/ 8 w 237"/>
                <a:gd name="T51" fmla="*/ 119 h 203"/>
                <a:gd name="T52" fmla="*/ 3 w 237"/>
                <a:gd name="T53" fmla="*/ 139 h 203"/>
                <a:gd name="T54" fmla="*/ 0 w 237"/>
                <a:gd name="T55" fmla="*/ 164 h 203"/>
                <a:gd name="T56" fmla="*/ 15 w 237"/>
                <a:gd name="T57" fmla="*/ 171 h 203"/>
                <a:gd name="T58" fmla="*/ 30 w 237"/>
                <a:gd name="T59" fmla="*/ 201 h 203"/>
                <a:gd name="T60" fmla="*/ 53 w 237"/>
                <a:gd name="T61" fmla="*/ 203 h 203"/>
                <a:gd name="T62" fmla="*/ 82 w 237"/>
                <a:gd name="T63" fmla="*/ 201 h 203"/>
                <a:gd name="T64" fmla="*/ 85 w 237"/>
                <a:gd name="T65" fmla="*/ 189 h 203"/>
                <a:gd name="T66" fmla="*/ 67 w 237"/>
                <a:gd name="T67" fmla="*/ 179 h 203"/>
                <a:gd name="T68" fmla="*/ 55 w 237"/>
                <a:gd name="T69" fmla="*/ 166 h 203"/>
                <a:gd name="T70" fmla="*/ 55 w 237"/>
                <a:gd name="T71" fmla="*/ 141 h 203"/>
                <a:gd name="T72" fmla="*/ 58 w 237"/>
                <a:gd name="T73" fmla="*/ 119 h 203"/>
                <a:gd name="T74" fmla="*/ 58 w 237"/>
                <a:gd name="T75" fmla="*/ 11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203">
                  <a:moveTo>
                    <a:pt x="58" y="116"/>
                  </a:moveTo>
                  <a:lnTo>
                    <a:pt x="72" y="104"/>
                  </a:lnTo>
                  <a:lnTo>
                    <a:pt x="77" y="97"/>
                  </a:lnTo>
                  <a:lnTo>
                    <a:pt x="100" y="79"/>
                  </a:lnTo>
                  <a:lnTo>
                    <a:pt x="125" y="64"/>
                  </a:lnTo>
                  <a:lnTo>
                    <a:pt x="149" y="44"/>
                  </a:lnTo>
                  <a:lnTo>
                    <a:pt x="167" y="39"/>
                  </a:lnTo>
                  <a:lnTo>
                    <a:pt x="202" y="27"/>
                  </a:lnTo>
                  <a:lnTo>
                    <a:pt x="227" y="19"/>
                  </a:lnTo>
                  <a:lnTo>
                    <a:pt x="237" y="12"/>
                  </a:lnTo>
                  <a:lnTo>
                    <a:pt x="229" y="0"/>
                  </a:lnTo>
                  <a:lnTo>
                    <a:pt x="199" y="0"/>
                  </a:lnTo>
                  <a:lnTo>
                    <a:pt x="179" y="15"/>
                  </a:lnTo>
                  <a:lnTo>
                    <a:pt x="149" y="22"/>
                  </a:lnTo>
                  <a:lnTo>
                    <a:pt x="117" y="24"/>
                  </a:lnTo>
                  <a:lnTo>
                    <a:pt x="100" y="39"/>
                  </a:lnTo>
                  <a:lnTo>
                    <a:pt x="80" y="39"/>
                  </a:lnTo>
                  <a:lnTo>
                    <a:pt x="70" y="54"/>
                  </a:lnTo>
                  <a:lnTo>
                    <a:pt x="40" y="59"/>
                  </a:lnTo>
                  <a:lnTo>
                    <a:pt x="35" y="82"/>
                  </a:lnTo>
                  <a:lnTo>
                    <a:pt x="33" y="94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4"/>
                  </a:lnTo>
                  <a:lnTo>
                    <a:pt x="18" y="111"/>
                  </a:lnTo>
                  <a:lnTo>
                    <a:pt x="8" y="119"/>
                  </a:lnTo>
                  <a:lnTo>
                    <a:pt x="3" y="139"/>
                  </a:lnTo>
                  <a:lnTo>
                    <a:pt x="0" y="164"/>
                  </a:lnTo>
                  <a:lnTo>
                    <a:pt x="15" y="171"/>
                  </a:lnTo>
                  <a:lnTo>
                    <a:pt x="30" y="201"/>
                  </a:lnTo>
                  <a:lnTo>
                    <a:pt x="53" y="203"/>
                  </a:lnTo>
                  <a:lnTo>
                    <a:pt x="82" y="201"/>
                  </a:lnTo>
                  <a:lnTo>
                    <a:pt x="85" y="189"/>
                  </a:lnTo>
                  <a:lnTo>
                    <a:pt x="67" y="179"/>
                  </a:lnTo>
                  <a:lnTo>
                    <a:pt x="55" y="166"/>
                  </a:lnTo>
                  <a:lnTo>
                    <a:pt x="55" y="141"/>
                  </a:lnTo>
                  <a:lnTo>
                    <a:pt x="58" y="119"/>
                  </a:lnTo>
                  <a:lnTo>
                    <a:pt x="58" y="11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2 w 12"/>
                <a:gd name="T19" fmla="*/ 20 h 20"/>
                <a:gd name="T20" fmla="*/ 5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7" name="Freeform 42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5 w 12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8" name="Freeform 43"/>
            <p:cNvSpPr>
              <a:spLocks/>
            </p:cNvSpPr>
            <p:nvPr/>
          </p:nvSpPr>
          <p:spPr bwMode="auto">
            <a:xfrm>
              <a:off x="6175950" y="1489545"/>
              <a:ext cx="118017" cy="89233"/>
            </a:xfrm>
            <a:custGeom>
              <a:avLst/>
              <a:gdLst>
                <a:gd name="T0" fmla="*/ 42 w 82"/>
                <a:gd name="T1" fmla="*/ 7 h 62"/>
                <a:gd name="T2" fmla="*/ 27 w 82"/>
                <a:gd name="T3" fmla="*/ 22 h 62"/>
                <a:gd name="T4" fmla="*/ 15 w 82"/>
                <a:gd name="T5" fmla="*/ 22 h 62"/>
                <a:gd name="T6" fmla="*/ 0 w 82"/>
                <a:gd name="T7" fmla="*/ 32 h 62"/>
                <a:gd name="T8" fmla="*/ 12 w 82"/>
                <a:gd name="T9" fmla="*/ 50 h 62"/>
                <a:gd name="T10" fmla="*/ 32 w 82"/>
                <a:gd name="T11" fmla="*/ 62 h 62"/>
                <a:gd name="T12" fmla="*/ 59 w 82"/>
                <a:gd name="T13" fmla="*/ 50 h 62"/>
                <a:gd name="T14" fmla="*/ 82 w 82"/>
                <a:gd name="T15" fmla="*/ 40 h 62"/>
                <a:gd name="T16" fmla="*/ 77 w 82"/>
                <a:gd name="T17" fmla="*/ 12 h 62"/>
                <a:gd name="T18" fmla="*/ 55 w 82"/>
                <a:gd name="T19" fmla="*/ 0 h 62"/>
                <a:gd name="T20" fmla="*/ 42 w 82"/>
                <a:gd name="T21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2">
                  <a:moveTo>
                    <a:pt x="42" y="7"/>
                  </a:moveTo>
                  <a:lnTo>
                    <a:pt x="27" y="22"/>
                  </a:lnTo>
                  <a:lnTo>
                    <a:pt x="15" y="22"/>
                  </a:lnTo>
                  <a:lnTo>
                    <a:pt x="0" y="32"/>
                  </a:lnTo>
                  <a:lnTo>
                    <a:pt x="12" y="50"/>
                  </a:lnTo>
                  <a:lnTo>
                    <a:pt x="32" y="62"/>
                  </a:lnTo>
                  <a:lnTo>
                    <a:pt x="59" y="50"/>
                  </a:lnTo>
                  <a:lnTo>
                    <a:pt x="82" y="40"/>
                  </a:lnTo>
                  <a:lnTo>
                    <a:pt x="77" y="12"/>
                  </a:lnTo>
                  <a:lnTo>
                    <a:pt x="55" y="0"/>
                  </a:lnTo>
                  <a:lnTo>
                    <a:pt x="4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9" name="Freeform 44"/>
            <p:cNvSpPr>
              <a:spLocks/>
            </p:cNvSpPr>
            <p:nvPr/>
          </p:nvSpPr>
          <p:spPr bwMode="auto">
            <a:xfrm>
              <a:off x="6257987" y="1554311"/>
              <a:ext cx="115139" cy="77719"/>
            </a:xfrm>
            <a:custGeom>
              <a:avLst/>
              <a:gdLst>
                <a:gd name="T0" fmla="*/ 20 w 80"/>
                <a:gd name="T1" fmla="*/ 20 h 54"/>
                <a:gd name="T2" fmla="*/ 30 w 80"/>
                <a:gd name="T3" fmla="*/ 5 h 54"/>
                <a:gd name="T4" fmla="*/ 45 w 80"/>
                <a:gd name="T5" fmla="*/ 0 h 54"/>
                <a:gd name="T6" fmla="*/ 57 w 80"/>
                <a:gd name="T7" fmla="*/ 5 h 54"/>
                <a:gd name="T8" fmla="*/ 70 w 80"/>
                <a:gd name="T9" fmla="*/ 22 h 54"/>
                <a:gd name="T10" fmla="*/ 70 w 80"/>
                <a:gd name="T11" fmla="*/ 35 h 54"/>
                <a:gd name="T12" fmla="*/ 80 w 80"/>
                <a:gd name="T13" fmla="*/ 32 h 54"/>
                <a:gd name="T14" fmla="*/ 80 w 80"/>
                <a:gd name="T15" fmla="*/ 45 h 54"/>
                <a:gd name="T16" fmla="*/ 52 w 80"/>
                <a:gd name="T17" fmla="*/ 54 h 54"/>
                <a:gd name="T18" fmla="*/ 25 w 80"/>
                <a:gd name="T19" fmla="*/ 42 h 54"/>
                <a:gd name="T20" fmla="*/ 0 w 80"/>
                <a:gd name="T21" fmla="*/ 32 h 54"/>
                <a:gd name="T22" fmla="*/ 5 w 80"/>
                <a:gd name="T23" fmla="*/ 22 h 54"/>
                <a:gd name="T24" fmla="*/ 20 w 80"/>
                <a:gd name="T25" fmla="*/ 2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54">
                  <a:moveTo>
                    <a:pt x="20" y="20"/>
                  </a:moveTo>
                  <a:lnTo>
                    <a:pt x="30" y="5"/>
                  </a:lnTo>
                  <a:lnTo>
                    <a:pt x="45" y="0"/>
                  </a:lnTo>
                  <a:lnTo>
                    <a:pt x="57" y="5"/>
                  </a:lnTo>
                  <a:lnTo>
                    <a:pt x="70" y="22"/>
                  </a:lnTo>
                  <a:lnTo>
                    <a:pt x="70" y="35"/>
                  </a:lnTo>
                  <a:lnTo>
                    <a:pt x="80" y="32"/>
                  </a:lnTo>
                  <a:lnTo>
                    <a:pt x="80" y="45"/>
                  </a:lnTo>
                  <a:lnTo>
                    <a:pt x="52" y="54"/>
                  </a:lnTo>
                  <a:lnTo>
                    <a:pt x="25" y="42"/>
                  </a:lnTo>
                  <a:lnTo>
                    <a:pt x="0" y="32"/>
                  </a:lnTo>
                  <a:lnTo>
                    <a:pt x="5" y="22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0" name="Freeform 45"/>
            <p:cNvSpPr>
              <a:spLocks/>
            </p:cNvSpPr>
            <p:nvPr/>
          </p:nvSpPr>
          <p:spPr bwMode="auto">
            <a:xfrm>
              <a:off x="6386078" y="1590291"/>
              <a:ext cx="93551" cy="70523"/>
            </a:xfrm>
            <a:custGeom>
              <a:avLst/>
              <a:gdLst>
                <a:gd name="T0" fmla="*/ 8 w 65"/>
                <a:gd name="T1" fmla="*/ 20 h 49"/>
                <a:gd name="T2" fmla="*/ 15 w 65"/>
                <a:gd name="T3" fmla="*/ 7 h 49"/>
                <a:gd name="T4" fmla="*/ 30 w 65"/>
                <a:gd name="T5" fmla="*/ 0 h 49"/>
                <a:gd name="T6" fmla="*/ 33 w 65"/>
                <a:gd name="T7" fmla="*/ 7 h 49"/>
                <a:gd name="T8" fmla="*/ 40 w 65"/>
                <a:gd name="T9" fmla="*/ 12 h 49"/>
                <a:gd name="T10" fmla="*/ 50 w 65"/>
                <a:gd name="T11" fmla="*/ 12 h 49"/>
                <a:gd name="T12" fmla="*/ 63 w 65"/>
                <a:gd name="T13" fmla="*/ 15 h 49"/>
                <a:gd name="T14" fmla="*/ 65 w 65"/>
                <a:gd name="T15" fmla="*/ 32 h 49"/>
                <a:gd name="T16" fmla="*/ 58 w 65"/>
                <a:gd name="T17" fmla="*/ 44 h 49"/>
                <a:gd name="T18" fmla="*/ 35 w 65"/>
                <a:gd name="T19" fmla="*/ 49 h 49"/>
                <a:gd name="T20" fmla="*/ 8 w 65"/>
                <a:gd name="T21" fmla="*/ 47 h 49"/>
                <a:gd name="T22" fmla="*/ 0 w 65"/>
                <a:gd name="T23" fmla="*/ 37 h 49"/>
                <a:gd name="T24" fmla="*/ 8 w 65"/>
                <a:gd name="T25" fmla="*/ 2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49">
                  <a:moveTo>
                    <a:pt x="8" y="20"/>
                  </a:moveTo>
                  <a:lnTo>
                    <a:pt x="15" y="7"/>
                  </a:lnTo>
                  <a:lnTo>
                    <a:pt x="30" y="0"/>
                  </a:lnTo>
                  <a:lnTo>
                    <a:pt x="33" y="7"/>
                  </a:lnTo>
                  <a:lnTo>
                    <a:pt x="40" y="12"/>
                  </a:lnTo>
                  <a:lnTo>
                    <a:pt x="50" y="12"/>
                  </a:lnTo>
                  <a:lnTo>
                    <a:pt x="63" y="15"/>
                  </a:lnTo>
                  <a:lnTo>
                    <a:pt x="65" y="32"/>
                  </a:lnTo>
                  <a:lnTo>
                    <a:pt x="58" y="44"/>
                  </a:lnTo>
                  <a:lnTo>
                    <a:pt x="35" y="49"/>
                  </a:lnTo>
                  <a:lnTo>
                    <a:pt x="8" y="47"/>
                  </a:lnTo>
                  <a:lnTo>
                    <a:pt x="0" y="37"/>
                  </a:lnTo>
                  <a:lnTo>
                    <a:pt x="8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1" name="Freeform 46"/>
            <p:cNvSpPr>
              <a:spLocks/>
            </p:cNvSpPr>
            <p:nvPr/>
          </p:nvSpPr>
          <p:spPr bwMode="auto">
            <a:xfrm>
              <a:off x="7220835" y="1750047"/>
              <a:ext cx="164073" cy="71962"/>
            </a:xfrm>
            <a:custGeom>
              <a:avLst/>
              <a:gdLst>
                <a:gd name="T0" fmla="*/ 62 w 114"/>
                <a:gd name="T1" fmla="*/ 5 h 50"/>
                <a:gd name="T2" fmla="*/ 59 w 114"/>
                <a:gd name="T3" fmla="*/ 18 h 50"/>
                <a:gd name="T4" fmla="*/ 39 w 114"/>
                <a:gd name="T5" fmla="*/ 18 h 50"/>
                <a:gd name="T6" fmla="*/ 32 w 114"/>
                <a:gd name="T7" fmla="*/ 10 h 50"/>
                <a:gd name="T8" fmla="*/ 15 w 114"/>
                <a:gd name="T9" fmla="*/ 0 h 50"/>
                <a:gd name="T10" fmla="*/ 0 w 114"/>
                <a:gd name="T11" fmla="*/ 10 h 50"/>
                <a:gd name="T12" fmla="*/ 0 w 114"/>
                <a:gd name="T13" fmla="*/ 30 h 50"/>
                <a:gd name="T14" fmla="*/ 22 w 114"/>
                <a:gd name="T15" fmla="*/ 48 h 50"/>
                <a:gd name="T16" fmla="*/ 52 w 114"/>
                <a:gd name="T17" fmla="*/ 50 h 50"/>
                <a:gd name="T18" fmla="*/ 64 w 114"/>
                <a:gd name="T19" fmla="*/ 40 h 50"/>
                <a:gd name="T20" fmla="*/ 82 w 114"/>
                <a:gd name="T21" fmla="*/ 48 h 50"/>
                <a:gd name="T22" fmla="*/ 107 w 114"/>
                <a:gd name="T23" fmla="*/ 45 h 50"/>
                <a:gd name="T24" fmla="*/ 114 w 114"/>
                <a:gd name="T25" fmla="*/ 35 h 50"/>
                <a:gd name="T26" fmla="*/ 97 w 114"/>
                <a:gd name="T27" fmla="*/ 28 h 50"/>
                <a:gd name="T28" fmla="*/ 87 w 114"/>
                <a:gd name="T29" fmla="*/ 10 h 50"/>
                <a:gd name="T30" fmla="*/ 69 w 114"/>
                <a:gd name="T31" fmla="*/ 0 h 50"/>
                <a:gd name="T32" fmla="*/ 62 w 114"/>
                <a:gd name="T3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50">
                  <a:moveTo>
                    <a:pt x="62" y="5"/>
                  </a:moveTo>
                  <a:lnTo>
                    <a:pt x="59" y="18"/>
                  </a:lnTo>
                  <a:lnTo>
                    <a:pt x="39" y="18"/>
                  </a:lnTo>
                  <a:lnTo>
                    <a:pt x="32" y="10"/>
                  </a:lnTo>
                  <a:lnTo>
                    <a:pt x="15" y="0"/>
                  </a:lnTo>
                  <a:lnTo>
                    <a:pt x="0" y="10"/>
                  </a:lnTo>
                  <a:lnTo>
                    <a:pt x="0" y="30"/>
                  </a:lnTo>
                  <a:lnTo>
                    <a:pt x="22" y="48"/>
                  </a:lnTo>
                  <a:lnTo>
                    <a:pt x="52" y="50"/>
                  </a:lnTo>
                  <a:lnTo>
                    <a:pt x="64" y="40"/>
                  </a:lnTo>
                  <a:lnTo>
                    <a:pt x="82" y="48"/>
                  </a:lnTo>
                  <a:lnTo>
                    <a:pt x="107" y="45"/>
                  </a:lnTo>
                  <a:lnTo>
                    <a:pt x="114" y="35"/>
                  </a:lnTo>
                  <a:lnTo>
                    <a:pt x="97" y="28"/>
                  </a:lnTo>
                  <a:lnTo>
                    <a:pt x="87" y="10"/>
                  </a:lnTo>
                  <a:lnTo>
                    <a:pt x="69" y="0"/>
                  </a:lnTo>
                  <a:lnTo>
                    <a:pt x="6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2" name="Freeform 47"/>
            <p:cNvSpPr>
              <a:spLocks/>
            </p:cNvSpPr>
            <p:nvPr/>
          </p:nvSpPr>
          <p:spPr bwMode="auto">
            <a:xfrm>
              <a:off x="7423767" y="1775953"/>
              <a:ext cx="100746" cy="38859"/>
            </a:xfrm>
            <a:custGeom>
              <a:avLst/>
              <a:gdLst>
                <a:gd name="T0" fmla="*/ 3 w 70"/>
                <a:gd name="T1" fmla="*/ 0 h 27"/>
                <a:gd name="T2" fmla="*/ 13 w 70"/>
                <a:gd name="T3" fmla="*/ 7 h 27"/>
                <a:gd name="T4" fmla="*/ 38 w 70"/>
                <a:gd name="T5" fmla="*/ 7 h 27"/>
                <a:gd name="T6" fmla="*/ 68 w 70"/>
                <a:gd name="T7" fmla="*/ 7 h 27"/>
                <a:gd name="T8" fmla="*/ 70 w 70"/>
                <a:gd name="T9" fmla="*/ 25 h 27"/>
                <a:gd name="T10" fmla="*/ 33 w 70"/>
                <a:gd name="T11" fmla="*/ 27 h 27"/>
                <a:gd name="T12" fmla="*/ 13 w 70"/>
                <a:gd name="T13" fmla="*/ 20 h 27"/>
                <a:gd name="T14" fmla="*/ 0 w 70"/>
                <a:gd name="T15" fmla="*/ 7 h 27"/>
                <a:gd name="T16" fmla="*/ 3 w 70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7">
                  <a:moveTo>
                    <a:pt x="3" y="0"/>
                  </a:moveTo>
                  <a:lnTo>
                    <a:pt x="13" y="7"/>
                  </a:lnTo>
                  <a:lnTo>
                    <a:pt x="38" y="7"/>
                  </a:lnTo>
                  <a:lnTo>
                    <a:pt x="68" y="7"/>
                  </a:lnTo>
                  <a:lnTo>
                    <a:pt x="70" y="25"/>
                  </a:lnTo>
                  <a:lnTo>
                    <a:pt x="33" y="27"/>
                  </a:lnTo>
                  <a:lnTo>
                    <a:pt x="13" y="20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3" name="Freeform 48"/>
            <p:cNvSpPr>
              <a:spLocks/>
            </p:cNvSpPr>
            <p:nvPr/>
          </p:nvSpPr>
          <p:spPr bwMode="auto">
            <a:xfrm>
              <a:off x="8232618" y="1954418"/>
              <a:ext cx="67644" cy="46056"/>
            </a:xfrm>
            <a:custGeom>
              <a:avLst/>
              <a:gdLst>
                <a:gd name="T0" fmla="*/ 18 w 47"/>
                <a:gd name="T1" fmla="*/ 3 h 32"/>
                <a:gd name="T2" fmla="*/ 3 w 47"/>
                <a:gd name="T3" fmla="*/ 15 h 32"/>
                <a:gd name="T4" fmla="*/ 0 w 47"/>
                <a:gd name="T5" fmla="*/ 32 h 32"/>
                <a:gd name="T6" fmla="*/ 25 w 47"/>
                <a:gd name="T7" fmla="*/ 30 h 32"/>
                <a:gd name="T8" fmla="*/ 43 w 47"/>
                <a:gd name="T9" fmla="*/ 28 h 32"/>
                <a:gd name="T10" fmla="*/ 47 w 47"/>
                <a:gd name="T11" fmla="*/ 10 h 32"/>
                <a:gd name="T12" fmla="*/ 33 w 47"/>
                <a:gd name="T13" fmla="*/ 0 h 32"/>
                <a:gd name="T14" fmla="*/ 18 w 47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18" y="3"/>
                  </a:moveTo>
                  <a:lnTo>
                    <a:pt x="3" y="15"/>
                  </a:lnTo>
                  <a:lnTo>
                    <a:pt x="0" y="32"/>
                  </a:lnTo>
                  <a:lnTo>
                    <a:pt x="25" y="30"/>
                  </a:lnTo>
                  <a:lnTo>
                    <a:pt x="43" y="28"/>
                  </a:lnTo>
                  <a:lnTo>
                    <a:pt x="47" y="10"/>
                  </a:lnTo>
                  <a:lnTo>
                    <a:pt x="33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4" name="Freeform 49"/>
            <p:cNvSpPr>
              <a:spLocks/>
            </p:cNvSpPr>
            <p:nvPr/>
          </p:nvSpPr>
          <p:spPr bwMode="auto">
            <a:xfrm>
              <a:off x="1953233" y="3872919"/>
              <a:ext cx="86354" cy="106503"/>
            </a:xfrm>
            <a:custGeom>
              <a:avLst/>
              <a:gdLst>
                <a:gd name="T0" fmla="*/ 0 w 60"/>
                <a:gd name="T1" fmla="*/ 59 h 74"/>
                <a:gd name="T2" fmla="*/ 8 w 60"/>
                <a:gd name="T3" fmla="*/ 37 h 74"/>
                <a:gd name="T4" fmla="*/ 23 w 60"/>
                <a:gd name="T5" fmla="*/ 32 h 74"/>
                <a:gd name="T6" fmla="*/ 25 w 60"/>
                <a:gd name="T7" fmla="*/ 12 h 74"/>
                <a:gd name="T8" fmla="*/ 53 w 60"/>
                <a:gd name="T9" fmla="*/ 0 h 74"/>
                <a:gd name="T10" fmla="*/ 53 w 60"/>
                <a:gd name="T11" fmla="*/ 22 h 74"/>
                <a:gd name="T12" fmla="*/ 53 w 60"/>
                <a:gd name="T13" fmla="*/ 39 h 74"/>
                <a:gd name="T14" fmla="*/ 60 w 60"/>
                <a:gd name="T15" fmla="*/ 42 h 74"/>
                <a:gd name="T16" fmla="*/ 58 w 60"/>
                <a:gd name="T17" fmla="*/ 57 h 74"/>
                <a:gd name="T18" fmla="*/ 45 w 60"/>
                <a:gd name="T19" fmla="*/ 57 h 74"/>
                <a:gd name="T20" fmla="*/ 43 w 60"/>
                <a:gd name="T21" fmla="*/ 74 h 74"/>
                <a:gd name="T22" fmla="*/ 18 w 60"/>
                <a:gd name="T23" fmla="*/ 74 h 74"/>
                <a:gd name="T24" fmla="*/ 0 w 60"/>
                <a:gd name="T25" fmla="*/ 5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0" y="59"/>
                  </a:moveTo>
                  <a:lnTo>
                    <a:pt x="8" y="37"/>
                  </a:lnTo>
                  <a:lnTo>
                    <a:pt x="23" y="32"/>
                  </a:lnTo>
                  <a:lnTo>
                    <a:pt x="25" y="12"/>
                  </a:lnTo>
                  <a:lnTo>
                    <a:pt x="53" y="0"/>
                  </a:lnTo>
                  <a:lnTo>
                    <a:pt x="53" y="22"/>
                  </a:lnTo>
                  <a:lnTo>
                    <a:pt x="53" y="39"/>
                  </a:lnTo>
                  <a:lnTo>
                    <a:pt x="60" y="42"/>
                  </a:lnTo>
                  <a:lnTo>
                    <a:pt x="58" y="57"/>
                  </a:lnTo>
                  <a:lnTo>
                    <a:pt x="45" y="57"/>
                  </a:lnTo>
                  <a:lnTo>
                    <a:pt x="43" y="74"/>
                  </a:lnTo>
                  <a:lnTo>
                    <a:pt x="18" y="74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5" name="Freeform 50"/>
            <p:cNvSpPr>
              <a:spLocks/>
            </p:cNvSpPr>
            <p:nvPr/>
          </p:nvSpPr>
          <p:spPr bwMode="auto">
            <a:xfrm>
              <a:off x="2222371" y="4441417"/>
              <a:ext cx="325267" cy="482143"/>
            </a:xfrm>
            <a:custGeom>
              <a:avLst/>
              <a:gdLst>
                <a:gd name="T0" fmla="*/ 184 w 226"/>
                <a:gd name="T1" fmla="*/ 15 h 335"/>
                <a:gd name="T2" fmla="*/ 169 w 226"/>
                <a:gd name="T3" fmla="*/ 2 h 335"/>
                <a:gd name="T4" fmla="*/ 137 w 226"/>
                <a:gd name="T5" fmla="*/ 0 h 335"/>
                <a:gd name="T6" fmla="*/ 129 w 226"/>
                <a:gd name="T7" fmla="*/ 12 h 335"/>
                <a:gd name="T8" fmla="*/ 77 w 226"/>
                <a:gd name="T9" fmla="*/ 35 h 335"/>
                <a:gd name="T10" fmla="*/ 52 w 226"/>
                <a:gd name="T11" fmla="*/ 52 h 335"/>
                <a:gd name="T12" fmla="*/ 35 w 226"/>
                <a:gd name="T13" fmla="*/ 67 h 335"/>
                <a:gd name="T14" fmla="*/ 22 w 226"/>
                <a:gd name="T15" fmla="*/ 52 h 335"/>
                <a:gd name="T16" fmla="*/ 17 w 226"/>
                <a:gd name="T17" fmla="*/ 37 h 335"/>
                <a:gd name="T18" fmla="*/ 7 w 226"/>
                <a:gd name="T19" fmla="*/ 37 h 335"/>
                <a:gd name="T20" fmla="*/ 0 w 226"/>
                <a:gd name="T21" fmla="*/ 45 h 335"/>
                <a:gd name="T22" fmla="*/ 0 w 226"/>
                <a:gd name="T23" fmla="*/ 87 h 335"/>
                <a:gd name="T24" fmla="*/ 20 w 226"/>
                <a:gd name="T25" fmla="*/ 87 h 335"/>
                <a:gd name="T26" fmla="*/ 27 w 226"/>
                <a:gd name="T27" fmla="*/ 117 h 335"/>
                <a:gd name="T28" fmla="*/ 37 w 226"/>
                <a:gd name="T29" fmla="*/ 122 h 335"/>
                <a:gd name="T30" fmla="*/ 40 w 226"/>
                <a:gd name="T31" fmla="*/ 139 h 335"/>
                <a:gd name="T32" fmla="*/ 47 w 226"/>
                <a:gd name="T33" fmla="*/ 156 h 335"/>
                <a:gd name="T34" fmla="*/ 57 w 226"/>
                <a:gd name="T35" fmla="*/ 161 h 335"/>
                <a:gd name="T36" fmla="*/ 59 w 226"/>
                <a:gd name="T37" fmla="*/ 181 h 335"/>
                <a:gd name="T38" fmla="*/ 64 w 226"/>
                <a:gd name="T39" fmla="*/ 184 h 335"/>
                <a:gd name="T40" fmla="*/ 69 w 226"/>
                <a:gd name="T41" fmla="*/ 196 h 335"/>
                <a:gd name="T42" fmla="*/ 74 w 226"/>
                <a:gd name="T43" fmla="*/ 211 h 335"/>
                <a:gd name="T44" fmla="*/ 84 w 226"/>
                <a:gd name="T45" fmla="*/ 228 h 335"/>
                <a:gd name="T46" fmla="*/ 92 w 226"/>
                <a:gd name="T47" fmla="*/ 236 h 335"/>
                <a:gd name="T48" fmla="*/ 89 w 226"/>
                <a:gd name="T49" fmla="*/ 243 h 335"/>
                <a:gd name="T50" fmla="*/ 94 w 226"/>
                <a:gd name="T51" fmla="*/ 261 h 335"/>
                <a:gd name="T52" fmla="*/ 112 w 226"/>
                <a:gd name="T53" fmla="*/ 271 h 335"/>
                <a:gd name="T54" fmla="*/ 132 w 226"/>
                <a:gd name="T55" fmla="*/ 293 h 335"/>
                <a:gd name="T56" fmla="*/ 156 w 226"/>
                <a:gd name="T57" fmla="*/ 303 h 335"/>
                <a:gd name="T58" fmla="*/ 181 w 226"/>
                <a:gd name="T59" fmla="*/ 323 h 335"/>
                <a:gd name="T60" fmla="*/ 196 w 226"/>
                <a:gd name="T61" fmla="*/ 335 h 335"/>
                <a:gd name="T62" fmla="*/ 209 w 226"/>
                <a:gd name="T63" fmla="*/ 323 h 335"/>
                <a:gd name="T64" fmla="*/ 214 w 226"/>
                <a:gd name="T65" fmla="*/ 308 h 335"/>
                <a:gd name="T66" fmla="*/ 221 w 226"/>
                <a:gd name="T67" fmla="*/ 306 h 335"/>
                <a:gd name="T68" fmla="*/ 214 w 226"/>
                <a:gd name="T69" fmla="*/ 296 h 335"/>
                <a:gd name="T70" fmla="*/ 216 w 226"/>
                <a:gd name="T71" fmla="*/ 263 h 335"/>
                <a:gd name="T72" fmla="*/ 216 w 226"/>
                <a:gd name="T73" fmla="*/ 241 h 335"/>
                <a:gd name="T74" fmla="*/ 226 w 226"/>
                <a:gd name="T75" fmla="*/ 233 h 335"/>
                <a:gd name="T76" fmla="*/ 226 w 226"/>
                <a:gd name="T77" fmla="*/ 214 h 335"/>
                <a:gd name="T78" fmla="*/ 214 w 226"/>
                <a:gd name="T79" fmla="*/ 194 h 335"/>
                <a:gd name="T80" fmla="*/ 199 w 226"/>
                <a:gd name="T81" fmla="*/ 186 h 335"/>
                <a:gd name="T82" fmla="*/ 191 w 226"/>
                <a:gd name="T83" fmla="*/ 164 h 335"/>
                <a:gd name="T84" fmla="*/ 176 w 226"/>
                <a:gd name="T85" fmla="*/ 171 h 335"/>
                <a:gd name="T86" fmla="*/ 161 w 226"/>
                <a:gd name="T87" fmla="*/ 169 h 335"/>
                <a:gd name="T88" fmla="*/ 159 w 226"/>
                <a:gd name="T89" fmla="*/ 159 h 335"/>
                <a:gd name="T90" fmla="*/ 146 w 226"/>
                <a:gd name="T91" fmla="*/ 156 h 335"/>
                <a:gd name="T92" fmla="*/ 142 w 226"/>
                <a:gd name="T93" fmla="*/ 144 h 335"/>
                <a:gd name="T94" fmla="*/ 129 w 226"/>
                <a:gd name="T95" fmla="*/ 134 h 335"/>
                <a:gd name="T96" fmla="*/ 127 w 226"/>
                <a:gd name="T97" fmla="*/ 122 h 335"/>
                <a:gd name="T98" fmla="*/ 129 w 226"/>
                <a:gd name="T99" fmla="*/ 107 h 335"/>
                <a:gd name="T100" fmla="*/ 139 w 226"/>
                <a:gd name="T101" fmla="*/ 102 h 335"/>
                <a:gd name="T102" fmla="*/ 146 w 226"/>
                <a:gd name="T103" fmla="*/ 94 h 335"/>
                <a:gd name="T104" fmla="*/ 144 w 226"/>
                <a:gd name="T105" fmla="*/ 82 h 335"/>
                <a:gd name="T106" fmla="*/ 149 w 226"/>
                <a:gd name="T107" fmla="*/ 67 h 335"/>
                <a:gd name="T108" fmla="*/ 161 w 226"/>
                <a:gd name="T109" fmla="*/ 57 h 335"/>
                <a:gd name="T110" fmla="*/ 176 w 226"/>
                <a:gd name="T111" fmla="*/ 62 h 335"/>
                <a:gd name="T112" fmla="*/ 191 w 226"/>
                <a:gd name="T113" fmla="*/ 54 h 335"/>
                <a:gd name="T114" fmla="*/ 196 w 226"/>
                <a:gd name="T115" fmla="*/ 37 h 335"/>
                <a:gd name="T116" fmla="*/ 184 w 226"/>
                <a:gd name="T117" fmla="*/ 1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335">
                  <a:moveTo>
                    <a:pt x="184" y="15"/>
                  </a:moveTo>
                  <a:lnTo>
                    <a:pt x="169" y="2"/>
                  </a:lnTo>
                  <a:lnTo>
                    <a:pt x="137" y="0"/>
                  </a:lnTo>
                  <a:lnTo>
                    <a:pt x="129" y="12"/>
                  </a:lnTo>
                  <a:lnTo>
                    <a:pt x="77" y="35"/>
                  </a:lnTo>
                  <a:lnTo>
                    <a:pt x="52" y="52"/>
                  </a:lnTo>
                  <a:lnTo>
                    <a:pt x="35" y="67"/>
                  </a:lnTo>
                  <a:lnTo>
                    <a:pt x="22" y="52"/>
                  </a:lnTo>
                  <a:lnTo>
                    <a:pt x="17" y="37"/>
                  </a:lnTo>
                  <a:lnTo>
                    <a:pt x="7" y="37"/>
                  </a:lnTo>
                  <a:lnTo>
                    <a:pt x="0" y="45"/>
                  </a:lnTo>
                  <a:lnTo>
                    <a:pt x="0" y="87"/>
                  </a:lnTo>
                  <a:lnTo>
                    <a:pt x="20" y="87"/>
                  </a:lnTo>
                  <a:lnTo>
                    <a:pt x="27" y="117"/>
                  </a:lnTo>
                  <a:lnTo>
                    <a:pt x="37" y="122"/>
                  </a:lnTo>
                  <a:lnTo>
                    <a:pt x="40" y="139"/>
                  </a:lnTo>
                  <a:lnTo>
                    <a:pt x="47" y="156"/>
                  </a:lnTo>
                  <a:lnTo>
                    <a:pt x="57" y="161"/>
                  </a:lnTo>
                  <a:lnTo>
                    <a:pt x="59" y="181"/>
                  </a:lnTo>
                  <a:lnTo>
                    <a:pt x="64" y="184"/>
                  </a:lnTo>
                  <a:lnTo>
                    <a:pt x="69" y="196"/>
                  </a:lnTo>
                  <a:lnTo>
                    <a:pt x="74" y="211"/>
                  </a:lnTo>
                  <a:lnTo>
                    <a:pt x="84" y="228"/>
                  </a:lnTo>
                  <a:lnTo>
                    <a:pt x="92" y="236"/>
                  </a:lnTo>
                  <a:lnTo>
                    <a:pt x="89" y="243"/>
                  </a:lnTo>
                  <a:lnTo>
                    <a:pt x="94" y="261"/>
                  </a:lnTo>
                  <a:lnTo>
                    <a:pt x="112" y="271"/>
                  </a:lnTo>
                  <a:lnTo>
                    <a:pt x="132" y="293"/>
                  </a:lnTo>
                  <a:lnTo>
                    <a:pt x="156" y="303"/>
                  </a:lnTo>
                  <a:lnTo>
                    <a:pt x="181" y="323"/>
                  </a:lnTo>
                  <a:lnTo>
                    <a:pt x="196" y="335"/>
                  </a:lnTo>
                  <a:lnTo>
                    <a:pt x="209" y="323"/>
                  </a:lnTo>
                  <a:lnTo>
                    <a:pt x="214" y="308"/>
                  </a:lnTo>
                  <a:lnTo>
                    <a:pt x="221" y="306"/>
                  </a:lnTo>
                  <a:lnTo>
                    <a:pt x="214" y="296"/>
                  </a:lnTo>
                  <a:lnTo>
                    <a:pt x="216" y="263"/>
                  </a:lnTo>
                  <a:lnTo>
                    <a:pt x="216" y="241"/>
                  </a:lnTo>
                  <a:lnTo>
                    <a:pt x="226" y="233"/>
                  </a:lnTo>
                  <a:lnTo>
                    <a:pt x="226" y="214"/>
                  </a:lnTo>
                  <a:lnTo>
                    <a:pt x="214" y="194"/>
                  </a:lnTo>
                  <a:lnTo>
                    <a:pt x="199" y="186"/>
                  </a:lnTo>
                  <a:lnTo>
                    <a:pt x="191" y="164"/>
                  </a:lnTo>
                  <a:lnTo>
                    <a:pt x="176" y="171"/>
                  </a:lnTo>
                  <a:lnTo>
                    <a:pt x="161" y="169"/>
                  </a:lnTo>
                  <a:lnTo>
                    <a:pt x="159" y="159"/>
                  </a:lnTo>
                  <a:lnTo>
                    <a:pt x="146" y="156"/>
                  </a:lnTo>
                  <a:lnTo>
                    <a:pt x="142" y="144"/>
                  </a:lnTo>
                  <a:lnTo>
                    <a:pt x="129" y="134"/>
                  </a:lnTo>
                  <a:lnTo>
                    <a:pt x="127" y="122"/>
                  </a:lnTo>
                  <a:lnTo>
                    <a:pt x="129" y="107"/>
                  </a:lnTo>
                  <a:lnTo>
                    <a:pt x="139" y="102"/>
                  </a:lnTo>
                  <a:lnTo>
                    <a:pt x="146" y="94"/>
                  </a:lnTo>
                  <a:lnTo>
                    <a:pt x="144" y="82"/>
                  </a:lnTo>
                  <a:lnTo>
                    <a:pt x="149" y="67"/>
                  </a:lnTo>
                  <a:lnTo>
                    <a:pt x="161" y="57"/>
                  </a:lnTo>
                  <a:lnTo>
                    <a:pt x="176" y="62"/>
                  </a:lnTo>
                  <a:lnTo>
                    <a:pt x="191" y="54"/>
                  </a:lnTo>
                  <a:lnTo>
                    <a:pt x="196" y="37"/>
                  </a:lnTo>
                  <a:lnTo>
                    <a:pt x="184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6" name="Freeform 51"/>
            <p:cNvSpPr>
              <a:spLocks/>
            </p:cNvSpPr>
            <p:nvPr/>
          </p:nvSpPr>
          <p:spPr bwMode="auto">
            <a:xfrm>
              <a:off x="3958088" y="3610978"/>
              <a:ext cx="414500" cy="472069"/>
            </a:xfrm>
            <a:custGeom>
              <a:avLst/>
              <a:gdLst>
                <a:gd name="T0" fmla="*/ 0 w 288"/>
                <a:gd name="T1" fmla="*/ 236 h 328"/>
                <a:gd name="T2" fmla="*/ 17 w 288"/>
                <a:gd name="T3" fmla="*/ 214 h 328"/>
                <a:gd name="T4" fmla="*/ 32 w 288"/>
                <a:gd name="T5" fmla="*/ 221 h 328"/>
                <a:gd name="T6" fmla="*/ 94 w 288"/>
                <a:gd name="T7" fmla="*/ 226 h 328"/>
                <a:gd name="T8" fmla="*/ 116 w 288"/>
                <a:gd name="T9" fmla="*/ 224 h 328"/>
                <a:gd name="T10" fmla="*/ 116 w 288"/>
                <a:gd name="T11" fmla="*/ 201 h 328"/>
                <a:gd name="T12" fmla="*/ 101 w 288"/>
                <a:gd name="T13" fmla="*/ 196 h 328"/>
                <a:gd name="T14" fmla="*/ 104 w 288"/>
                <a:gd name="T15" fmla="*/ 60 h 328"/>
                <a:gd name="T16" fmla="*/ 94 w 288"/>
                <a:gd name="T17" fmla="*/ 47 h 328"/>
                <a:gd name="T18" fmla="*/ 94 w 288"/>
                <a:gd name="T19" fmla="*/ 20 h 328"/>
                <a:gd name="T20" fmla="*/ 106 w 288"/>
                <a:gd name="T21" fmla="*/ 17 h 328"/>
                <a:gd name="T22" fmla="*/ 106 w 288"/>
                <a:gd name="T23" fmla="*/ 0 h 328"/>
                <a:gd name="T24" fmla="*/ 126 w 288"/>
                <a:gd name="T25" fmla="*/ 12 h 328"/>
                <a:gd name="T26" fmla="*/ 248 w 288"/>
                <a:gd name="T27" fmla="*/ 112 h 328"/>
                <a:gd name="T28" fmla="*/ 266 w 288"/>
                <a:gd name="T29" fmla="*/ 119 h 328"/>
                <a:gd name="T30" fmla="*/ 270 w 288"/>
                <a:gd name="T31" fmla="*/ 149 h 328"/>
                <a:gd name="T32" fmla="*/ 285 w 288"/>
                <a:gd name="T33" fmla="*/ 144 h 328"/>
                <a:gd name="T34" fmla="*/ 288 w 288"/>
                <a:gd name="T35" fmla="*/ 204 h 328"/>
                <a:gd name="T36" fmla="*/ 275 w 288"/>
                <a:gd name="T37" fmla="*/ 204 h 328"/>
                <a:gd name="T38" fmla="*/ 275 w 288"/>
                <a:gd name="T39" fmla="*/ 216 h 328"/>
                <a:gd name="T40" fmla="*/ 231 w 288"/>
                <a:gd name="T41" fmla="*/ 221 h 328"/>
                <a:gd name="T42" fmla="*/ 216 w 288"/>
                <a:gd name="T43" fmla="*/ 231 h 328"/>
                <a:gd name="T44" fmla="*/ 186 w 288"/>
                <a:gd name="T45" fmla="*/ 231 h 328"/>
                <a:gd name="T46" fmla="*/ 179 w 288"/>
                <a:gd name="T47" fmla="*/ 241 h 328"/>
                <a:gd name="T48" fmla="*/ 169 w 288"/>
                <a:gd name="T49" fmla="*/ 251 h 328"/>
                <a:gd name="T50" fmla="*/ 146 w 288"/>
                <a:gd name="T51" fmla="*/ 259 h 328"/>
                <a:gd name="T52" fmla="*/ 141 w 288"/>
                <a:gd name="T53" fmla="*/ 269 h 328"/>
                <a:gd name="T54" fmla="*/ 134 w 288"/>
                <a:gd name="T55" fmla="*/ 281 h 328"/>
                <a:gd name="T56" fmla="*/ 121 w 288"/>
                <a:gd name="T57" fmla="*/ 298 h 328"/>
                <a:gd name="T58" fmla="*/ 116 w 288"/>
                <a:gd name="T59" fmla="*/ 323 h 328"/>
                <a:gd name="T60" fmla="*/ 94 w 288"/>
                <a:gd name="T61" fmla="*/ 326 h 328"/>
                <a:gd name="T62" fmla="*/ 79 w 288"/>
                <a:gd name="T63" fmla="*/ 328 h 328"/>
                <a:gd name="T64" fmla="*/ 74 w 288"/>
                <a:gd name="T65" fmla="*/ 303 h 328"/>
                <a:gd name="T66" fmla="*/ 62 w 288"/>
                <a:gd name="T67" fmla="*/ 288 h 328"/>
                <a:gd name="T68" fmla="*/ 39 w 288"/>
                <a:gd name="T69" fmla="*/ 286 h 328"/>
                <a:gd name="T70" fmla="*/ 22 w 288"/>
                <a:gd name="T71" fmla="*/ 281 h 328"/>
                <a:gd name="T72" fmla="*/ 12 w 288"/>
                <a:gd name="T73" fmla="*/ 261 h 328"/>
                <a:gd name="T74" fmla="*/ 2 w 288"/>
                <a:gd name="T75" fmla="*/ 251 h 328"/>
                <a:gd name="T76" fmla="*/ 0 w 288"/>
                <a:gd name="T77" fmla="*/ 2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8" h="328">
                  <a:moveTo>
                    <a:pt x="0" y="236"/>
                  </a:moveTo>
                  <a:lnTo>
                    <a:pt x="17" y="214"/>
                  </a:lnTo>
                  <a:lnTo>
                    <a:pt x="32" y="221"/>
                  </a:lnTo>
                  <a:lnTo>
                    <a:pt x="94" y="226"/>
                  </a:lnTo>
                  <a:lnTo>
                    <a:pt x="116" y="224"/>
                  </a:lnTo>
                  <a:lnTo>
                    <a:pt x="116" y="201"/>
                  </a:lnTo>
                  <a:lnTo>
                    <a:pt x="101" y="196"/>
                  </a:lnTo>
                  <a:lnTo>
                    <a:pt x="104" y="60"/>
                  </a:lnTo>
                  <a:lnTo>
                    <a:pt x="94" y="47"/>
                  </a:lnTo>
                  <a:lnTo>
                    <a:pt x="94" y="20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6" y="12"/>
                  </a:lnTo>
                  <a:lnTo>
                    <a:pt x="248" y="112"/>
                  </a:lnTo>
                  <a:lnTo>
                    <a:pt x="266" y="119"/>
                  </a:lnTo>
                  <a:lnTo>
                    <a:pt x="270" y="149"/>
                  </a:lnTo>
                  <a:lnTo>
                    <a:pt x="285" y="144"/>
                  </a:lnTo>
                  <a:lnTo>
                    <a:pt x="288" y="204"/>
                  </a:lnTo>
                  <a:lnTo>
                    <a:pt x="275" y="204"/>
                  </a:lnTo>
                  <a:lnTo>
                    <a:pt x="275" y="216"/>
                  </a:lnTo>
                  <a:lnTo>
                    <a:pt x="231" y="221"/>
                  </a:lnTo>
                  <a:lnTo>
                    <a:pt x="216" y="231"/>
                  </a:lnTo>
                  <a:lnTo>
                    <a:pt x="186" y="231"/>
                  </a:lnTo>
                  <a:lnTo>
                    <a:pt x="179" y="241"/>
                  </a:lnTo>
                  <a:lnTo>
                    <a:pt x="169" y="251"/>
                  </a:lnTo>
                  <a:lnTo>
                    <a:pt x="146" y="259"/>
                  </a:lnTo>
                  <a:lnTo>
                    <a:pt x="141" y="269"/>
                  </a:lnTo>
                  <a:lnTo>
                    <a:pt x="134" y="281"/>
                  </a:lnTo>
                  <a:lnTo>
                    <a:pt x="121" y="298"/>
                  </a:lnTo>
                  <a:lnTo>
                    <a:pt x="116" y="323"/>
                  </a:lnTo>
                  <a:lnTo>
                    <a:pt x="94" y="326"/>
                  </a:lnTo>
                  <a:lnTo>
                    <a:pt x="79" y="328"/>
                  </a:lnTo>
                  <a:lnTo>
                    <a:pt x="74" y="303"/>
                  </a:lnTo>
                  <a:lnTo>
                    <a:pt x="62" y="288"/>
                  </a:lnTo>
                  <a:lnTo>
                    <a:pt x="39" y="286"/>
                  </a:lnTo>
                  <a:lnTo>
                    <a:pt x="22" y="281"/>
                  </a:lnTo>
                  <a:lnTo>
                    <a:pt x="12" y="261"/>
                  </a:lnTo>
                  <a:lnTo>
                    <a:pt x="2" y="251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7" name="Freeform 52"/>
            <p:cNvSpPr>
              <a:spLocks/>
            </p:cNvSpPr>
            <p:nvPr/>
          </p:nvSpPr>
          <p:spPr bwMode="auto">
            <a:xfrm>
              <a:off x="3924986" y="4090244"/>
              <a:ext cx="86354" cy="89233"/>
            </a:xfrm>
            <a:custGeom>
              <a:avLst/>
              <a:gdLst>
                <a:gd name="T0" fmla="*/ 60 w 60"/>
                <a:gd name="T1" fmla="*/ 30 h 62"/>
                <a:gd name="T2" fmla="*/ 55 w 60"/>
                <a:gd name="T3" fmla="*/ 10 h 62"/>
                <a:gd name="T4" fmla="*/ 35 w 60"/>
                <a:gd name="T5" fmla="*/ 0 h 62"/>
                <a:gd name="T6" fmla="*/ 20 w 60"/>
                <a:gd name="T7" fmla="*/ 8 h 62"/>
                <a:gd name="T8" fmla="*/ 0 w 60"/>
                <a:gd name="T9" fmla="*/ 13 h 62"/>
                <a:gd name="T10" fmla="*/ 5 w 60"/>
                <a:gd name="T11" fmla="*/ 30 h 62"/>
                <a:gd name="T12" fmla="*/ 18 w 60"/>
                <a:gd name="T13" fmla="*/ 32 h 62"/>
                <a:gd name="T14" fmla="*/ 20 w 60"/>
                <a:gd name="T15" fmla="*/ 50 h 62"/>
                <a:gd name="T16" fmla="*/ 37 w 60"/>
                <a:gd name="T17" fmla="*/ 55 h 62"/>
                <a:gd name="T18" fmla="*/ 42 w 60"/>
                <a:gd name="T19" fmla="*/ 62 h 62"/>
                <a:gd name="T20" fmla="*/ 60 w 60"/>
                <a:gd name="T2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62">
                  <a:moveTo>
                    <a:pt x="60" y="30"/>
                  </a:moveTo>
                  <a:lnTo>
                    <a:pt x="55" y="10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0" y="13"/>
                  </a:lnTo>
                  <a:lnTo>
                    <a:pt x="5" y="30"/>
                  </a:lnTo>
                  <a:lnTo>
                    <a:pt x="18" y="32"/>
                  </a:lnTo>
                  <a:lnTo>
                    <a:pt x="20" y="50"/>
                  </a:lnTo>
                  <a:lnTo>
                    <a:pt x="37" y="55"/>
                  </a:lnTo>
                  <a:lnTo>
                    <a:pt x="42" y="62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8" name="Freeform 53"/>
            <p:cNvSpPr>
              <a:spLocks/>
            </p:cNvSpPr>
            <p:nvPr/>
          </p:nvSpPr>
          <p:spPr bwMode="auto">
            <a:xfrm>
              <a:off x="4326533" y="3972226"/>
              <a:ext cx="277772" cy="279212"/>
            </a:xfrm>
            <a:custGeom>
              <a:avLst/>
              <a:gdLst>
                <a:gd name="T0" fmla="*/ 156 w 193"/>
                <a:gd name="T1" fmla="*/ 124 h 194"/>
                <a:gd name="T2" fmla="*/ 166 w 193"/>
                <a:gd name="T3" fmla="*/ 105 h 194"/>
                <a:gd name="T4" fmla="*/ 176 w 193"/>
                <a:gd name="T5" fmla="*/ 70 h 194"/>
                <a:gd name="T6" fmla="*/ 181 w 193"/>
                <a:gd name="T7" fmla="*/ 62 h 194"/>
                <a:gd name="T8" fmla="*/ 191 w 193"/>
                <a:gd name="T9" fmla="*/ 55 h 194"/>
                <a:gd name="T10" fmla="*/ 193 w 193"/>
                <a:gd name="T11" fmla="*/ 30 h 194"/>
                <a:gd name="T12" fmla="*/ 191 w 193"/>
                <a:gd name="T13" fmla="*/ 0 h 194"/>
                <a:gd name="T14" fmla="*/ 176 w 193"/>
                <a:gd name="T15" fmla="*/ 8 h 194"/>
                <a:gd name="T16" fmla="*/ 169 w 193"/>
                <a:gd name="T17" fmla="*/ 18 h 194"/>
                <a:gd name="T18" fmla="*/ 161 w 193"/>
                <a:gd name="T19" fmla="*/ 8 h 194"/>
                <a:gd name="T20" fmla="*/ 136 w 193"/>
                <a:gd name="T21" fmla="*/ 8 h 194"/>
                <a:gd name="T22" fmla="*/ 134 w 193"/>
                <a:gd name="T23" fmla="*/ 18 h 194"/>
                <a:gd name="T24" fmla="*/ 119 w 193"/>
                <a:gd name="T25" fmla="*/ 15 h 194"/>
                <a:gd name="T26" fmla="*/ 109 w 193"/>
                <a:gd name="T27" fmla="*/ 5 h 194"/>
                <a:gd name="T28" fmla="*/ 97 w 193"/>
                <a:gd name="T29" fmla="*/ 8 h 194"/>
                <a:gd name="T30" fmla="*/ 74 w 193"/>
                <a:gd name="T31" fmla="*/ 10 h 194"/>
                <a:gd name="T32" fmla="*/ 74 w 193"/>
                <a:gd name="T33" fmla="*/ 18 h 194"/>
                <a:gd name="T34" fmla="*/ 64 w 193"/>
                <a:gd name="T35" fmla="*/ 5 h 194"/>
                <a:gd name="T36" fmla="*/ 52 w 193"/>
                <a:gd name="T37" fmla="*/ 3 h 194"/>
                <a:gd name="T38" fmla="*/ 34 w 193"/>
                <a:gd name="T39" fmla="*/ 8 h 194"/>
                <a:gd name="T40" fmla="*/ 27 w 193"/>
                <a:gd name="T41" fmla="*/ 20 h 194"/>
                <a:gd name="T42" fmla="*/ 22 w 193"/>
                <a:gd name="T43" fmla="*/ 30 h 194"/>
                <a:gd name="T44" fmla="*/ 17 w 193"/>
                <a:gd name="T45" fmla="*/ 30 h 194"/>
                <a:gd name="T46" fmla="*/ 19 w 193"/>
                <a:gd name="T47" fmla="*/ 52 h 194"/>
                <a:gd name="T48" fmla="*/ 12 w 193"/>
                <a:gd name="T49" fmla="*/ 92 h 194"/>
                <a:gd name="T50" fmla="*/ 0 w 193"/>
                <a:gd name="T51" fmla="*/ 107 h 194"/>
                <a:gd name="T52" fmla="*/ 5 w 193"/>
                <a:gd name="T53" fmla="*/ 147 h 194"/>
                <a:gd name="T54" fmla="*/ 19 w 193"/>
                <a:gd name="T55" fmla="*/ 149 h 194"/>
                <a:gd name="T56" fmla="*/ 34 w 193"/>
                <a:gd name="T57" fmla="*/ 147 h 194"/>
                <a:gd name="T58" fmla="*/ 42 w 193"/>
                <a:gd name="T59" fmla="*/ 154 h 194"/>
                <a:gd name="T60" fmla="*/ 49 w 193"/>
                <a:gd name="T61" fmla="*/ 167 h 194"/>
                <a:gd name="T62" fmla="*/ 49 w 193"/>
                <a:gd name="T63" fmla="*/ 182 h 194"/>
                <a:gd name="T64" fmla="*/ 62 w 193"/>
                <a:gd name="T65" fmla="*/ 192 h 194"/>
                <a:gd name="T66" fmla="*/ 79 w 193"/>
                <a:gd name="T67" fmla="*/ 194 h 194"/>
                <a:gd name="T68" fmla="*/ 111 w 193"/>
                <a:gd name="T69" fmla="*/ 167 h 194"/>
                <a:gd name="T70" fmla="*/ 121 w 193"/>
                <a:gd name="T71" fmla="*/ 152 h 194"/>
                <a:gd name="T72" fmla="*/ 136 w 193"/>
                <a:gd name="T73" fmla="*/ 139 h 194"/>
                <a:gd name="T74" fmla="*/ 156 w 193"/>
                <a:gd name="T75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194">
                  <a:moveTo>
                    <a:pt x="156" y="124"/>
                  </a:moveTo>
                  <a:lnTo>
                    <a:pt x="166" y="105"/>
                  </a:lnTo>
                  <a:lnTo>
                    <a:pt x="176" y="70"/>
                  </a:lnTo>
                  <a:lnTo>
                    <a:pt x="181" y="62"/>
                  </a:lnTo>
                  <a:lnTo>
                    <a:pt x="191" y="55"/>
                  </a:lnTo>
                  <a:lnTo>
                    <a:pt x="193" y="30"/>
                  </a:lnTo>
                  <a:lnTo>
                    <a:pt x="191" y="0"/>
                  </a:lnTo>
                  <a:lnTo>
                    <a:pt x="176" y="8"/>
                  </a:lnTo>
                  <a:lnTo>
                    <a:pt x="169" y="18"/>
                  </a:lnTo>
                  <a:lnTo>
                    <a:pt x="161" y="8"/>
                  </a:lnTo>
                  <a:lnTo>
                    <a:pt x="136" y="8"/>
                  </a:lnTo>
                  <a:lnTo>
                    <a:pt x="134" y="18"/>
                  </a:lnTo>
                  <a:lnTo>
                    <a:pt x="119" y="15"/>
                  </a:lnTo>
                  <a:lnTo>
                    <a:pt x="109" y="5"/>
                  </a:lnTo>
                  <a:lnTo>
                    <a:pt x="97" y="8"/>
                  </a:lnTo>
                  <a:lnTo>
                    <a:pt x="74" y="10"/>
                  </a:lnTo>
                  <a:lnTo>
                    <a:pt x="74" y="18"/>
                  </a:lnTo>
                  <a:lnTo>
                    <a:pt x="64" y="5"/>
                  </a:lnTo>
                  <a:lnTo>
                    <a:pt x="52" y="3"/>
                  </a:lnTo>
                  <a:lnTo>
                    <a:pt x="34" y="8"/>
                  </a:lnTo>
                  <a:lnTo>
                    <a:pt x="27" y="20"/>
                  </a:lnTo>
                  <a:lnTo>
                    <a:pt x="22" y="30"/>
                  </a:lnTo>
                  <a:lnTo>
                    <a:pt x="17" y="30"/>
                  </a:lnTo>
                  <a:lnTo>
                    <a:pt x="19" y="52"/>
                  </a:lnTo>
                  <a:lnTo>
                    <a:pt x="12" y="92"/>
                  </a:lnTo>
                  <a:lnTo>
                    <a:pt x="0" y="107"/>
                  </a:lnTo>
                  <a:lnTo>
                    <a:pt x="5" y="147"/>
                  </a:lnTo>
                  <a:lnTo>
                    <a:pt x="19" y="149"/>
                  </a:lnTo>
                  <a:lnTo>
                    <a:pt x="34" y="147"/>
                  </a:lnTo>
                  <a:lnTo>
                    <a:pt x="42" y="154"/>
                  </a:lnTo>
                  <a:lnTo>
                    <a:pt x="49" y="167"/>
                  </a:lnTo>
                  <a:lnTo>
                    <a:pt x="49" y="182"/>
                  </a:lnTo>
                  <a:lnTo>
                    <a:pt x="62" y="192"/>
                  </a:lnTo>
                  <a:lnTo>
                    <a:pt x="79" y="194"/>
                  </a:lnTo>
                  <a:lnTo>
                    <a:pt x="111" y="167"/>
                  </a:lnTo>
                  <a:lnTo>
                    <a:pt x="121" y="152"/>
                  </a:lnTo>
                  <a:lnTo>
                    <a:pt x="136" y="139"/>
                  </a:lnTo>
                  <a:lnTo>
                    <a:pt x="156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49" name="Freeform 54"/>
            <p:cNvSpPr>
              <a:spLocks/>
            </p:cNvSpPr>
            <p:nvPr/>
          </p:nvSpPr>
          <p:spPr bwMode="auto">
            <a:xfrm>
              <a:off x="4640286" y="4051384"/>
              <a:ext cx="315192" cy="246110"/>
            </a:xfrm>
            <a:custGeom>
              <a:avLst/>
              <a:gdLst>
                <a:gd name="T0" fmla="*/ 217 w 219"/>
                <a:gd name="T1" fmla="*/ 124 h 171"/>
                <a:gd name="T2" fmla="*/ 207 w 219"/>
                <a:gd name="T3" fmla="*/ 122 h 171"/>
                <a:gd name="T4" fmla="*/ 184 w 219"/>
                <a:gd name="T5" fmla="*/ 127 h 171"/>
                <a:gd name="T6" fmla="*/ 169 w 219"/>
                <a:gd name="T7" fmla="*/ 124 h 171"/>
                <a:gd name="T8" fmla="*/ 169 w 219"/>
                <a:gd name="T9" fmla="*/ 132 h 171"/>
                <a:gd name="T10" fmla="*/ 132 w 219"/>
                <a:gd name="T11" fmla="*/ 134 h 171"/>
                <a:gd name="T12" fmla="*/ 130 w 219"/>
                <a:gd name="T13" fmla="*/ 142 h 171"/>
                <a:gd name="T14" fmla="*/ 97 w 219"/>
                <a:gd name="T15" fmla="*/ 146 h 171"/>
                <a:gd name="T16" fmla="*/ 92 w 219"/>
                <a:gd name="T17" fmla="*/ 134 h 171"/>
                <a:gd name="T18" fmla="*/ 80 w 219"/>
                <a:gd name="T19" fmla="*/ 129 h 171"/>
                <a:gd name="T20" fmla="*/ 72 w 219"/>
                <a:gd name="T21" fmla="*/ 139 h 171"/>
                <a:gd name="T22" fmla="*/ 65 w 219"/>
                <a:gd name="T23" fmla="*/ 144 h 171"/>
                <a:gd name="T24" fmla="*/ 58 w 219"/>
                <a:gd name="T25" fmla="*/ 149 h 171"/>
                <a:gd name="T26" fmla="*/ 45 w 219"/>
                <a:gd name="T27" fmla="*/ 151 h 171"/>
                <a:gd name="T28" fmla="*/ 35 w 219"/>
                <a:gd name="T29" fmla="*/ 161 h 171"/>
                <a:gd name="T30" fmla="*/ 28 w 219"/>
                <a:gd name="T31" fmla="*/ 171 h 171"/>
                <a:gd name="T32" fmla="*/ 23 w 219"/>
                <a:gd name="T33" fmla="*/ 161 h 171"/>
                <a:gd name="T34" fmla="*/ 13 w 219"/>
                <a:gd name="T35" fmla="*/ 137 h 171"/>
                <a:gd name="T36" fmla="*/ 0 w 219"/>
                <a:gd name="T37" fmla="*/ 117 h 171"/>
                <a:gd name="T38" fmla="*/ 8 w 219"/>
                <a:gd name="T39" fmla="*/ 92 h 171"/>
                <a:gd name="T40" fmla="*/ 18 w 219"/>
                <a:gd name="T41" fmla="*/ 82 h 171"/>
                <a:gd name="T42" fmla="*/ 28 w 219"/>
                <a:gd name="T43" fmla="*/ 74 h 171"/>
                <a:gd name="T44" fmla="*/ 45 w 219"/>
                <a:gd name="T45" fmla="*/ 77 h 171"/>
                <a:gd name="T46" fmla="*/ 50 w 219"/>
                <a:gd name="T47" fmla="*/ 64 h 171"/>
                <a:gd name="T48" fmla="*/ 67 w 219"/>
                <a:gd name="T49" fmla="*/ 64 h 171"/>
                <a:gd name="T50" fmla="*/ 77 w 219"/>
                <a:gd name="T51" fmla="*/ 52 h 171"/>
                <a:gd name="T52" fmla="*/ 95 w 219"/>
                <a:gd name="T53" fmla="*/ 47 h 171"/>
                <a:gd name="T54" fmla="*/ 100 w 219"/>
                <a:gd name="T55" fmla="*/ 35 h 171"/>
                <a:gd name="T56" fmla="*/ 112 w 219"/>
                <a:gd name="T57" fmla="*/ 30 h 171"/>
                <a:gd name="T58" fmla="*/ 120 w 219"/>
                <a:gd name="T59" fmla="*/ 15 h 171"/>
                <a:gd name="T60" fmla="*/ 132 w 219"/>
                <a:gd name="T61" fmla="*/ 5 h 171"/>
                <a:gd name="T62" fmla="*/ 140 w 219"/>
                <a:gd name="T63" fmla="*/ 0 h 171"/>
                <a:gd name="T64" fmla="*/ 147 w 219"/>
                <a:gd name="T65" fmla="*/ 15 h 171"/>
                <a:gd name="T66" fmla="*/ 157 w 219"/>
                <a:gd name="T67" fmla="*/ 32 h 171"/>
                <a:gd name="T68" fmla="*/ 154 w 219"/>
                <a:gd name="T69" fmla="*/ 47 h 171"/>
                <a:gd name="T70" fmla="*/ 162 w 219"/>
                <a:gd name="T71" fmla="*/ 50 h 171"/>
                <a:gd name="T72" fmla="*/ 164 w 219"/>
                <a:gd name="T73" fmla="*/ 59 h 171"/>
                <a:gd name="T74" fmla="*/ 177 w 219"/>
                <a:gd name="T75" fmla="*/ 57 h 171"/>
                <a:gd name="T76" fmla="*/ 182 w 219"/>
                <a:gd name="T77" fmla="*/ 74 h 171"/>
                <a:gd name="T78" fmla="*/ 197 w 219"/>
                <a:gd name="T79" fmla="*/ 79 h 171"/>
                <a:gd name="T80" fmla="*/ 202 w 219"/>
                <a:gd name="T81" fmla="*/ 99 h 171"/>
                <a:gd name="T82" fmla="*/ 209 w 219"/>
                <a:gd name="T83" fmla="*/ 102 h 171"/>
                <a:gd name="T84" fmla="*/ 214 w 219"/>
                <a:gd name="T85" fmla="*/ 109 h 171"/>
                <a:gd name="T86" fmla="*/ 219 w 219"/>
                <a:gd name="T87" fmla="*/ 114 h 171"/>
                <a:gd name="T88" fmla="*/ 217 w 219"/>
                <a:gd name="T89" fmla="*/ 1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9" h="171">
                  <a:moveTo>
                    <a:pt x="217" y="124"/>
                  </a:moveTo>
                  <a:lnTo>
                    <a:pt x="207" y="122"/>
                  </a:lnTo>
                  <a:lnTo>
                    <a:pt x="184" y="127"/>
                  </a:lnTo>
                  <a:lnTo>
                    <a:pt x="169" y="124"/>
                  </a:lnTo>
                  <a:lnTo>
                    <a:pt x="169" y="132"/>
                  </a:lnTo>
                  <a:lnTo>
                    <a:pt x="132" y="134"/>
                  </a:lnTo>
                  <a:lnTo>
                    <a:pt x="130" y="142"/>
                  </a:lnTo>
                  <a:lnTo>
                    <a:pt x="97" y="146"/>
                  </a:lnTo>
                  <a:lnTo>
                    <a:pt x="92" y="134"/>
                  </a:lnTo>
                  <a:lnTo>
                    <a:pt x="80" y="129"/>
                  </a:lnTo>
                  <a:lnTo>
                    <a:pt x="72" y="139"/>
                  </a:lnTo>
                  <a:lnTo>
                    <a:pt x="65" y="144"/>
                  </a:lnTo>
                  <a:lnTo>
                    <a:pt x="58" y="149"/>
                  </a:lnTo>
                  <a:lnTo>
                    <a:pt x="45" y="151"/>
                  </a:lnTo>
                  <a:lnTo>
                    <a:pt x="35" y="161"/>
                  </a:lnTo>
                  <a:lnTo>
                    <a:pt x="28" y="171"/>
                  </a:lnTo>
                  <a:lnTo>
                    <a:pt x="23" y="161"/>
                  </a:lnTo>
                  <a:lnTo>
                    <a:pt x="13" y="137"/>
                  </a:lnTo>
                  <a:lnTo>
                    <a:pt x="0" y="117"/>
                  </a:lnTo>
                  <a:lnTo>
                    <a:pt x="8" y="92"/>
                  </a:lnTo>
                  <a:lnTo>
                    <a:pt x="18" y="82"/>
                  </a:lnTo>
                  <a:lnTo>
                    <a:pt x="28" y="74"/>
                  </a:lnTo>
                  <a:lnTo>
                    <a:pt x="45" y="77"/>
                  </a:lnTo>
                  <a:lnTo>
                    <a:pt x="50" y="64"/>
                  </a:lnTo>
                  <a:lnTo>
                    <a:pt x="67" y="64"/>
                  </a:lnTo>
                  <a:lnTo>
                    <a:pt x="77" y="52"/>
                  </a:lnTo>
                  <a:lnTo>
                    <a:pt x="95" y="47"/>
                  </a:lnTo>
                  <a:lnTo>
                    <a:pt x="100" y="35"/>
                  </a:lnTo>
                  <a:lnTo>
                    <a:pt x="112" y="30"/>
                  </a:lnTo>
                  <a:lnTo>
                    <a:pt x="120" y="15"/>
                  </a:lnTo>
                  <a:lnTo>
                    <a:pt x="132" y="5"/>
                  </a:lnTo>
                  <a:lnTo>
                    <a:pt x="140" y="0"/>
                  </a:lnTo>
                  <a:lnTo>
                    <a:pt x="147" y="15"/>
                  </a:lnTo>
                  <a:lnTo>
                    <a:pt x="157" y="32"/>
                  </a:lnTo>
                  <a:lnTo>
                    <a:pt x="154" y="47"/>
                  </a:lnTo>
                  <a:lnTo>
                    <a:pt x="162" y="50"/>
                  </a:lnTo>
                  <a:lnTo>
                    <a:pt x="164" y="59"/>
                  </a:lnTo>
                  <a:lnTo>
                    <a:pt x="177" y="57"/>
                  </a:lnTo>
                  <a:lnTo>
                    <a:pt x="182" y="74"/>
                  </a:lnTo>
                  <a:lnTo>
                    <a:pt x="197" y="79"/>
                  </a:lnTo>
                  <a:lnTo>
                    <a:pt x="202" y="99"/>
                  </a:lnTo>
                  <a:lnTo>
                    <a:pt x="209" y="102"/>
                  </a:lnTo>
                  <a:lnTo>
                    <a:pt x="214" y="109"/>
                  </a:lnTo>
                  <a:lnTo>
                    <a:pt x="219" y="114"/>
                  </a:lnTo>
                  <a:lnTo>
                    <a:pt x="217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0" name="Freeform 55"/>
            <p:cNvSpPr>
              <a:spLocks/>
            </p:cNvSpPr>
            <p:nvPr/>
          </p:nvSpPr>
          <p:spPr bwMode="auto">
            <a:xfrm>
              <a:off x="4887835" y="3432513"/>
              <a:ext cx="272015" cy="318071"/>
            </a:xfrm>
            <a:custGeom>
              <a:avLst/>
              <a:gdLst>
                <a:gd name="T0" fmla="*/ 0 w 189"/>
                <a:gd name="T1" fmla="*/ 5 h 221"/>
                <a:gd name="T2" fmla="*/ 0 w 189"/>
                <a:gd name="T3" fmla="*/ 221 h 221"/>
                <a:gd name="T4" fmla="*/ 12 w 189"/>
                <a:gd name="T5" fmla="*/ 214 h 221"/>
                <a:gd name="T6" fmla="*/ 25 w 189"/>
                <a:gd name="T7" fmla="*/ 206 h 221"/>
                <a:gd name="T8" fmla="*/ 142 w 189"/>
                <a:gd name="T9" fmla="*/ 206 h 221"/>
                <a:gd name="T10" fmla="*/ 152 w 189"/>
                <a:gd name="T11" fmla="*/ 214 h 221"/>
                <a:gd name="T12" fmla="*/ 181 w 189"/>
                <a:gd name="T13" fmla="*/ 189 h 221"/>
                <a:gd name="T14" fmla="*/ 181 w 189"/>
                <a:gd name="T15" fmla="*/ 164 h 221"/>
                <a:gd name="T16" fmla="*/ 189 w 189"/>
                <a:gd name="T17" fmla="*/ 161 h 221"/>
                <a:gd name="T18" fmla="*/ 147 w 189"/>
                <a:gd name="T19" fmla="*/ 94 h 221"/>
                <a:gd name="T20" fmla="*/ 124 w 189"/>
                <a:gd name="T21" fmla="*/ 54 h 221"/>
                <a:gd name="T22" fmla="*/ 124 w 189"/>
                <a:gd name="T23" fmla="*/ 35 h 221"/>
                <a:gd name="T24" fmla="*/ 137 w 189"/>
                <a:gd name="T25" fmla="*/ 52 h 221"/>
                <a:gd name="T26" fmla="*/ 156 w 189"/>
                <a:gd name="T27" fmla="*/ 72 h 221"/>
                <a:gd name="T28" fmla="*/ 164 w 189"/>
                <a:gd name="T29" fmla="*/ 54 h 221"/>
                <a:gd name="T30" fmla="*/ 164 w 189"/>
                <a:gd name="T31" fmla="*/ 32 h 221"/>
                <a:gd name="T32" fmla="*/ 149 w 189"/>
                <a:gd name="T33" fmla="*/ 7 h 221"/>
                <a:gd name="T34" fmla="*/ 124 w 189"/>
                <a:gd name="T35" fmla="*/ 5 h 221"/>
                <a:gd name="T36" fmla="*/ 79 w 189"/>
                <a:gd name="T37" fmla="*/ 0 h 221"/>
                <a:gd name="T38" fmla="*/ 72 w 189"/>
                <a:gd name="T39" fmla="*/ 22 h 221"/>
                <a:gd name="T40" fmla="*/ 60 w 189"/>
                <a:gd name="T41" fmla="*/ 15 h 221"/>
                <a:gd name="T42" fmla="*/ 47 w 189"/>
                <a:gd name="T43" fmla="*/ 2 h 221"/>
                <a:gd name="T44" fmla="*/ 0 w 189"/>
                <a:gd name="T45" fmla="*/ 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9" h="221">
                  <a:moveTo>
                    <a:pt x="0" y="5"/>
                  </a:moveTo>
                  <a:lnTo>
                    <a:pt x="0" y="221"/>
                  </a:lnTo>
                  <a:lnTo>
                    <a:pt x="12" y="214"/>
                  </a:lnTo>
                  <a:lnTo>
                    <a:pt x="25" y="206"/>
                  </a:lnTo>
                  <a:lnTo>
                    <a:pt x="142" y="206"/>
                  </a:lnTo>
                  <a:lnTo>
                    <a:pt x="152" y="214"/>
                  </a:lnTo>
                  <a:lnTo>
                    <a:pt x="181" y="189"/>
                  </a:lnTo>
                  <a:lnTo>
                    <a:pt x="181" y="164"/>
                  </a:lnTo>
                  <a:lnTo>
                    <a:pt x="189" y="161"/>
                  </a:lnTo>
                  <a:lnTo>
                    <a:pt x="147" y="94"/>
                  </a:lnTo>
                  <a:lnTo>
                    <a:pt x="124" y="54"/>
                  </a:lnTo>
                  <a:lnTo>
                    <a:pt x="124" y="35"/>
                  </a:lnTo>
                  <a:lnTo>
                    <a:pt x="137" y="52"/>
                  </a:lnTo>
                  <a:lnTo>
                    <a:pt x="156" y="72"/>
                  </a:lnTo>
                  <a:lnTo>
                    <a:pt x="164" y="54"/>
                  </a:lnTo>
                  <a:lnTo>
                    <a:pt x="164" y="32"/>
                  </a:lnTo>
                  <a:lnTo>
                    <a:pt x="149" y="7"/>
                  </a:lnTo>
                  <a:lnTo>
                    <a:pt x="124" y="5"/>
                  </a:lnTo>
                  <a:lnTo>
                    <a:pt x="79" y="0"/>
                  </a:lnTo>
                  <a:lnTo>
                    <a:pt x="72" y="22"/>
                  </a:lnTo>
                  <a:lnTo>
                    <a:pt x="60" y="15"/>
                  </a:lnTo>
                  <a:lnTo>
                    <a:pt x="47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1" name="Freeform 56"/>
            <p:cNvSpPr>
              <a:spLocks/>
            </p:cNvSpPr>
            <p:nvPr/>
          </p:nvSpPr>
          <p:spPr bwMode="auto">
            <a:xfrm>
              <a:off x="5814702" y="3295786"/>
              <a:ext cx="310875" cy="375640"/>
            </a:xfrm>
            <a:custGeom>
              <a:avLst/>
              <a:gdLst>
                <a:gd name="T0" fmla="*/ 169 w 216"/>
                <a:gd name="T1" fmla="*/ 0 h 261"/>
                <a:gd name="T2" fmla="*/ 151 w 216"/>
                <a:gd name="T3" fmla="*/ 5 h 261"/>
                <a:gd name="T4" fmla="*/ 146 w 216"/>
                <a:gd name="T5" fmla="*/ 25 h 261"/>
                <a:gd name="T6" fmla="*/ 139 w 216"/>
                <a:gd name="T7" fmla="*/ 48 h 261"/>
                <a:gd name="T8" fmla="*/ 131 w 216"/>
                <a:gd name="T9" fmla="*/ 67 h 261"/>
                <a:gd name="T10" fmla="*/ 122 w 216"/>
                <a:gd name="T11" fmla="*/ 75 h 261"/>
                <a:gd name="T12" fmla="*/ 117 w 216"/>
                <a:gd name="T13" fmla="*/ 95 h 261"/>
                <a:gd name="T14" fmla="*/ 99 w 216"/>
                <a:gd name="T15" fmla="*/ 97 h 261"/>
                <a:gd name="T16" fmla="*/ 82 w 216"/>
                <a:gd name="T17" fmla="*/ 110 h 261"/>
                <a:gd name="T18" fmla="*/ 67 w 216"/>
                <a:gd name="T19" fmla="*/ 120 h 261"/>
                <a:gd name="T20" fmla="*/ 59 w 216"/>
                <a:gd name="T21" fmla="*/ 140 h 261"/>
                <a:gd name="T22" fmla="*/ 7 w 216"/>
                <a:gd name="T23" fmla="*/ 144 h 261"/>
                <a:gd name="T24" fmla="*/ 0 w 216"/>
                <a:gd name="T25" fmla="*/ 159 h 261"/>
                <a:gd name="T26" fmla="*/ 5 w 216"/>
                <a:gd name="T27" fmla="*/ 179 h 261"/>
                <a:gd name="T28" fmla="*/ 20 w 216"/>
                <a:gd name="T29" fmla="*/ 179 h 261"/>
                <a:gd name="T30" fmla="*/ 25 w 216"/>
                <a:gd name="T31" fmla="*/ 192 h 261"/>
                <a:gd name="T32" fmla="*/ 15 w 216"/>
                <a:gd name="T33" fmla="*/ 204 h 261"/>
                <a:gd name="T34" fmla="*/ 0 w 216"/>
                <a:gd name="T35" fmla="*/ 209 h 261"/>
                <a:gd name="T36" fmla="*/ 15 w 216"/>
                <a:gd name="T37" fmla="*/ 214 h 261"/>
                <a:gd name="T38" fmla="*/ 22 w 216"/>
                <a:gd name="T39" fmla="*/ 229 h 261"/>
                <a:gd name="T40" fmla="*/ 52 w 216"/>
                <a:gd name="T41" fmla="*/ 229 h 261"/>
                <a:gd name="T42" fmla="*/ 74 w 216"/>
                <a:gd name="T43" fmla="*/ 222 h 261"/>
                <a:gd name="T44" fmla="*/ 77 w 216"/>
                <a:gd name="T45" fmla="*/ 236 h 261"/>
                <a:gd name="T46" fmla="*/ 97 w 216"/>
                <a:gd name="T47" fmla="*/ 251 h 261"/>
                <a:gd name="T48" fmla="*/ 112 w 216"/>
                <a:gd name="T49" fmla="*/ 261 h 261"/>
                <a:gd name="T50" fmla="*/ 122 w 216"/>
                <a:gd name="T51" fmla="*/ 251 h 261"/>
                <a:gd name="T52" fmla="*/ 156 w 216"/>
                <a:gd name="T53" fmla="*/ 251 h 261"/>
                <a:gd name="T54" fmla="*/ 159 w 216"/>
                <a:gd name="T55" fmla="*/ 234 h 261"/>
                <a:gd name="T56" fmla="*/ 139 w 216"/>
                <a:gd name="T57" fmla="*/ 209 h 261"/>
                <a:gd name="T58" fmla="*/ 124 w 216"/>
                <a:gd name="T59" fmla="*/ 194 h 261"/>
                <a:gd name="T60" fmla="*/ 131 w 216"/>
                <a:gd name="T61" fmla="*/ 177 h 261"/>
                <a:gd name="T62" fmla="*/ 141 w 216"/>
                <a:gd name="T63" fmla="*/ 167 h 261"/>
                <a:gd name="T64" fmla="*/ 171 w 216"/>
                <a:gd name="T65" fmla="*/ 177 h 261"/>
                <a:gd name="T66" fmla="*/ 176 w 216"/>
                <a:gd name="T67" fmla="*/ 164 h 261"/>
                <a:gd name="T68" fmla="*/ 179 w 216"/>
                <a:gd name="T69" fmla="*/ 152 h 261"/>
                <a:gd name="T70" fmla="*/ 199 w 216"/>
                <a:gd name="T71" fmla="*/ 135 h 261"/>
                <a:gd name="T72" fmla="*/ 206 w 216"/>
                <a:gd name="T73" fmla="*/ 117 h 261"/>
                <a:gd name="T74" fmla="*/ 216 w 216"/>
                <a:gd name="T75" fmla="*/ 105 h 261"/>
                <a:gd name="T76" fmla="*/ 216 w 216"/>
                <a:gd name="T77" fmla="*/ 77 h 261"/>
                <a:gd name="T78" fmla="*/ 199 w 216"/>
                <a:gd name="T79" fmla="*/ 65 h 261"/>
                <a:gd name="T80" fmla="*/ 201 w 216"/>
                <a:gd name="T81" fmla="*/ 40 h 261"/>
                <a:gd name="T82" fmla="*/ 191 w 216"/>
                <a:gd name="T83" fmla="*/ 28 h 261"/>
                <a:gd name="T84" fmla="*/ 194 w 216"/>
                <a:gd name="T85" fmla="*/ 10 h 261"/>
                <a:gd name="T86" fmla="*/ 179 w 216"/>
                <a:gd name="T87" fmla="*/ 3 h 261"/>
                <a:gd name="T88" fmla="*/ 169 w 216"/>
                <a:gd name="T8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6" h="261">
                  <a:moveTo>
                    <a:pt x="169" y="0"/>
                  </a:moveTo>
                  <a:lnTo>
                    <a:pt x="151" y="5"/>
                  </a:lnTo>
                  <a:lnTo>
                    <a:pt x="146" y="25"/>
                  </a:lnTo>
                  <a:lnTo>
                    <a:pt x="139" y="48"/>
                  </a:lnTo>
                  <a:lnTo>
                    <a:pt x="131" y="67"/>
                  </a:lnTo>
                  <a:lnTo>
                    <a:pt x="122" y="75"/>
                  </a:lnTo>
                  <a:lnTo>
                    <a:pt x="117" y="95"/>
                  </a:lnTo>
                  <a:lnTo>
                    <a:pt x="99" y="97"/>
                  </a:lnTo>
                  <a:lnTo>
                    <a:pt x="82" y="110"/>
                  </a:lnTo>
                  <a:lnTo>
                    <a:pt x="67" y="120"/>
                  </a:lnTo>
                  <a:lnTo>
                    <a:pt x="59" y="140"/>
                  </a:lnTo>
                  <a:lnTo>
                    <a:pt x="7" y="144"/>
                  </a:lnTo>
                  <a:lnTo>
                    <a:pt x="0" y="159"/>
                  </a:lnTo>
                  <a:lnTo>
                    <a:pt x="5" y="179"/>
                  </a:lnTo>
                  <a:lnTo>
                    <a:pt x="20" y="179"/>
                  </a:lnTo>
                  <a:lnTo>
                    <a:pt x="25" y="192"/>
                  </a:lnTo>
                  <a:lnTo>
                    <a:pt x="15" y="204"/>
                  </a:lnTo>
                  <a:lnTo>
                    <a:pt x="0" y="209"/>
                  </a:lnTo>
                  <a:lnTo>
                    <a:pt x="15" y="214"/>
                  </a:lnTo>
                  <a:lnTo>
                    <a:pt x="22" y="229"/>
                  </a:lnTo>
                  <a:lnTo>
                    <a:pt x="52" y="229"/>
                  </a:lnTo>
                  <a:lnTo>
                    <a:pt x="74" y="222"/>
                  </a:lnTo>
                  <a:lnTo>
                    <a:pt x="77" y="236"/>
                  </a:lnTo>
                  <a:lnTo>
                    <a:pt x="97" y="251"/>
                  </a:lnTo>
                  <a:lnTo>
                    <a:pt x="112" y="261"/>
                  </a:lnTo>
                  <a:lnTo>
                    <a:pt x="122" y="251"/>
                  </a:lnTo>
                  <a:lnTo>
                    <a:pt x="156" y="251"/>
                  </a:lnTo>
                  <a:lnTo>
                    <a:pt x="159" y="234"/>
                  </a:lnTo>
                  <a:lnTo>
                    <a:pt x="139" y="209"/>
                  </a:lnTo>
                  <a:lnTo>
                    <a:pt x="124" y="194"/>
                  </a:lnTo>
                  <a:lnTo>
                    <a:pt x="131" y="177"/>
                  </a:lnTo>
                  <a:lnTo>
                    <a:pt x="141" y="167"/>
                  </a:lnTo>
                  <a:lnTo>
                    <a:pt x="171" y="177"/>
                  </a:lnTo>
                  <a:lnTo>
                    <a:pt x="176" y="164"/>
                  </a:lnTo>
                  <a:lnTo>
                    <a:pt x="179" y="152"/>
                  </a:lnTo>
                  <a:lnTo>
                    <a:pt x="199" y="135"/>
                  </a:lnTo>
                  <a:lnTo>
                    <a:pt x="206" y="117"/>
                  </a:lnTo>
                  <a:lnTo>
                    <a:pt x="216" y="105"/>
                  </a:lnTo>
                  <a:lnTo>
                    <a:pt x="216" y="77"/>
                  </a:lnTo>
                  <a:lnTo>
                    <a:pt x="199" y="65"/>
                  </a:lnTo>
                  <a:lnTo>
                    <a:pt x="201" y="40"/>
                  </a:lnTo>
                  <a:lnTo>
                    <a:pt x="191" y="28"/>
                  </a:lnTo>
                  <a:lnTo>
                    <a:pt x="194" y="10"/>
                  </a:lnTo>
                  <a:lnTo>
                    <a:pt x="179" y="3"/>
                  </a:lnTo>
                  <a:lnTo>
                    <a:pt x="16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2" name="Freeform 57"/>
            <p:cNvSpPr>
              <a:spLocks/>
            </p:cNvSpPr>
            <p:nvPr/>
          </p:nvSpPr>
          <p:spPr bwMode="auto">
            <a:xfrm>
              <a:off x="7374833" y="3196478"/>
              <a:ext cx="96428" cy="153999"/>
            </a:xfrm>
            <a:custGeom>
              <a:avLst/>
              <a:gdLst>
                <a:gd name="T0" fmla="*/ 32 w 67"/>
                <a:gd name="T1" fmla="*/ 0 h 107"/>
                <a:gd name="T2" fmla="*/ 24 w 67"/>
                <a:gd name="T3" fmla="*/ 20 h 107"/>
                <a:gd name="T4" fmla="*/ 0 w 67"/>
                <a:gd name="T5" fmla="*/ 27 h 107"/>
                <a:gd name="T6" fmla="*/ 10 w 67"/>
                <a:gd name="T7" fmla="*/ 42 h 107"/>
                <a:gd name="T8" fmla="*/ 7 w 67"/>
                <a:gd name="T9" fmla="*/ 57 h 107"/>
                <a:gd name="T10" fmla="*/ 24 w 67"/>
                <a:gd name="T11" fmla="*/ 64 h 107"/>
                <a:gd name="T12" fmla="*/ 20 w 67"/>
                <a:gd name="T13" fmla="*/ 99 h 107"/>
                <a:gd name="T14" fmla="*/ 39 w 67"/>
                <a:gd name="T15" fmla="*/ 107 h 107"/>
                <a:gd name="T16" fmla="*/ 67 w 67"/>
                <a:gd name="T17" fmla="*/ 89 h 107"/>
                <a:gd name="T18" fmla="*/ 67 w 67"/>
                <a:gd name="T19" fmla="*/ 47 h 107"/>
                <a:gd name="T20" fmla="*/ 32 w 67"/>
                <a:gd name="T2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107">
                  <a:moveTo>
                    <a:pt x="32" y="0"/>
                  </a:moveTo>
                  <a:lnTo>
                    <a:pt x="24" y="20"/>
                  </a:lnTo>
                  <a:lnTo>
                    <a:pt x="0" y="27"/>
                  </a:lnTo>
                  <a:lnTo>
                    <a:pt x="10" y="42"/>
                  </a:lnTo>
                  <a:lnTo>
                    <a:pt x="7" y="57"/>
                  </a:lnTo>
                  <a:lnTo>
                    <a:pt x="24" y="64"/>
                  </a:lnTo>
                  <a:lnTo>
                    <a:pt x="20" y="99"/>
                  </a:lnTo>
                  <a:lnTo>
                    <a:pt x="39" y="107"/>
                  </a:lnTo>
                  <a:lnTo>
                    <a:pt x="67" y="89"/>
                  </a:lnTo>
                  <a:lnTo>
                    <a:pt x="67" y="47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3" name="Freeform 58"/>
            <p:cNvSpPr>
              <a:spLocks/>
            </p:cNvSpPr>
            <p:nvPr/>
          </p:nvSpPr>
          <p:spPr bwMode="auto">
            <a:xfrm>
              <a:off x="7646848" y="2669718"/>
              <a:ext cx="92111" cy="189979"/>
            </a:xfrm>
            <a:custGeom>
              <a:avLst/>
              <a:gdLst>
                <a:gd name="T0" fmla="*/ 2 w 64"/>
                <a:gd name="T1" fmla="*/ 10 h 132"/>
                <a:gd name="T2" fmla="*/ 2 w 64"/>
                <a:gd name="T3" fmla="*/ 25 h 132"/>
                <a:gd name="T4" fmla="*/ 7 w 64"/>
                <a:gd name="T5" fmla="*/ 43 h 132"/>
                <a:gd name="T6" fmla="*/ 14 w 64"/>
                <a:gd name="T7" fmla="*/ 62 h 132"/>
                <a:gd name="T8" fmla="*/ 19 w 64"/>
                <a:gd name="T9" fmla="*/ 87 h 132"/>
                <a:gd name="T10" fmla="*/ 32 w 64"/>
                <a:gd name="T11" fmla="*/ 100 h 132"/>
                <a:gd name="T12" fmla="*/ 24 w 64"/>
                <a:gd name="T13" fmla="*/ 117 h 132"/>
                <a:gd name="T14" fmla="*/ 27 w 64"/>
                <a:gd name="T15" fmla="*/ 125 h 132"/>
                <a:gd name="T16" fmla="*/ 34 w 64"/>
                <a:gd name="T17" fmla="*/ 125 h 132"/>
                <a:gd name="T18" fmla="*/ 54 w 64"/>
                <a:gd name="T19" fmla="*/ 132 h 132"/>
                <a:gd name="T20" fmla="*/ 64 w 64"/>
                <a:gd name="T21" fmla="*/ 125 h 132"/>
                <a:gd name="T22" fmla="*/ 57 w 64"/>
                <a:gd name="T23" fmla="*/ 102 h 132"/>
                <a:gd name="T24" fmla="*/ 42 w 64"/>
                <a:gd name="T25" fmla="*/ 67 h 132"/>
                <a:gd name="T26" fmla="*/ 52 w 64"/>
                <a:gd name="T27" fmla="*/ 70 h 132"/>
                <a:gd name="T28" fmla="*/ 37 w 64"/>
                <a:gd name="T29" fmla="*/ 45 h 132"/>
                <a:gd name="T30" fmla="*/ 24 w 64"/>
                <a:gd name="T31" fmla="*/ 28 h 132"/>
                <a:gd name="T32" fmla="*/ 19 w 64"/>
                <a:gd name="T33" fmla="*/ 3 h 132"/>
                <a:gd name="T34" fmla="*/ 0 w 64"/>
                <a:gd name="T35" fmla="*/ 0 h 132"/>
                <a:gd name="T36" fmla="*/ 2 w 64"/>
                <a:gd name="T37" fmla="*/ 1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32">
                  <a:moveTo>
                    <a:pt x="2" y="10"/>
                  </a:moveTo>
                  <a:lnTo>
                    <a:pt x="2" y="25"/>
                  </a:lnTo>
                  <a:lnTo>
                    <a:pt x="7" y="43"/>
                  </a:lnTo>
                  <a:lnTo>
                    <a:pt x="14" y="62"/>
                  </a:lnTo>
                  <a:lnTo>
                    <a:pt x="19" y="87"/>
                  </a:lnTo>
                  <a:lnTo>
                    <a:pt x="32" y="100"/>
                  </a:lnTo>
                  <a:lnTo>
                    <a:pt x="24" y="117"/>
                  </a:lnTo>
                  <a:lnTo>
                    <a:pt x="27" y="125"/>
                  </a:lnTo>
                  <a:lnTo>
                    <a:pt x="34" y="125"/>
                  </a:lnTo>
                  <a:lnTo>
                    <a:pt x="54" y="132"/>
                  </a:lnTo>
                  <a:lnTo>
                    <a:pt x="64" y="125"/>
                  </a:lnTo>
                  <a:lnTo>
                    <a:pt x="57" y="102"/>
                  </a:lnTo>
                  <a:lnTo>
                    <a:pt x="42" y="67"/>
                  </a:lnTo>
                  <a:lnTo>
                    <a:pt x="52" y="70"/>
                  </a:lnTo>
                  <a:lnTo>
                    <a:pt x="37" y="45"/>
                  </a:lnTo>
                  <a:lnTo>
                    <a:pt x="24" y="28"/>
                  </a:lnTo>
                  <a:lnTo>
                    <a:pt x="19" y="3"/>
                  </a:lnTo>
                  <a:lnTo>
                    <a:pt x="0" y="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4" name="Freeform 59"/>
            <p:cNvSpPr>
              <a:spLocks/>
            </p:cNvSpPr>
            <p:nvPr/>
          </p:nvSpPr>
          <p:spPr bwMode="auto">
            <a:xfrm>
              <a:off x="5975897" y="3385018"/>
              <a:ext cx="722496" cy="751281"/>
            </a:xfrm>
            <a:custGeom>
              <a:avLst/>
              <a:gdLst>
                <a:gd name="T0" fmla="*/ 499 w 502"/>
                <a:gd name="T1" fmla="*/ 130 h 522"/>
                <a:gd name="T2" fmla="*/ 464 w 502"/>
                <a:gd name="T3" fmla="*/ 157 h 522"/>
                <a:gd name="T4" fmla="*/ 440 w 502"/>
                <a:gd name="T5" fmla="*/ 199 h 522"/>
                <a:gd name="T6" fmla="*/ 430 w 502"/>
                <a:gd name="T7" fmla="*/ 224 h 522"/>
                <a:gd name="T8" fmla="*/ 420 w 502"/>
                <a:gd name="T9" fmla="*/ 174 h 522"/>
                <a:gd name="T10" fmla="*/ 380 w 502"/>
                <a:gd name="T11" fmla="*/ 160 h 522"/>
                <a:gd name="T12" fmla="*/ 345 w 502"/>
                <a:gd name="T13" fmla="*/ 182 h 522"/>
                <a:gd name="T14" fmla="*/ 358 w 502"/>
                <a:gd name="T15" fmla="*/ 234 h 522"/>
                <a:gd name="T16" fmla="*/ 333 w 502"/>
                <a:gd name="T17" fmla="*/ 242 h 522"/>
                <a:gd name="T18" fmla="*/ 328 w 502"/>
                <a:gd name="T19" fmla="*/ 271 h 522"/>
                <a:gd name="T20" fmla="*/ 293 w 502"/>
                <a:gd name="T21" fmla="*/ 299 h 522"/>
                <a:gd name="T22" fmla="*/ 263 w 502"/>
                <a:gd name="T23" fmla="*/ 321 h 522"/>
                <a:gd name="T24" fmla="*/ 233 w 502"/>
                <a:gd name="T25" fmla="*/ 358 h 522"/>
                <a:gd name="T26" fmla="*/ 216 w 502"/>
                <a:gd name="T27" fmla="*/ 438 h 522"/>
                <a:gd name="T28" fmla="*/ 216 w 502"/>
                <a:gd name="T29" fmla="*/ 470 h 522"/>
                <a:gd name="T30" fmla="*/ 191 w 502"/>
                <a:gd name="T31" fmla="*/ 513 h 522"/>
                <a:gd name="T32" fmla="*/ 161 w 502"/>
                <a:gd name="T33" fmla="*/ 515 h 522"/>
                <a:gd name="T34" fmla="*/ 136 w 502"/>
                <a:gd name="T35" fmla="*/ 443 h 522"/>
                <a:gd name="T36" fmla="*/ 94 w 502"/>
                <a:gd name="T37" fmla="*/ 356 h 522"/>
                <a:gd name="T38" fmla="*/ 84 w 502"/>
                <a:gd name="T39" fmla="*/ 274 h 522"/>
                <a:gd name="T40" fmla="*/ 72 w 502"/>
                <a:gd name="T41" fmla="*/ 224 h 522"/>
                <a:gd name="T42" fmla="*/ 59 w 502"/>
                <a:gd name="T43" fmla="*/ 254 h 522"/>
                <a:gd name="T44" fmla="*/ 12 w 502"/>
                <a:gd name="T45" fmla="*/ 227 h 522"/>
                <a:gd name="T46" fmla="*/ 10 w 502"/>
                <a:gd name="T47" fmla="*/ 214 h 522"/>
                <a:gd name="T48" fmla="*/ 10 w 502"/>
                <a:gd name="T49" fmla="*/ 189 h 522"/>
                <a:gd name="T50" fmla="*/ 47 w 502"/>
                <a:gd name="T51" fmla="*/ 172 h 522"/>
                <a:gd name="T52" fmla="*/ 12 w 502"/>
                <a:gd name="T53" fmla="*/ 132 h 522"/>
                <a:gd name="T54" fmla="*/ 29 w 502"/>
                <a:gd name="T55" fmla="*/ 105 h 522"/>
                <a:gd name="T56" fmla="*/ 64 w 502"/>
                <a:gd name="T57" fmla="*/ 102 h 522"/>
                <a:gd name="T58" fmla="*/ 87 w 502"/>
                <a:gd name="T59" fmla="*/ 73 h 522"/>
                <a:gd name="T60" fmla="*/ 104 w 502"/>
                <a:gd name="T61" fmla="*/ 43 h 522"/>
                <a:gd name="T62" fmla="*/ 129 w 502"/>
                <a:gd name="T63" fmla="*/ 0 h 522"/>
                <a:gd name="T64" fmla="*/ 161 w 502"/>
                <a:gd name="T65" fmla="*/ 13 h 522"/>
                <a:gd name="T66" fmla="*/ 189 w 502"/>
                <a:gd name="T67" fmla="*/ 50 h 522"/>
                <a:gd name="T68" fmla="*/ 206 w 502"/>
                <a:gd name="T69" fmla="*/ 95 h 522"/>
                <a:gd name="T70" fmla="*/ 243 w 502"/>
                <a:gd name="T71" fmla="*/ 117 h 522"/>
                <a:gd name="T72" fmla="*/ 290 w 502"/>
                <a:gd name="T73" fmla="*/ 132 h 522"/>
                <a:gd name="T74" fmla="*/ 325 w 502"/>
                <a:gd name="T75" fmla="*/ 140 h 522"/>
                <a:gd name="T76" fmla="*/ 353 w 502"/>
                <a:gd name="T77" fmla="*/ 122 h 522"/>
                <a:gd name="T78" fmla="*/ 382 w 502"/>
                <a:gd name="T79" fmla="*/ 115 h 522"/>
                <a:gd name="T80" fmla="*/ 420 w 502"/>
                <a:gd name="T81" fmla="*/ 100 h 522"/>
                <a:gd name="T82" fmla="*/ 469 w 502"/>
                <a:gd name="T83" fmla="*/ 90 h 522"/>
                <a:gd name="T84" fmla="*/ 502 w 502"/>
                <a:gd name="T85" fmla="*/ 1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2" h="522">
                  <a:moveTo>
                    <a:pt x="502" y="117"/>
                  </a:moveTo>
                  <a:lnTo>
                    <a:pt x="499" y="130"/>
                  </a:lnTo>
                  <a:lnTo>
                    <a:pt x="477" y="140"/>
                  </a:lnTo>
                  <a:lnTo>
                    <a:pt x="464" y="157"/>
                  </a:lnTo>
                  <a:lnTo>
                    <a:pt x="457" y="182"/>
                  </a:lnTo>
                  <a:lnTo>
                    <a:pt x="440" y="199"/>
                  </a:lnTo>
                  <a:lnTo>
                    <a:pt x="440" y="234"/>
                  </a:lnTo>
                  <a:lnTo>
                    <a:pt x="430" y="224"/>
                  </a:lnTo>
                  <a:lnTo>
                    <a:pt x="422" y="197"/>
                  </a:lnTo>
                  <a:lnTo>
                    <a:pt x="420" y="174"/>
                  </a:lnTo>
                  <a:lnTo>
                    <a:pt x="397" y="162"/>
                  </a:lnTo>
                  <a:lnTo>
                    <a:pt x="380" y="160"/>
                  </a:lnTo>
                  <a:lnTo>
                    <a:pt x="358" y="145"/>
                  </a:lnTo>
                  <a:lnTo>
                    <a:pt x="345" y="182"/>
                  </a:lnTo>
                  <a:lnTo>
                    <a:pt x="358" y="184"/>
                  </a:lnTo>
                  <a:lnTo>
                    <a:pt x="358" y="234"/>
                  </a:lnTo>
                  <a:lnTo>
                    <a:pt x="348" y="234"/>
                  </a:lnTo>
                  <a:lnTo>
                    <a:pt x="333" y="242"/>
                  </a:lnTo>
                  <a:lnTo>
                    <a:pt x="333" y="266"/>
                  </a:lnTo>
                  <a:lnTo>
                    <a:pt x="328" y="271"/>
                  </a:lnTo>
                  <a:lnTo>
                    <a:pt x="315" y="289"/>
                  </a:lnTo>
                  <a:lnTo>
                    <a:pt x="293" y="299"/>
                  </a:lnTo>
                  <a:lnTo>
                    <a:pt x="281" y="314"/>
                  </a:lnTo>
                  <a:lnTo>
                    <a:pt x="263" y="321"/>
                  </a:lnTo>
                  <a:lnTo>
                    <a:pt x="253" y="346"/>
                  </a:lnTo>
                  <a:lnTo>
                    <a:pt x="233" y="358"/>
                  </a:lnTo>
                  <a:lnTo>
                    <a:pt x="208" y="373"/>
                  </a:lnTo>
                  <a:lnTo>
                    <a:pt x="216" y="438"/>
                  </a:lnTo>
                  <a:lnTo>
                    <a:pt x="208" y="440"/>
                  </a:lnTo>
                  <a:lnTo>
                    <a:pt x="216" y="470"/>
                  </a:lnTo>
                  <a:lnTo>
                    <a:pt x="203" y="490"/>
                  </a:lnTo>
                  <a:lnTo>
                    <a:pt x="191" y="513"/>
                  </a:lnTo>
                  <a:lnTo>
                    <a:pt x="171" y="522"/>
                  </a:lnTo>
                  <a:lnTo>
                    <a:pt x="161" y="515"/>
                  </a:lnTo>
                  <a:lnTo>
                    <a:pt x="159" y="490"/>
                  </a:lnTo>
                  <a:lnTo>
                    <a:pt x="136" y="443"/>
                  </a:lnTo>
                  <a:lnTo>
                    <a:pt x="116" y="388"/>
                  </a:lnTo>
                  <a:lnTo>
                    <a:pt x="94" y="356"/>
                  </a:lnTo>
                  <a:lnTo>
                    <a:pt x="84" y="314"/>
                  </a:lnTo>
                  <a:lnTo>
                    <a:pt x="84" y="274"/>
                  </a:lnTo>
                  <a:lnTo>
                    <a:pt x="82" y="244"/>
                  </a:lnTo>
                  <a:lnTo>
                    <a:pt x="72" y="224"/>
                  </a:lnTo>
                  <a:lnTo>
                    <a:pt x="72" y="242"/>
                  </a:lnTo>
                  <a:lnTo>
                    <a:pt x="59" y="254"/>
                  </a:lnTo>
                  <a:lnTo>
                    <a:pt x="34" y="254"/>
                  </a:lnTo>
                  <a:lnTo>
                    <a:pt x="12" y="227"/>
                  </a:lnTo>
                  <a:lnTo>
                    <a:pt x="24" y="214"/>
                  </a:lnTo>
                  <a:lnTo>
                    <a:pt x="10" y="214"/>
                  </a:lnTo>
                  <a:lnTo>
                    <a:pt x="0" y="199"/>
                  </a:lnTo>
                  <a:lnTo>
                    <a:pt x="10" y="189"/>
                  </a:lnTo>
                  <a:lnTo>
                    <a:pt x="44" y="189"/>
                  </a:lnTo>
                  <a:lnTo>
                    <a:pt x="47" y="172"/>
                  </a:lnTo>
                  <a:lnTo>
                    <a:pt x="27" y="147"/>
                  </a:lnTo>
                  <a:lnTo>
                    <a:pt x="12" y="132"/>
                  </a:lnTo>
                  <a:lnTo>
                    <a:pt x="19" y="115"/>
                  </a:lnTo>
                  <a:lnTo>
                    <a:pt x="29" y="105"/>
                  </a:lnTo>
                  <a:lnTo>
                    <a:pt x="59" y="115"/>
                  </a:lnTo>
                  <a:lnTo>
                    <a:pt x="64" y="102"/>
                  </a:lnTo>
                  <a:lnTo>
                    <a:pt x="67" y="90"/>
                  </a:lnTo>
                  <a:lnTo>
                    <a:pt x="87" y="73"/>
                  </a:lnTo>
                  <a:lnTo>
                    <a:pt x="94" y="55"/>
                  </a:lnTo>
                  <a:lnTo>
                    <a:pt x="104" y="43"/>
                  </a:lnTo>
                  <a:lnTo>
                    <a:pt x="104" y="15"/>
                  </a:lnTo>
                  <a:lnTo>
                    <a:pt x="129" y="0"/>
                  </a:lnTo>
                  <a:lnTo>
                    <a:pt x="149" y="0"/>
                  </a:lnTo>
                  <a:lnTo>
                    <a:pt x="161" y="13"/>
                  </a:lnTo>
                  <a:lnTo>
                    <a:pt x="161" y="45"/>
                  </a:lnTo>
                  <a:lnTo>
                    <a:pt x="189" y="50"/>
                  </a:lnTo>
                  <a:lnTo>
                    <a:pt x="203" y="65"/>
                  </a:lnTo>
                  <a:lnTo>
                    <a:pt x="206" y="95"/>
                  </a:lnTo>
                  <a:lnTo>
                    <a:pt x="221" y="112"/>
                  </a:lnTo>
                  <a:lnTo>
                    <a:pt x="243" y="117"/>
                  </a:lnTo>
                  <a:lnTo>
                    <a:pt x="271" y="130"/>
                  </a:lnTo>
                  <a:lnTo>
                    <a:pt x="290" y="132"/>
                  </a:lnTo>
                  <a:lnTo>
                    <a:pt x="308" y="142"/>
                  </a:lnTo>
                  <a:lnTo>
                    <a:pt x="325" y="140"/>
                  </a:lnTo>
                  <a:lnTo>
                    <a:pt x="343" y="140"/>
                  </a:lnTo>
                  <a:lnTo>
                    <a:pt x="353" y="122"/>
                  </a:lnTo>
                  <a:lnTo>
                    <a:pt x="363" y="105"/>
                  </a:lnTo>
                  <a:lnTo>
                    <a:pt x="382" y="115"/>
                  </a:lnTo>
                  <a:lnTo>
                    <a:pt x="410" y="115"/>
                  </a:lnTo>
                  <a:lnTo>
                    <a:pt x="420" y="100"/>
                  </a:lnTo>
                  <a:lnTo>
                    <a:pt x="442" y="90"/>
                  </a:lnTo>
                  <a:lnTo>
                    <a:pt x="469" y="90"/>
                  </a:lnTo>
                  <a:lnTo>
                    <a:pt x="489" y="100"/>
                  </a:lnTo>
                  <a:lnTo>
                    <a:pt x="502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5" name="Freeform 60"/>
            <p:cNvSpPr>
              <a:spLocks/>
            </p:cNvSpPr>
            <p:nvPr/>
          </p:nvSpPr>
          <p:spPr bwMode="auto">
            <a:xfrm>
              <a:off x="6472432" y="3593707"/>
              <a:ext cx="136728" cy="149680"/>
            </a:xfrm>
            <a:custGeom>
              <a:avLst/>
              <a:gdLst>
                <a:gd name="T0" fmla="*/ 95 w 95"/>
                <a:gd name="T1" fmla="*/ 89 h 104"/>
                <a:gd name="T2" fmla="*/ 87 w 95"/>
                <a:gd name="T3" fmla="*/ 104 h 104"/>
                <a:gd name="T4" fmla="*/ 77 w 95"/>
                <a:gd name="T5" fmla="*/ 102 h 104"/>
                <a:gd name="T6" fmla="*/ 62 w 95"/>
                <a:gd name="T7" fmla="*/ 82 h 104"/>
                <a:gd name="T8" fmla="*/ 65 w 95"/>
                <a:gd name="T9" fmla="*/ 64 h 104"/>
                <a:gd name="T10" fmla="*/ 55 w 95"/>
                <a:gd name="T11" fmla="*/ 49 h 104"/>
                <a:gd name="T12" fmla="*/ 50 w 95"/>
                <a:gd name="T13" fmla="*/ 64 h 104"/>
                <a:gd name="T14" fmla="*/ 35 w 95"/>
                <a:gd name="T15" fmla="*/ 72 h 104"/>
                <a:gd name="T16" fmla="*/ 35 w 95"/>
                <a:gd name="T17" fmla="*/ 92 h 104"/>
                <a:gd name="T18" fmla="*/ 13 w 95"/>
                <a:gd name="T19" fmla="*/ 89 h 104"/>
                <a:gd name="T20" fmla="*/ 13 w 95"/>
                <a:gd name="T21" fmla="*/ 39 h 104"/>
                <a:gd name="T22" fmla="*/ 0 w 95"/>
                <a:gd name="T23" fmla="*/ 37 h 104"/>
                <a:gd name="T24" fmla="*/ 13 w 95"/>
                <a:gd name="T25" fmla="*/ 0 h 104"/>
                <a:gd name="T26" fmla="*/ 35 w 95"/>
                <a:gd name="T27" fmla="*/ 15 h 104"/>
                <a:gd name="T28" fmla="*/ 52 w 95"/>
                <a:gd name="T29" fmla="*/ 17 h 104"/>
                <a:gd name="T30" fmla="*/ 75 w 95"/>
                <a:gd name="T31" fmla="*/ 29 h 104"/>
                <a:gd name="T32" fmla="*/ 77 w 95"/>
                <a:gd name="T33" fmla="*/ 52 h 104"/>
                <a:gd name="T34" fmla="*/ 85 w 95"/>
                <a:gd name="T35" fmla="*/ 79 h 104"/>
                <a:gd name="T36" fmla="*/ 95 w 95"/>
                <a:gd name="T37" fmla="*/ 8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" h="104">
                  <a:moveTo>
                    <a:pt x="95" y="89"/>
                  </a:moveTo>
                  <a:lnTo>
                    <a:pt x="87" y="104"/>
                  </a:lnTo>
                  <a:lnTo>
                    <a:pt x="77" y="102"/>
                  </a:lnTo>
                  <a:lnTo>
                    <a:pt x="62" y="82"/>
                  </a:lnTo>
                  <a:lnTo>
                    <a:pt x="65" y="64"/>
                  </a:lnTo>
                  <a:lnTo>
                    <a:pt x="55" y="49"/>
                  </a:lnTo>
                  <a:lnTo>
                    <a:pt x="50" y="64"/>
                  </a:lnTo>
                  <a:lnTo>
                    <a:pt x="35" y="72"/>
                  </a:lnTo>
                  <a:lnTo>
                    <a:pt x="35" y="92"/>
                  </a:lnTo>
                  <a:lnTo>
                    <a:pt x="13" y="89"/>
                  </a:lnTo>
                  <a:lnTo>
                    <a:pt x="13" y="39"/>
                  </a:lnTo>
                  <a:lnTo>
                    <a:pt x="0" y="37"/>
                  </a:lnTo>
                  <a:lnTo>
                    <a:pt x="13" y="0"/>
                  </a:lnTo>
                  <a:lnTo>
                    <a:pt x="35" y="15"/>
                  </a:lnTo>
                  <a:lnTo>
                    <a:pt x="52" y="17"/>
                  </a:lnTo>
                  <a:lnTo>
                    <a:pt x="75" y="29"/>
                  </a:lnTo>
                  <a:lnTo>
                    <a:pt x="77" y="52"/>
                  </a:lnTo>
                  <a:lnTo>
                    <a:pt x="85" y="79"/>
                  </a:lnTo>
                  <a:lnTo>
                    <a:pt x="95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6" name="Freeform 61"/>
            <p:cNvSpPr>
              <a:spLocks/>
            </p:cNvSpPr>
            <p:nvPr/>
          </p:nvSpPr>
          <p:spPr bwMode="auto">
            <a:xfrm>
              <a:off x="3975359" y="3300103"/>
              <a:ext cx="260501" cy="246110"/>
            </a:xfrm>
            <a:custGeom>
              <a:avLst/>
              <a:gdLst>
                <a:gd name="T0" fmla="*/ 147 w 181"/>
                <a:gd name="T1" fmla="*/ 25 h 171"/>
                <a:gd name="T2" fmla="*/ 167 w 181"/>
                <a:gd name="T3" fmla="*/ 20 h 171"/>
                <a:gd name="T4" fmla="*/ 181 w 181"/>
                <a:gd name="T5" fmla="*/ 35 h 171"/>
                <a:gd name="T6" fmla="*/ 171 w 181"/>
                <a:gd name="T7" fmla="*/ 50 h 171"/>
                <a:gd name="T8" fmla="*/ 181 w 181"/>
                <a:gd name="T9" fmla="*/ 57 h 171"/>
                <a:gd name="T10" fmla="*/ 174 w 181"/>
                <a:gd name="T11" fmla="*/ 87 h 171"/>
                <a:gd name="T12" fmla="*/ 154 w 181"/>
                <a:gd name="T13" fmla="*/ 89 h 171"/>
                <a:gd name="T14" fmla="*/ 152 w 181"/>
                <a:gd name="T15" fmla="*/ 102 h 171"/>
                <a:gd name="T16" fmla="*/ 162 w 181"/>
                <a:gd name="T17" fmla="*/ 112 h 171"/>
                <a:gd name="T18" fmla="*/ 139 w 181"/>
                <a:gd name="T19" fmla="*/ 129 h 171"/>
                <a:gd name="T20" fmla="*/ 122 w 181"/>
                <a:gd name="T21" fmla="*/ 146 h 171"/>
                <a:gd name="T22" fmla="*/ 109 w 181"/>
                <a:gd name="T23" fmla="*/ 154 h 171"/>
                <a:gd name="T24" fmla="*/ 97 w 181"/>
                <a:gd name="T25" fmla="*/ 154 h 171"/>
                <a:gd name="T26" fmla="*/ 92 w 181"/>
                <a:gd name="T27" fmla="*/ 161 h 171"/>
                <a:gd name="T28" fmla="*/ 77 w 181"/>
                <a:gd name="T29" fmla="*/ 161 h 171"/>
                <a:gd name="T30" fmla="*/ 77 w 181"/>
                <a:gd name="T31" fmla="*/ 171 h 171"/>
                <a:gd name="T32" fmla="*/ 57 w 181"/>
                <a:gd name="T33" fmla="*/ 171 h 171"/>
                <a:gd name="T34" fmla="*/ 60 w 181"/>
                <a:gd name="T35" fmla="*/ 164 h 171"/>
                <a:gd name="T36" fmla="*/ 47 w 181"/>
                <a:gd name="T37" fmla="*/ 164 h 171"/>
                <a:gd name="T38" fmla="*/ 0 w 181"/>
                <a:gd name="T39" fmla="*/ 164 h 171"/>
                <a:gd name="T40" fmla="*/ 12 w 181"/>
                <a:gd name="T41" fmla="*/ 149 h 171"/>
                <a:gd name="T42" fmla="*/ 22 w 181"/>
                <a:gd name="T43" fmla="*/ 144 h 171"/>
                <a:gd name="T44" fmla="*/ 32 w 181"/>
                <a:gd name="T45" fmla="*/ 134 h 171"/>
                <a:gd name="T46" fmla="*/ 40 w 181"/>
                <a:gd name="T47" fmla="*/ 79 h 171"/>
                <a:gd name="T48" fmla="*/ 45 w 181"/>
                <a:gd name="T49" fmla="*/ 62 h 171"/>
                <a:gd name="T50" fmla="*/ 52 w 181"/>
                <a:gd name="T51" fmla="*/ 64 h 171"/>
                <a:gd name="T52" fmla="*/ 55 w 181"/>
                <a:gd name="T53" fmla="*/ 50 h 171"/>
                <a:gd name="T54" fmla="*/ 84 w 181"/>
                <a:gd name="T55" fmla="*/ 50 h 171"/>
                <a:gd name="T56" fmla="*/ 84 w 181"/>
                <a:gd name="T57" fmla="*/ 35 h 171"/>
                <a:gd name="T58" fmla="*/ 94 w 181"/>
                <a:gd name="T59" fmla="*/ 25 h 171"/>
                <a:gd name="T60" fmla="*/ 102 w 181"/>
                <a:gd name="T61" fmla="*/ 12 h 171"/>
                <a:gd name="T62" fmla="*/ 104 w 181"/>
                <a:gd name="T63" fmla="*/ 0 h 171"/>
                <a:gd name="T64" fmla="*/ 119 w 181"/>
                <a:gd name="T65" fmla="*/ 10 h 171"/>
                <a:gd name="T66" fmla="*/ 134 w 181"/>
                <a:gd name="T67" fmla="*/ 10 h 171"/>
                <a:gd name="T68" fmla="*/ 147 w 181"/>
                <a:gd name="T69" fmla="*/ 2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171">
                  <a:moveTo>
                    <a:pt x="147" y="25"/>
                  </a:moveTo>
                  <a:lnTo>
                    <a:pt x="167" y="20"/>
                  </a:lnTo>
                  <a:lnTo>
                    <a:pt x="181" y="35"/>
                  </a:lnTo>
                  <a:lnTo>
                    <a:pt x="171" y="50"/>
                  </a:lnTo>
                  <a:lnTo>
                    <a:pt x="181" y="57"/>
                  </a:lnTo>
                  <a:lnTo>
                    <a:pt x="174" y="87"/>
                  </a:lnTo>
                  <a:lnTo>
                    <a:pt x="154" y="89"/>
                  </a:lnTo>
                  <a:lnTo>
                    <a:pt x="152" y="102"/>
                  </a:lnTo>
                  <a:lnTo>
                    <a:pt x="162" y="112"/>
                  </a:lnTo>
                  <a:lnTo>
                    <a:pt x="139" y="129"/>
                  </a:lnTo>
                  <a:lnTo>
                    <a:pt x="122" y="146"/>
                  </a:lnTo>
                  <a:lnTo>
                    <a:pt x="109" y="154"/>
                  </a:lnTo>
                  <a:lnTo>
                    <a:pt x="97" y="154"/>
                  </a:lnTo>
                  <a:lnTo>
                    <a:pt x="92" y="161"/>
                  </a:lnTo>
                  <a:lnTo>
                    <a:pt x="77" y="161"/>
                  </a:lnTo>
                  <a:lnTo>
                    <a:pt x="77" y="171"/>
                  </a:lnTo>
                  <a:lnTo>
                    <a:pt x="57" y="171"/>
                  </a:lnTo>
                  <a:lnTo>
                    <a:pt x="60" y="164"/>
                  </a:lnTo>
                  <a:lnTo>
                    <a:pt x="47" y="164"/>
                  </a:lnTo>
                  <a:lnTo>
                    <a:pt x="0" y="164"/>
                  </a:lnTo>
                  <a:lnTo>
                    <a:pt x="12" y="149"/>
                  </a:lnTo>
                  <a:lnTo>
                    <a:pt x="22" y="144"/>
                  </a:lnTo>
                  <a:lnTo>
                    <a:pt x="32" y="134"/>
                  </a:lnTo>
                  <a:lnTo>
                    <a:pt x="40" y="79"/>
                  </a:lnTo>
                  <a:lnTo>
                    <a:pt x="45" y="62"/>
                  </a:lnTo>
                  <a:lnTo>
                    <a:pt x="52" y="64"/>
                  </a:lnTo>
                  <a:lnTo>
                    <a:pt x="55" y="50"/>
                  </a:lnTo>
                  <a:lnTo>
                    <a:pt x="84" y="50"/>
                  </a:lnTo>
                  <a:lnTo>
                    <a:pt x="84" y="35"/>
                  </a:lnTo>
                  <a:lnTo>
                    <a:pt x="94" y="25"/>
                  </a:lnTo>
                  <a:lnTo>
                    <a:pt x="102" y="12"/>
                  </a:lnTo>
                  <a:lnTo>
                    <a:pt x="104" y="0"/>
                  </a:lnTo>
                  <a:lnTo>
                    <a:pt x="119" y="10"/>
                  </a:lnTo>
                  <a:lnTo>
                    <a:pt x="134" y="10"/>
                  </a:lnTo>
                  <a:lnTo>
                    <a:pt x="147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7" name="Freeform 62"/>
            <p:cNvSpPr>
              <a:spLocks/>
            </p:cNvSpPr>
            <p:nvPr/>
          </p:nvSpPr>
          <p:spPr bwMode="auto">
            <a:xfrm>
              <a:off x="4057395" y="3256926"/>
              <a:ext cx="500854" cy="568498"/>
            </a:xfrm>
            <a:custGeom>
              <a:avLst/>
              <a:gdLst>
                <a:gd name="T0" fmla="*/ 110 w 348"/>
                <a:gd name="T1" fmla="*/ 50 h 395"/>
                <a:gd name="T2" fmla="*/ 124 w 348"/>
                <a:gd name="T3" fmla="*/ 65 h 395"/>
                <a:gd name="T4" fmla="*/ 114 w 348"/>
                <a:gd name="T5" fmla="*/ 80 h 395"/>
                <a:gd name="T6" fmla="*/ 124 w 348"/>
                <a:gd name="T7" fmla="*/ 87 h 395"/>
                <a:gd name="T8" fmla="*/ 117 w 348"/>
                <a:gd name="T9" fmla="*/ 117 h 395"/>
                <a:gd name="T10" fmla="*/ 97 w 348"/>
                <a:gd name="T11" fmla="*/ 119 h 395"/>
                <a:gd name="T12" fmla="*/ 95 w 348"/>
                <a:gd name="T13" fmla="*/ 132 h 395"/>
                <a:gd name="T14" fmla="*/ 105 w 348"/>
                <a:gd name="T15" fmla="*/ 142 h 395"/>
                <a:gd name="T16" fmla="*/ 82 w 348"/>
                <a:gd name="T17" fmla="*/ 159 h 395"/>
                <a:gd name="T18" fmla="*/ 65 w 348"/>
                <a:gd name="T19" fmla="*/ 176 h 395"/>
                <a:gd name="T20" fmla="*/ 52 w 348"/>
                <a:gd name="T21" fmla="*/ 184 h 395"/>
                <a:gd name="T22" fmla="*/ 40 w 348"/>
                <a:gd name="T23" fmla="*/ 184 h 395"/>
                <a:gd name="T24" fmla="*/ 35 w 348"/>
                <a:gd name="T25" fmla="*/ 191 h 395"/>
                <a:gd name="T26" fmla="*/ 20 w 348"/>
                <a:gd name="T27" fmla="*/ 191 h 395"/>
                <a:gd name="T28" fmla="*/ 20 w 348"/>
                <a:gd name="T29" fmla="*/ 201 h 395"/>
                <a:gd name="T30" fmla="*/ 0 w 348"/>
                <a:gd name="T31" fmla="*/ 201 h 395"/>
                <a:gd name="T32" fmla="*/ 37 w 348"/>
                <a:gd name="T33" fmla="*/ 246 h 395"/>
                <a:gd name="T34" fmla="*/ 57 w 348"/>
                <a:gd name="T35" fmla="*/ 258 h 395"/>
                <a:gd name="T36" fmla="*/ 179 w 348"/>
                <a:gd name="T37" fmla="*/ 358 h 395"/>
                <a:gd name="T38" fmla="*/ 197 w 348"/>
                <a:gd name="T39" fmla="*/ 365 h 395"/>
                <a:gd name="T40" fmla="*/ 201 w 348"/>
                <a:gd name="T41" fmla="*/ 395 h 395"/>
                <a:gd name="T42" fmla="*/ 216 w 348"/>
                <a:gd name="T43" fmla="*/ 390 h 395"/>
                <a:gd name="T44" fmla="*/ 219 w 348"/>
                <a:gd name="T45" fmla="*/ 380 h 395"/>
                <a:gd name="T46" fmla="*/ 246 w 348"/>
                <a:gd name="T47" fmla="*/ 380 h 395"/>
                <a:gd name="T48" fmla="*/ 261 w 348"/>
                <a:gd name="T49" fmla="*/ 365 h 395"/>
                <a:gd name="T50" fmla="*/ 271 w 348"/>
                <a:gd name="T51" fmla="*/ 360 h 395"/>
                <a:gd name="T52" fmla="*/ 274 w 348"/>
                <a:gd name="T53" fmla="*/ 348 h 395"/>
                <a:gd name="T54" fmla="*/ 303 w 348"/>
                <a:gd name="T55" fmla="*/ 338 h 395"/>
                <a:gd name="T56" fmla="*/ 311 w 348"/>
                <a:gd name="T57" fmla="*/ 326 h 395"/>
                <a:gd name="T58" fmla="*/ 326 w 348"/>
                <a:gd name="T59" fmla="*/ 313 h 395"/>
                <a:gd name="T60" fmla="*/ 343 w 348"/>
                <a:gd name="T61" fmla="*/ 306 h 395"/>
                <a:gd name="T62" fmla="*/ 348 w 348"/>
                <a:gd name="T63" fmla="*/ 298 h 395"/>
                <a:gd name="T64" fmla="*/ 346 w 348"/>
                <a:gd name="T65" fmla="*/ 281 h 395"/>
                <a:gd name="T66" fmla="*/ 318 w 348"/>
                <a:gd name="T67" fmla="*/ 276 h 395"/>
                <a:gd name="T68" fmla="*/ 308 w 348"/>
                <a:gd name="T69" fmla="*/ 266 h 395"/>
                <a:gd name="T70" fmla="*/ 308 w 348"/>
                <a:gd name="T71" fmla="*/ 246 h 395"/>
                <a:gd name="T72" fmla="*/ 311 w 348"/>
                <a:gd name="T73" fmla="*/ 127 h 395"/>
                <a:gd name="T74" fmla="*/ 301 w 348"/>
                <a:gd name="T75" fmla="*/ 124 h 395"/>
                <a:gd name="T76" fmla="*/ 298 w 348"/>
                <a:gd name="T77" fmla="*/ 104 h 395"/>
                <a:gd name="T78" fmla="*/ 281 w 348"/>
                <a:gd name="T79" fmla="*/ 99 h 395"/>
                <a:gd name="T80" fmla="*/ 274 w 348"/>
                <a:gd name="T81" fmla="*/ 80 h 395"/>
                <a:gd name="T82" fmla="*/ 279 w 348"/>
                <a:gd name="T83" fmla="*/ 60 h 395"/>
                <a:gd name="T84" fmla="*/ 296 w 348"/>
                <a:gd name="T85" fmla="*/ 55 h 395"/>
                <a:gd name="T86" fmla="*/ 286 w 348"/>
                <a:gd name="T87" fmla="*/ 40 h 395"/>
                <a:gd name="T88" fmla="*/ 288 w 348"/>
                <a:gd name="T89" fmla="*/ 27 h 395"/>
                <a:gd name="T90" fmla="*/ 298 w 348"/>
                <a:gd name="T91" fmla="*/ 27 h 395"/>
                <a:gd name="T92" fmla="*/ 293 w 348"/>
                <a:gd name="T93" fmla="*/ 2 h 395"/>
                <a:gd name="T94" fmla="*/ 241 w 348"/>
                <a:gd name="T95" fmla="*/ 0 h 395"/>
                <a:gd name="T96" fmla="*/ 216 w 348"/>
                <a:gd name="T97" fmla="*/ 2 h 395"/>
                <a:gd name="T98" fmla="*/ 197 w 348"/>
                <a:gd name="T99" fmla="*/ 12 h 395"/>
                <a:gd name="T100" fmla="*/ 159 w 348"/>
                <a:gd name="T101" fmla="*/ 15 h 395"/>
                <a:gd name="T102" fmla="*/ 144 w 348"/>
                <a:gd name="T103" fmla="*/ 27 h 395"/>
                <a:gd name="T104" fmla="*/ 119 w 348"/>
                <a:gd name="T105" fmla="*/ 30 h 395"/>
                <a:gd name="T106" fmla="*/ 110 w 348"/>
                <a:gd name="T107" fmla="*/ 5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8" h="395">
                  <a:moveTo>
                    <a:pt x="110" y="50"/>
                  </a:moveTo>
                  <a:lnTo>
                    <a:pt x="124" y="65"/>
                  </a:lnTo>
                  <a:lnTo>
                    <a:pt x="114" y="80"/>
                  </a:lnTo>
                  <a:lnTo>
                    <a:pt x="124" y="87"/>
                  </a:lnTo>
                  <a:lnTo>
                    <a:pt x="117" y="117"/>
                  </a:lnTo>
                  <a:lnTo>
                    <a:pt x="97" y="119"/>
                  </a:lnTo>
                  <a:lnTo>
                    <a:pt x="95" y="132"/>
                  </a:lnTo>
                  <a:lnTo>
                    <a:pt x="105" y="142"/>
                  </a:lnTo>
                  <a:lnTo>
                    <a:pt x="82" y="159"/>
                  </a:lnTo>
                  <a:lnTo>
                    <a:pt x="65" y="176"/>
                  </a:lnTo>
                  <a:lnTo>
                    <a:pt x="52" y="184"/>
                  </a:lnTo>
                  <a:lnTo>
                    <a:pt x="40" y="184"/>
                  </a:lnTo>
                  <a:lnTo>
                    <a:pt x="35" y="191"/>
                  </a:lnTo>
                  <a:lnTo>
                    <a:pt x="20" y="191"/>
                  </a:lnTo>
                  <a:lnTo>
                    <a:pt x="20" y="201"/>
                  </a:lnTo>
                  <a:lnTo>
                    <a:pt x="0" y="201"/>
                  </a:lnTo>
                  <a:lnTo>
                    <a:pt x="37" y="246"/>
                  </a:lnTo>
                  <a:lnTo>
                    <a:pt x="57" y="258"/>
                  </a:lnTo>
                  <a:lnTo>
                    <a:pt x="179" y="358"/>
                  </a:lnTo>
                  <a:lnTo>
                    <a:pt x="197" y="365"/>
                  </a:lnTo>
                  <a:lnTo>
                    <a:pt x="201" y="395"/>
                  </a:lnTo>
                  <a:lnTo>
                    <a:pt x="216" y="390"/>
                  </a:lnTo>
                  <a:lnTo>
                    <a:pt x="219" y="380"/>
                  </a:lnTo>
                  <a:lnTo>
                    <a:pt x="246" y="380"/>
                  </a:lnTo>
                  <a:lnTo>
                    <a:pt x="261" y="365"/>
                  </a:lnTo>
                  <a:lnTo>
                    <a:pt x="271" y="360"/>
                  </a:lnTo>
                  <a:lnTo>
                    <a:pt x="274" y="348"/>
                  </a:lnTo>
                  <a:lnTo>
                    <a:pt x="303" y="338"/>
                  </a:lnTo>
                  <a:lnTo>
                    <a:pt x="311" y="326"/>
                  </a:lnTo>
                  <a:lnTo>
                    <a:pt x="326" y="313"/>
                  </a:lnTo>
                  <a:lnTo>
                    <a:pt x="343" y="306"/>
                  </a:lnTo>
                  <a:lnTo>
                    <a:pt x="348" y="298"/>
                  </a:lnTo>
                  <a:lnTo>
                    <a:pt x="346" y="281"/>
                  </a:lnTo>
                  <a:lnTo>
                    <a:pt x="318" y="276"/>
                  </a:lnTo>
                  <a:lnTo>
                    <a:pt x="308" y="266"/>
                  </a:lnTo>
                  <a:lnTo>
                    <a:pt x="308" y="246"/>
                  </a:lnTo>
                  <a:lnTo>
                    <a:pt x="311" y="127"/>
                  </a:lnTo>
                  <a:lnTo>
                    <a:pt x="301" y="124"/>
                  </a:lnTo>
                  <a:lnTo>
                    <a:pt x="298" y="104"/>
                  </a:lnTo>
                  <a:lnTo>
                    <a:pt x="281" y="99"/>
                  </a:lnTo>
                  <a:lnTo>
                    <a:pt x="274" y="80"/>
                  </a:lnTo>
                  <a:lnTo>
                    <a:pt x="279" y="60"/>
                  </a:lnTo>
                  <a:lnTo>
                    <a:pt x="296" y="55"/>
                  </a:lnTo>
                  <a:lnTo>
                    <a:pt x="286" y="40"/>
                  </a:lnTo>
                  <a:lnTo>
                    <a:pt x="288" y="27"/>
                  </a:lnTo>
                  <a:lnTo>
                    <a:pt x="298" y="27"/>
                  </a:lnTo>
                  <a:lnTo>
                    <a:pt x="293" y="2"/>
                  </a:lnTo>
                  <a:lnTo>
                    <a:pt x="241" y="0"/>
                  </a:lnTo>
                  <a:lnTo>
                    <a:pt x="216" y="2"/>
                  </a:lnTo>
                  <a:lnTo>
                    <a:pt x="197" y="12"/>
                  </a:lnTo>
                  <a:lnTo>
                    <a:pt x="159" y="15"/>
                  </a:lnTo>
                  <a:lnTo>
                    <a:pt x="144" y="27"/>
                  </a:lnTo>
                  <a:lnTo>
                    <a:pt x="119" y="30"/>
                  </a:lnTo>
                  <a:lnTo>
                    <a:pt x="11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8" name="Freeform 63"/>
            <p:cNvSpPr>
              <a:spLocks/>
            </p:cNvSpPr>
            <p:nvPr/>
          </p:nvSpPr>
          <p:spPr bwMode="auto">
            <a:xfrm>
              <a:off x="5345511" y="4716311"/>
              <a:ext cx="200053" cy="415939"/>
            </a:xfrm>
            <a:custGeom>
              <a:avLst/>
              <a:gdLst>
                <a:gd name="T0" fmla="*/ 107 w 139"/>
                <a:gd name="T1" fmla="*/ 3 h 289"/>
                <a:gd name="T2" fmla="*/ 104 w 139"/>
                <a:gd name="T3" fmla="*/ 28 h 289"/>
                <a:gd name="T4" fmla="*/ 100 w 139"/>
                <a:gd name="T5" fmla="*/ 32 h 289"/>
                <a:gd name="T6" fmla="*/ 97 w 139"/>
                <a:gd name="T7" fmla="*/ 50 h 289"/>
                <a:gd name="T8" fmla="*/ 85 w 139"/>
                <a:gd name="T9" fmla="*/ 50 h 289"/>
                <a:gd name="T10" fmla="*/ 80 w 139"/>
                <a:gd name="T11" fmla="*/ 57 h 289"/>
                <a:gd name="T12" fmla="*/ 77 w 139"/>
                <a:gd name="T13" fmla="*/ 67 h 289"/>
                <a:gd name="T14" fmla="*/ 67 w 139"/>
                <a:gd name="T15" fmla="*/ 75 h 289"/>
                <a:gd name="T16" fmla="*/ 65 w 139"/>
                <a:gd name="T17" fmla="*/ 85 h 289"/>
                <a:gd name="T18" fmla="*/ 57 w 139"/>
                <a:gd name="T19" fmla="*/ 85 h 289"/>
                <a:gd name="T20" fmla="*/ 55 w 139"/>
                <a:gd name="T21" fmla="*/ 75 h 289"/>
                <a:gd name="T22" fmla="*/ 45 w 139"/>
                <a:gd name="T23" fmla="*/ 75 h 289"/>
                <a:gd name="T24" fmla="*/ 42 w 139"/>
                <a:gd name="T25" fmla="*/ 82 h 289"/>
                <a:gd name="T26" fmla="*/ 30 w 139"/>
                <a:gd name="T27" fmla="*/ 87 h 289"/>
                <a:gd name="T28" fmla="*/ 27 w 139"/>
                <a:gd name="T29" fmla="*/ 102 h 289"/>
                <a:gd name="T30" fmla="*/ 20 w 139"/>
                <a:gd name="T31" fmla="*/ 105 h 289"/>
                <a:gd name="T32" fmla="*/ 22 w 139"/>
                <a:gd name="T33" fmla="*/ 154 h 289"/>
                <a:gd name="T34" fmla="*/ 27 w 139"/>
                <a:gd name="T35" fmla="*/ 157 h 289"/>
                <a:gd name="T36" fmla="*/ 30 w 139"/>
                <a:gd name="T37" fmla="*/ 169 h 289"/>
                <a:gd name="T38" fmla="*/ 25 w 139"/>
                <a:gd name="T39" fmla="*/ 174 h 289"/>
                <a:gd name="T40" fmla="*/ 20 w 139"/>
                <a:gd name="T41" fmla="*/ 192 h 289"/>
                <a:gd name="T42" fmla="*/ 13 w 139"/>
                <a:gd name="T43" fmla="*/ 197 h 289"/>
                <a:gd name="T44" fmla="*/ 10 w 139"/>
                <a:gd name="T45" fmla="*/ 204 h 289"/>
                <a:gd name="T46" fmla="*/ 0 w 139"/>
                <a:gd name="T47" fmla="*/ 206 h 289"/>
                <a:gd name="T48" fmla="*/ 0 w 139"/>
                <a:gd name="T49" fmla="*/ 231 h 289"/>
                <a:gd name="T50" fmla="*/ 13 w 139"/>
                <a:gd name="T51" fmla="*/ 231 h 289"/>
                <a:gd name="T52" fmla="*/ 13 w 139"/>
                <a:gd name="T53" fmla="*/ 279 h 289"/>
                <a:gd name="T54" fmla="*/ 25 w 139"/>
                <a:gd name="T55" fmla="*/ 279 h 289"/>
                <a:gd name="T56" fmla="*/ 30 w 139"/>
                <a:gd name="T57" fmla="*/ 286 h 289"/>
                <a:gd name="T58" fmla="*/ 40 w 139"/>
                <a:gd name="T59" fmla="*/ 289 h 289"/>
                <a:gd name="T60" fmla="*/ 50 w 139"/>
                <a:gd name="T61" fmla="*/ 279 h 289"/>
                <a:gd name="T62" fmla="*/ 62 w 139"/>
                <a:gd name="T63" fmla="*/ 276 h 289"/>
                <a:gd name="T64" fmla="*/ 70 w 139"/>
                <a:gd name="T65" fmla="*/ 271 h 289"/>
                <a:gd name="T66" fmla="*/ 80 w 139"/>
                <a:gd name="T67" fmla="*/ 266 h 289"/>
                <a:gd name="T68" fmla="*/ 85 w 139"/>
                <a:gd name="T69" fmla="*/ 241 h 289"/>
                <a:gd name="T70" fmla="*/ 95 w 139"/>
                <a:gd name="T71" fmla="*/ 239 h 289"/>
                <a:gd name="T72" fmla="*/ 95 w 139"/>
                <a:gd name="T73" fmla="*/ 206 h 289"/>
                <a:gd name="T74" fmla="*/ 100 w 139"/>
                <a:gd name="T75" fmla="*/ 204 h 289"/>
                <a:gd name="T76" fmla="*/ 100 w 139"/>
                <a:gd name="T77" fmla="*/ 162 h 289"/>
                <a:gd name="T78" fmla="*/ 112 w 139"/>
                <a:gd name="T79" fmla="*/ 154 h 289"/>
                <a:gd name="T80" fmla="*/ 119 w 139"/>
                <a:gd name="T81" fmla="*/ 147 h 289"/>
                <a:gd name="T82" fmla="*/ 119 w 139"/>
                <a:gd name="T83" fmla="*/ 112 h 289"/>
                <a:gd name="T84" fmla="*/ 129 w 139"/>
                <a:gd name="T85" fmla="*/ 105 h 289"/>
                <a:gd name="T86" fmla="*/ 132 w 139"/>
                <a:gd name="T87" fmla="*/ 77 h 289"/>
                <a:gd name="T88" fmla="*/ 139 w 139"/>
                <a:gd name="T89" fmla="*/ 77 h 289"/>
                <a:gd name="T90" fmla="*/ 139 w 139"/>
                <a:gd name="T91" fmla="*/ 35 h 289"/>
                <a:gd name="T92" fmla="*/ 129 w 139"/>
                <a:gd name="T93" fmla="*/ 28 h 289"/>
                <a:gd name="T94" fmla="*/ 127 w 139"/>
                <a:gd name="T95" fmla="*/ 8 h 289"/>
                <a:gd name="T96" fmla="*/ 117 w 139"/>
                <a:gd name="T97" fmla="*/ 0 h 289"/>
                <a:gd name="T98" fmla="*/ 107 w 139"/>
                <a:gd name="T99" fmla="*/ 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9" h="289">
                  <a:moveTo>
                    <a:pt x="107" y="3"/>
                  </a:moveTo>
                  <a:lnTo>
                    <a:pt x="104" y="28"/>
                  </a:lnTo>
                  <a:lnTo>
                    <a:pt x="100" y="32"/>
                  </a:lnTo>
                  <a:lnTo>
                    <a:pt x="97" y="50"/>
                  </a:lnTo>
                  <a:lnTo>
                    <a:pt x="85" y="50"/>
                  </a:lnTo>
                  <a:lnTo>
                    <a:pt x="80" y="57"/>
                  </a:lnTo>
                  <a:lnTo>
                    <a:pt x="77" y="67"/>
                  </a:lnTo>
                  <a:lnTo>
                    <a:pt x="67" y="75"/>
                  </a:lnTo>
                  <a:lnTo>
                    <a:pt x="65" y="85"/>
                  </a:lnTo>
                  <a:lnTo>
                    <a:pt x="57" y="85"/>
                  </a:lnTo>
                  <a:lnTo>
                    <a:pt x="55" y="75"/>
                  </a:lnTo>
                  <a:lnTo>
                    <a:pt x="45" y="75"/>
                  </a:lnTo>
                  <a:lnTo>
                    <a:pt x="42" y="82"/>
                  </a:lnTo>
                  <a:lnTo>
                    <a:pt x="30" y="87"/>
                  </a:lnTo>
                  <a:lnTo>
                    <a:pt x="27" y="102"/>
                  </a:lnTo>
                  <a:lnTo>
                    <a:pt x="20" y="105"/>
                  </a:lnTo>
                  <a:lnTo>
                    <a:pt x="22" y="154"/>
                  </a:lnTo>
                  <a:lnTo>
                    <a:pt x="27" y="157"/>
                  </a:lnTo>
                  <a:lnTo>
                    <a:pt x="30" y="169"/>
                  </a:lnTo>
                  <a:lnTo>
                    <a:pt x="25" y="174"/>
                  </a:lnTo>
                  <a:lnTo>
                    <a:pt x="20" y="192"/>
                  </a:lnTo>
                  <a:lnTo>
                    <a:pt x="13" y="197"/>
                  </a:lnTo>
                  <a:lnTo>
                    <a:pt x="10" y="204"/>
                  </a:lnTo>
                  <a:lnTo>
                    <a:pt x="0" y="206"/>
                  </a:lnTo>
                  <a:lnTo>
                    <a:pt x="0" y="231"/>
                  </a:lnTo>
                  <a:lnTo>
                    <a:pt x="13" y="231"/>
                  </a:lnTo>
                  <a:lnTo>
                    <a:pt x="13" y="279"/>
                  </a:lnTo>
                  <a:lnTo>
                    <a:pt x="25" y="279"/>
                  </a:lnTo>
                  <a:lnTo>
                    <a:pt x="30" y="286"/>
                  </a:lnTo>
                  <a:lnTo>
                    <a:pt x="40" y="289"/>
                  </a:lnTo>
                  <a:lnTo>
                    <a:pt x="50" y="279"/>
                  </a:lnTo>
                  <a:lnTo>
                    <a:pt x="62" y="276"/>
                  </a:lnTo>
                  <a:lnTo>
                    <a:pt x="70" y="271"/>
                  </a:lnTo>
                  <a:lnTo>
                    <a:pt x="80" y="266"/>
                  </a:lnTo>
                  <a:lnTo>
                    <a:pt x="85" y="241"/>
                  </a:lnTo>
                  <a:lnTo>
                    <a:pt x="95" y="239"/>
                  </a:lnTo>
                  <a:lnTo>
                    <a:pt x="95" y="206"/>
                  </a:lnTo>
                  <a:lnTo>
                    <a:pt x="100" y="204"/>
                  </a:lnTo>
                  <a:lnTo>
                    <a:pt x="100" y="162"/>
                  </a:lnTo>
                  <a:lnTo>
                    <a:pt x="112" y="154"/>
                  </a:lnTo>
                  <a:lnTo>
                    <a:pt x="119" y="147"/>
                  </a:lnTo>
                  <a:lnTo>
                    <a:pt x="119" y="112"/>
                  </a:lnTo>
                  <a:lnTo>
                    <a:pt x="129" y="105"/>
                  </a:lnTo>
                  <a:lnTo>
                    <a:pt x="132" y="77"/>
                  </a:lnTo>
                  <a:lnTo>
                    <a:pt x="139" y="77"/>
                  </a:lnTo>
                  <a:lnTo>
                    <a:pt x="139" y="35"/>
                  </a:lnTo>
                  <a:lnTo>
                    <a:pt x="129" y="28"/>
                  </a:lnTo>
                  <a:lnTo>
                    <a:pt x="127" y="8"/>
                  </a:lnTo>
                  <a:lnTo>
                    <a:pt x="117" y="0"/>
                  </a:lnTo>
                  <a:lnTo>
                    <a:pt x="107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59" name="Freeform 64"/>
            <p:cNvSpPr>
              <a:spLocks/>
            </p:cNvSpPr>
            <p:nvPr/>
          </p:nvSpPr>
          <p:spPr bwMode="auto">
            <a:xfrm>
              <a:off x="4440232" y="3972226"/>
              <a:ext cx="240353" cy="368444"/>
            </a:xfrm>
            <a:custGeom>
              <a:avLst/>
              <a:gdLst>
                <a:gd name="T0" fmla="*/ 0 w 167"/>
                <a:gd name="T1" fmla="*/ 194 h 256"/>
                <a:gd name="T2" fmla="*/ 32 w 167"/>
                <a:gd name="T3" fmla="*/ 167 h 256"/>
                <a:gd name="T4" fmla="*/ 42 w 167"/>
                <a:gd name="T5" fmla="*/ 152 h 256"/>
                <a:gd name="T6" fmla="*/ 57 w 167"/>
                <a:gd name="T7" fmla="*/ 139 h 256"/>
                <a:gd name="T8" fmla="*/ 77 w 167"/>
                <a:gd name="T9" fmla="*/ 124 h 256"/>
                <a:gd name="T10" fmla="*/ 87 w 167"/>
                <a:gd name="T11" fmla="*/ 105 h 256"/>
                <a:gd name="T12" fmla="*/ 97 w 167"/>
                <a:gd name="T13" fmla="*/ 70 h 256"/>
                <a:gd name="T14" fmla="*/ 102 w 167"/>
                <a:gd name="T15" fmla="*/ 62 h 256"/>
                <a:gd name="T16" fmla="*/ 112 w 167"/>
                <a:gd name="T17" fmla="*/ 55 h 256"/>
                <a:gd name="T18" fmla="*/ 114 w 167"/>
                <a:gd name="T19" fmla="*/ 30 h 256"/>
                <a:gd name="T20" fmla="*/ 112 w 167"/>
                <a:gd name="T21" fmla="*/ 0 h 256"/>
                <a:gd name="T22" fmla="*/ 119 w 167"/>
                <a:gd name="T23" fmla="*/ 0 h 256"/>
                <a:gd name="T24" fmla="*/ 122 w 167"/>
                <a:gd name="T25" fmla="*/ 13 h 256"/>
                <a:gd name="T26" fmla="*/ 127 w 167"/>
                <a:gd name="T27" fmla="*/ 23 h 256"/>
                <a:gd name="T28" fmla="*/ 134 w 167"/>
                <a:gd name="T29" fmla="*/ 37 h 256"/>
                <a:gd name="T30" fmla="*/ 134 w 167"/>
                <a:gd name="T31" fmla="*/ 47 h 256"/>
                <a:gd name="T32" fmla="*/ 127 w 167"/>
                <a:gd name="T33" fmla="*/ 52 h 256"/>
                <a:gd name="T34" fmla="*/ 132 w 167"/>
                <a:gd name="T35" fmla="*/ 55 h 256"/>
                <a:gd name="T36" fmla="*/ 134 w 167"/>
                <a:gd name="T37" fmla="*/ 67 h 256"/>
                <a:gd name="T38" fmla="*/ 142 w 167"/>
                <a:gd name="T39" fmla="*/ 75 h 256"/>
                <a:gd name="T40" fmla="*/ 139 w 167"/>
                <a:gd name="T41" fmla="*/ 85 h 256"/>
                <a:gd name="T42" fmla="*/ 132 w 167"/>
                <a:gd name="T43" fmla="*/ 90 h 256"/>
                <a:gd name="T44" fmla="*/ 132 w 167"/>
                <a:gd name="T45" fmla="*/ 100 h 256"/>
                <a:gd name="T46" fmla="*/ 147 w 167"/>
                <a:gd name="T47" fmla="*/ 117 h 256"/>
                <a:gd name="T48" fmla="*/ 157 w 167"/>
                <a:gd name="T49" fmla="*/ 137 h 256"/>
                <a:gd name="T50" fmla="*/ 147 w 167"/>
                <a:gd name="T51" fmla="*/ 147 h 256"/>
                <a:gd name="T52" fmla="*/ 139 w 167"/>
                <a:gd name="T53" fmla="*/ 172 h 256"/>
                <a:gd name="T54" fmla="*/ 152 w 167"/>
                <a:gd name="T55" fmla="*/ 192 h 256"/>
                <a:gd name="T56" fmla="*/ 162 w 167"/>
                <a:gd name="T57" fmla="*/ 216 h 256"/>
                <a:gd name="T58" fmla="*/ 167 w 167"/>
                <a:gd name="T59" fmla="*/ 226 h 256"/>
                <a:gd name="T60" fmla="*/ 112 w 167"/>
                <a:gd name="T61" fmla="*/ 234 h 256"/>
                <a:gd name="T62" fmla="*/ 85 w 167"/>
                <a:gd name="T63" fmla="*/ 236 h 256"/>
                <a:gd name="T64" fmla="*/ 75 w 167"/>
                <a:gd name="T65" fmla="*/ 246 h 256"/>
                <a:gd name="T66" fmla="*/ 75 w 167"/>
                <a:gd name="T67" fmla="*/ 254 h 256"/>
                <a:gd name="T68" fmla="*/ 47 w 167"/>
                <a:gd name="T69" fmla="*/ 256 h 256"/>
                <a:gd name="T70" fmla="*/ 45 w 167"/>
                <a:gd name="T71" fmla="*/ 239 h 256"/>
                <a:gd name="T72" fmla="*/ 55 w 167"/>
                <a:gd name="T73" fmla="*/ 219 h 256"/>
                <a:gd name="T74" fmla="*/ 45 w 167"/>
                <a:gd name="T75" fmla="*/ 209 h 256"/>
                <a:gd name="T76" fmla="*/ 27 w 167"/>
                <a:gd name="T77" fmla="*/ 201 h 256"/>
                <a:gd name="T78" fmla="*/ 0 w 167"/>
                <a:gd name="T79" fmla="*/ 19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" h="256">
                  <a:moveTo>
                    <a:pt x="0" y="194"/>
                  </a:moveTo>
                  <a:lnTo>
                    <a:pt x="32" y="167"/>
                  </a:lnTo>
                  <a:lnTo>
                    <a:pt x="42" y="152"/>
                  </a:lnTo>
                  <a:lnTo>
                    <a:pt x="57" y="139"/>
                  </a:lnTo>
                  <a:lnTo>
                    <a:pt x="77" y="124"/>
                  </a:lnTo>
                  <a:lnTo>
                    <a:pt x="87" y="105"/>
                  </a:lnTo>
                  <a:lnTo>
                    <a:pt x="97" y="70"/>
                  </a:lnTo>
                  <a:lnTo>
                    <a:pt x="102" y="62"/>
                  </a:lnTo>
                  <a:lnTo>
                    <a:pt x="112" y="55"/>
                  </a:lnTo>
                  <a:lnTo>
                    <a:pt x="114" y="30"/>
                  </a:lnTo>
                  <a:lnTo>
                    <a:pt x="112" y="0"/>
                  </a:lnTo>
                  <a:lnTo>
                    <a:pt x="119" y="0"/>
                  </a:lnTo>
                  <a:lnTo>
                    <a:pt x="122" y="13"/>
                  </a:lnTo>
                  <a:lnTo>
                    <a:pt x="127" y="23"/>
                  </a:lnTo>
                  <a:lnTo>
                    <a:pt x="134" y="37"/>
                  </a:lnTo>
                  <a:lnTo>
                    <a:pt x="134" y="47"/>
                  </a:lnTo>
                  <a:lnTo>
                    <a:pt x="127" y="52"/>
                  </a:lnTo>
                  <a:lnTo>
                    <a:pt x="132" y="55"/>
                  </a:lnTo>
                  <a:lnTo>
                    <a:pt x="134" y="67"/>
                  </a:lnTo>
                  <a:lnTo>
                    <a:pt x="142" y="75"/>
                  </a:lnTo>
                  <a:lnTo>
                    <a:pt x="139" y="85"/>
                  </a:lnTo>
                  <a:lnTo>
                    <a:pt x="132" y="90"/>
                  </a:lnTo>
                  <a:lnTo>
                    <a:pt x="132" y="100"/>
                  </a:lnTo>
                  <a:lnTo>
                    <a:pt x="147" y="117"/>
                  </a:lnTo>
                  <a:lnTo>
                    <a:pt x="157" y="137"/>
                  </a:lnTo>
                  <a:lnTo>
                    <a:pt x="147" y="147"/>
                  </a:lnTo>
                  <a:lnTo>
                    <a:pt x="139" y="172"/>
                  </a:lnTo>
                  <a:lnTo>
                    <a:pt x="152" y="192"/>
                  </a:lnTo>
                  <a:lnTo>
                    <a:pt x="162" y="216"/>
                  </a:lnTo>
                  <a:lnTo>
                    <a:pt x="167" y="226"/>
                  </a:lnTo>
                  <a:lnTo>
                    <a:pt x="112" y="234"/>
                  </a:lnTo>
                  <a:lnTo>
                    <a:pt x="85" y="236"/>
                  </a:lnTo>
                  <a:lnTo>
                    <a:pt x="75" y="246"/>
                  </a:lnTo>
                  <a:lnTo>
                    <a:pt x="75" y="254"/>
                  </a:lnTo>
                  <a:lnTo>
                    <a:pt x="47" y="256"/>
                  </a:lnTo>
                  <a:lnTo>
                    <a:pt x="45" y="239"/>
                  </a:lnTo>
                  <a:lnTo>
                    <a:pt x="55" y="219"/>
                  </a:lnTo>
                  <a:lnTo>
                    <a:pt x="45" y="209"/>
                  </a:lnTo>
                  <a:lnTo>
                    <a:pt x="27" y="201"/>
                  </a:lnTo>
                  <a:lnTo>
                    <a:pt x="0" y="19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0" name="Freeform 65"/>
            <p:cNvSpPr>
              <a:spLocks/>
            </p:cNvSpPr>
            <p:nvPr/>
          </p:nvSpPr>
          <p:spPr bwMode="auto">
            <a:xfrm>
              <a:off x="2272743" y="4025478"/>
              <a:ext cx="292165" cy="437528"/>
            </a:xfrm>
            <a:custGeom>
              <a:avLst/>
              <a:gdLst>
                <a:gd name="T0" fmla="*/ 29 w 203"/>
                <a:gd name="T1" fmla="*/ 117 h 304"/>
                <a:gd name="T2" fmla="*/ 32 w 203"/>
                <a:gd name="T3" fmla="*/ 77 h 304"/>
                <a:gd name="T4" fmla="*/ 49 w 203"/>
                <a:gd name="T5" fmla="*/ 92 h 304"/>
                <a:gd name="T6" fmla="*/ 52 w 203"/>
                <a:gd name="T7" fmla="*/ 65 h 304"/>
                <a:gd name="T8" fmla="*/ 69 w 203"/>
                <a:gd name="T9" fmla="*/ 58 h 304"/>
                <a:gd name="T10" fmla="*/ 72 w 203"/>
                <a:gd name="T11" fmla="*/ 38 h 304"/>
                <a:gd name="T12" fmla="*/ 92 w 203"/>
                <a:gd name="T13" fmla="*/ 23 h 304"/>
                <a:gd name="T14" fmla="*/ 111 w 203"/>
                <a:gd name="T15" fmla="*/ 23 h 304"/>
                <a:gd name="T16" fmla="*/ 116 w 203"/>
                <a:gd name="T17" fmla="*/ 5 h 304"/>
                <a:gd name="T18" fmla="*/ 131 w 203"/>
                <a:gd name="T19" fmla="*/ 0 h 304"/>
                <a:gd name="T20" fmla="*/ 139 w 203"/>
                <a:gd name="T21" fmla="*/ 5 h 304"/>
                <a:gd name="T22" fmla="*/ 126 w 203"/>
                <a:gd name="T23" fmla="*/ 23 h 304"/>
                <a:gd name="T24" fmla="*/ 116 w 203"/>
                <a:gd name="T25" fmla="*/ 53 h 304"/>
                <a:gd name="T26" fmla="*/ 107 w 203"/>
                <a:gd name="T27" fmla="*/ 60 h 304"/>
                <a:gd name="T28" fmla="*/ 121 w 203"/>
                <a:gd name="T29" fmla="*/ 82 h 304"/>
                <a:gd name="T30" fmla="*/ 116 w 203"/>
                <a:gd name="T31" fmla="*/ 102 h 304"/>
                <a:gd name="T32" fmla="*/ 149 w 203"/>
                <a:gd name="T33" fmla="*/ 105 h 304"/>
                <a:gd name="T34" fmla="*/ 149 w 203"/>
                <a:gd name="T35" fmla="*/ 117 h 304"/>
                <a:gd name="T36" fmla="*/ 176 w 203"/>
                <a:gd name="T37" fmla="*/ 130 h 304"/>
                <a:gd name="T38" fmla="*/ 203 w 203"/>
                <a:gd name="T39" fmla="*/ 140 h 304"/>
                <a:gd name="T40" fmla="*/ 203 w 203"/>
                <a:gd name="T41" fmla="*/ 174 h 304"/>
                <a:gd name="T42" fmla="*/ 198 w 203"/>
                <a:gd name="T43" fmla="*/ 194 h 304"/>
                <a:gd name="T44" fmla="*/ 201 w 203"/>
                <a:gd name="T45" fmla="*/ 212 h 304"/>
                <a:gd name="T46" fmla="*/ 171 w 203"/>
                <a:gd name="T47" fmla="*/ 222 h 304"/>
                <a:gd name="T48" fmla="*/ 164 w 203"/>
                <a:gd name="T49" fmla="*/ 234 h 304"/>
                <a:gd name="T50" fmla="*/ 171 w 203"/>
                <a:gd name="T51" fmla="*/ 244 h 304"/>
                <a:gd name="T52" fmla="*/ 164 w 203"/>
                <a:gd name="T53" fmla="*/ 251 h 304"/>
                <a:gd name="T54" fmla="*/ 166 w 203"/>
                <a:gd name="T55" fmla="*/ 286 h 304"/>
                <a:gd name="T56" fmla="*/ 166 w 203"/>
                <a:gd name="T57" fmla="*/ 301 h 304"/>
                <a:gd name="T58" fmla="*/ 149 w 203"/>
                <a:gd name="T59" fmla="*/ 304 h 304"/>
                <a:gd name="T60" fmla="*/ 134 w 203"/>
                <a:gd name="T61" fmla="*/ 291 h 304"/>
                <a:gd name="T62" fmla="*/ 102 w 203"/>
                <a:gd name="T63" fmla="*/ 289 h 304"/>
                <a:gd name="T64" fmla="*/ 87 w 203"/>
                <a:gd name="T65" fmla="*/ 269 h 304"/>
                <a:gd name="T66" fmla="*/ 69 w 203"/>
                <a:gd name="T67" fmla="*/ 256 h 304"/>
                <a:gd name="T68" fmla="*/ 54 w 203"/>
                <a:gd name="T69" fmla="*/ 244 h 304"/>
                <a:gd name="T70" fmla="*/ 27 w 203"/>
                <a:gd name="T71" fmla="*/ 247 h 304"/>
                <a:gd name="T72" fmla="*/ 0 w 203"/>
                <a:gd name="T73" fmla="*/ 232 h 304"/>
                <a:gd name="T74" fmla="*/ 15 w 203"/>
                <a:gd name="T75" fmla="*/ 212 h 304"/>
                <a:gd name="T76" fmla="*/ 17 w 203"/>
                <a:gd name="T77" fmla="*/ 199 h 304"/>
                <a:gd name="T78" fmla="*/ 34 w 203"/>
                <a:gd name="T79" fmla="*/ 197 h 304"/>
                <a:gd name="T80" fmla="*/ 29 w 203"/>
                <a:gd name="T81" fmla="*/ 117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3" h="304">
                  <a:moveTo>
                    <a:pt x="29" y="117"/>
                  </a:moveTo>
                  <a:lnTo>
                    <a:pt x="32" y="77"/>
                  </a:lnTo>
                  <a:lnTo>
                    <a:pt x="49" y="92"/>
                  </a:lnTo>
                  <a:lnTo>
                    <a:pt x="52" y="65"/>
                  </a:lnTo>
                  <a:lnTo>
                    <a:pt x="69" y="58"/>
                  </a:lnTo>
                  <a:lnTo>
                    <a:pt x="72" y="38"/>
                  </a:lnTo>
                  <a:lnTo>
                    <a:pt x="92" y="23"/>
                  </a:lnTo>
                  <a:lnTo>
                    <a:pt x="111" y="23"/>
                  </a:lnTo>
                  <a:lnTo>
                    <a:pt x="116" y="5"/>
                  </a:lnTo>
                  <a:lnTo>
                    <a:pt x="131" y="0"/>
                  </a:lnTo>
                  <a:lnTo>
                    <a:pt x="139" y="5"/>
                  </a:lnTo>
                  <a:lnTo>
                    <a:pt x="126" y="23"/>
                  </a:lnTo>
                  <a:lnTo>
                    <a:pt x="116" y="53"/>
                  </a:lnTo>
                  <a:lnTo>
                    <a:pt x="107" y="60"/>
                  </a:lnTo>
                  <a:lnTo>
                    <a:pt x="121" y="82"/>
                  </a:lnTo>
                  <a:lnTo>
                    <a:pt x="116" y="102"/>
                  </a:lnTo>
                  <a:lnTo>
                    <a:pt x="149" y="105"/>
                  </a:lnTo>
                  <a:lnTo>
                    <a:pt x="149" y="117"/>
                  </a:lnTo>
                  <a:lnTo>
                    <a:pt x="176" y="130"/>
                  </a:lnTo>
                  <a:lnTo>
                    <a:pt x="203" y="140"/>
                  </a:lnTo>
                  <a:lnTo>
                    <a:pt x="203" y="174"/>
                  </a:lnTo>
                  <a:lnTo>
                    <a:pt x="198" y="194"/>
                  </a:lnTo>
                  <a:lnTo>
                    <a:pt x="201" y="212"/>
                  </a:lnTo>
                  <a:lnTo>
                    <a:pt x="171" y="222"/>
                  </a:lnTo>
                  <a:lnTo>
                    <a:pt x="164" y="234"/>
                  </a:lnTo>
                  <a:lnTo>
                    <a:pt x="171" y="244"/>
                  </a:lnTo>
                  <a:lnTo>
                    <a:pt x="164" y="251"/>
                  </a:lnTo>
                  <a:lnTo>
                    <a:pt x="166" y="286"/>
                  </a:lnTo>
                  <a:lnTo>
                    <a:pt x="166" y="301"/>
                  </a:lnTo>
                  <a:lnTo>
                    <a:pt x="149" y="304"/>
                  </a:lnTo>
                  <a:lnTo>
                    <a:pt x="134" y="291"/>
                  </a:lnTo>
                  <a:lnTo>
                    <a:pt x="102" y="289"/>
                  </a:lnTo>
                  <a:lnTo>
                    <a:pt x="87" y="269"/>
                  </a:lnTo>
                  <a:lnTo>
                    <a:pt x="69" y="256"/>
                  </a:lnTo>
                  <a:lnTo>
                    <a:pt x="54" y="244"/>
                  </a:lnTo>
                  <a:lnTo>
                    <a:pt x="27" y="247"/>
                  </a:lnTo>
                  <a:lnTo>
                    <a:pt x="0" y="232"/>
                  </a:lnTo>
                  <a:lnTo>
                    <a:pt x="15" y="212"/>
                  </a:lnTo>
                  <a:lnTo>
                    <a:pt x="17" y="199"/>
                  </a:lnTo>
                  <a:lnTo>
                    <a:pt x="34" y="197"/>
                  </a:lnTo>
                  <a:lnTo>
                    <a:pt x="29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1" name="Freeform 66"/>
            <p:cNvSpPr>
              <a:spLocks/>
            </p:cNvSpPr>
            <p:nvPr/>
          </p:nvSpPr>
          <p:spPr bwMode="auto">
            <a:xfrm>
              <a:off x="5453454" y="2676915"/>
              <a:ext cx="936943" cy="476386"/>
            </a:xfrm>
            <a:custGeom>
              <a:avLst/>
              <a:gdLst>
                <a:gd name="T0" fmla="*/ 636 w 651"/>
                <a:gd name="T1" fmla="*/ 95 h 331"/>
                <a:gd name="T2" fmla="*/ 596 w 651"/>
                <a:gd name="T3" fmla="*/ 70 h 331"/>
                <a:gd name="T4" fmla="*/ 554 w 651"/>
                <a:gd name="T5" fmla="*/ 20 h 331"/>
                <a:gd name="T6" fmla="*/ 502 w 651"/>
                <a:gd name="T7" fmla="*/ 30 h 331"/>
                <a:gd name="T8" fmla="*/ 482 w 651"/>
                <a:gd name="T9" fmla="*/ 13 h 331"/>
                <a:gd name="T10" fmla="*/ 432 w 651"/>
                <a:gd name="T11" fmla="*/ 5 h 331"/>
                <a:gd name="T12" fmla="*/ 363 w 651"/>
                <a:gd name="T13" fmla="*/ 8 h 331"/>
                <a:gd name="T14" fmla="*/ 325 w 651"/>
                <a:gd name="T15" fmla="*/ 5 h 331"/>
                <a:gd name="T16" fmla="*/ 310 w 651"/>
                <a:gd name="T17" fmla="*/ 40 h 331"/>
                <a:gd name="T18" fmla="*/ 293 w 651"/>
                <a:gd name="T19" fmla="*/ 48 h 331"/>
                <a:gd name="T20" fmla="*/ 293 w 651"/>
                <a:gd name="T21" fmla="*/ 52 h 331"/>
                <a:gd name="T22" fmla="*/ 300 w 651"/>
                <a:gd name="T23" fmla="*/ 72 h 331"/>
                <a:gd name="T24" fmla="*/ 273 w 651"/>
                <a:gd name="T25" fmla="*/ 77 h 331"/>
                <a:gd name="T26" fmla="*/ 218 w 651"/>
                <a:gd name="T27" fmla="*/ 60 h 331"/>
                <a:gd name="T28" fmla="*/ 204 w 651"/>
                <a:gd name="T29" fmla="*/ 43 h 331"/>
                <a:gd name="T30" fmla="*/ 131 w 651"/>
                <a:gd name="T31" fmla="*/ 13 h 331"/>
                <a:gd name="T32" fmla="*/ 82 w 651"/>
                <a:gd name="T33" fmla="*/ 15 h 331"/>
                <a:gd name="T34" fmla="*/ 54 w 651"/>
                <a:gd name="T35" fmla="*/ 8 h 331"/>
                <a:gd name="T36" fmla="*/ 0 w 651"/>
                <a:gd name="T37" fmla="*/ 70 h 331"/>
                <a:gd name="T38" fmla="*/ 29 w 651"/>
                <a:gd name="T39" fmla="*/ 105 h 331"/>
                <a:gd name="T40" fmla="*/ 15 w 651"/>
                <a:gd name="T41" fmla="*/ 147 h 331"/>
                <a:gd name="T42" fmla="*/ 29 w 651"/>
                <a:gd name="T43" fmla="*/ 172 h 331"/>
                <a:gd name="T44" fmla="*/ 59 w 651"/>
                <a:gd name="T45" fmla="*/ 169 h 331"/>
                <a:gd name="T46" fmla="*/ 67 w 651"/>
                <a:gd name="T47" fmla="*/ 199 h 331"/>
                <a:gd name="T48" fmla="*/ 47 w 651"/>
                <a:gd name="T49" fmla="*/ 209 h 331"/>
                <a:gd name="T50" fmla="*/ 37 w 651"/>
                <a:gd name="T51" fmla="*/ 234 h 331"/>
                <a:gd name="T52" fmla="*/ 25 w 651"/>
                <a:gd name="T53" fmla="*/ 246 h 331"/>
                <a:gd name="T54" fmla="*/ 59 w 651"/>
                <a:gd name="T55" fmla="*/ 264 h 331"/>
                <a:gd name="T56" fmla="*/ 72 w 651"/>
                <a:gd name="T57" fmla="*/ 279 h 331"/>
                <a:gd name="T58" fmla="*/ 99 w 651"/>
                <a:gd name="T59" fmla="*/ 306 h 331"/>
                <a:gd name="T60" fmla="*/ 129 w 651"/>
                <a:gd name="T61" fmla="*/ 304 h 331"/>
                <a:gd name="T62" fmla="*/ 146 w 651"/>
                <a:gd name="T63" fmla="*/ 321 h 331"/>
                <a:gd name="T64" fmla="*/ 196 w 651"/>
                <a:gd name="T65" fmla="*/ 202 h 331"/>
                <a:gd name="T66" fmla="*/ 213 w 651"/>
                <a:gd name="T67" fmla="*/ 177 h 331"/>
                <a:gd name="T68" fmla="*/ 248 w 651"/>
                <a:gd name="T69" fmla="*/ 207 h 331"/>
                <a:gd name="T70" fmla="*/ 251 w 651"/>
                <a:gd name="T71" fmla="*/ 226 h 331"/>
                <a:gd name="T72" fmla="*/ 268 w 651"/>
                <a:gd name="T73" fmla="*/ 264 h 331"/>
                <a:gd name="T74" fmla="*/ 310 w 651"/>
                <a:gd name="T75" fmla="*/ 261 h 331"/>
                <a:gd name="T76" fmla="*/ 333 w 651"/>
                <a:gd name="T77" fmla="*/ 296 h 331"/>
                <a:gd name="T78" fmla="*/ 363 w 651"/>
                <a:gd name="T79" fmla="*/ 323 h 331"/>
                <a:gd name="T80" fmla="*/ 392 w 651"/>
                <a:gd name="T81" fmla="*/ 316 h 331"/>
                <a:gd name="T82" fmla="*/ 442 w 651"/>
                <a:gd name="T83" fmla="*/ 291 h 331"/>
                <a:gd name="T84" fmla="*/ 412 w 651"/>
                <a:gd name="T85" fmla="*/ 281 h 331"/>
                <a:gd name="T86" fmla="*/ 405 w 651"/>
                <a:gd name="T87" fmla="*/ 256 h 331"/>
                <a:gd name="T88" fmla="*/ 402 w 651"/>
                <a:gd name="T89" fmla="*/ 239 h 331"/>
                <a:gd name="T90" fmla="*/ 432 w 651"/>
                <a:gd name="T91" fmla="*/ 246 h 331"/>
                <a:gd name="T92" fmla="*/ 462 w 651"/>
                <a:gd name="T93" fmla="*/ 226 h 331"/>
                <a:gd name="T94" fmla="*/ 514 w 651"/>
                <a:gd name="T95" fmla="*/ 231 h 331"/>
                <a:gd name="T96" fmla="*/ 557 w 651"/>
                <a:gd name="T97" fmla="*/ 249 h 331"/>
                <a:gd name="T98" fmla="*/ 564 w 651"/>
                <a:gd name="T99" fmla="*/ 217 h 331"/>
                <a:gd name="T100" fmla="*/ 606 w 651"/>
                <a:gd name="T101" fmla="*/ 212 h 331"/>
                <a:gd name="T102" fmla="*/ 621 w 651"/>
                <a:gd name="T103" fmla="*/ 164 h 331"/>
                <a:gd name="T104" fmla="*/ 641 w 651"/>
                <a:gd name="T105" fmla="*/ 1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1" h="331">
                  <a:moveTo>
                    <a:pt x="651" y="139"/>
                  </a:moveTo>
                  <a:lnTo>
                    <a:pt x="636" y="95"/>
                  </a:lnTo>
                  <a:lnTo>
                    <a:pt x="606" y="85"/>
                  </a:lnTo>
                  <a:lnTo>
                    <a:pt x="596" y="70"/>
                  </a:lnTo>
                  <a:lnTo>
                    <a:pt x="579" y="70"/>
                  </a:lnTo>
                  <a:lnTo>
                    <a:pt x="554" y="20"/>
                  </a:lnTo>
                  <a:lnTo>
                    <a:pt x="529" y="20"/>
                  </a:lnTo>
                  <a:lnTo>
                    <a:pt x="502" y="30"/>
                  </a:lnTo>
                  <a:lnTo>
                    <a:pt x="482" y="28"/>
                  </a:lnTo>
                  <a:lnTo>
                    <a:pt x="482" y="13"/>
                  </a:lnTo>
                  <a:lnTo>
                    <a:pt x="465" y="0"/>
                  </a:lnTo>
                  <a:lnTo>
                    <a:pt x="432" y="5"/>
                  </a:lnTo>
                  <a:lnTo>
                    <a:pt x="405" y="13"/>
                  </a:lnTo>
                  <a:lnTo>
                    <a:pt x="363" y="8"/>
                  </a:lnTo>
                  <a:lnTo>
                    <a:pt x="338" y="3"/>
                  </a:lnTo>
                  <a:lnTo>
                    <a:pt x="325" y="5"/>
                  </a:lnTo>
                  <a:lnTo>
                    <a:pt x="330" y="30"/>
                  </a:lnTo>
                  <a:lnTo>
                    <a:pt x="310" y="40"/>
                  </a:lnTo>
                  <a:lnTo>
                    <a:pt x="303" y="45"/>
                  </a:lnTo>
                  <a:lnTo>
                    <a:pt x="293" y="48"/>
                  </a:lnTo>
                  <a:lnTo>
                    <a:pt x="291" y="50"/>
                  </a:lnTo>
                  <a:lnTo>
                    <a:pt x="293" y="52"/>
                  </a:lnTo>
                  <a:lnTo>
                    <a:pt x="295" y="60"/>
                  </a:lnTo>
                  <a:lnTo>
                    <a:pt x="300" y="72"/>
                  </a:lnTo>
                  <a:lnTo>
                    <a:pt x="291" y="82"/>
                  </a:lnTo>
                  <a:lnTo>
                    <a:pt x="273" y="77"/>
                  </a:lnTo>
                  <a:lnTo>
                    <a:pt x="241" y="57"/>
                  </a:lnTo>
                  <a:lnTo>
                    <a:pt x="218" y="60"/>
                  </a:lnTo>
                  <a:lnTo>
                    <a:pt x="201" y="55"/>
                  </a:lnTo>
                  <a:lnTo>
                    <a:pt x="204" y="43"/>
                  </a:lnTo>
                  <a:lnTo>
                    <a:pt x="159" y="15"/>
                  </a:lnTo>
                  <a:lnTo>
                    <a:pt x="131" y="13"/>
                  </a:lnTo>
                  <a:lnTo>
                    <a:pt x="104" y="8"/>
                  </a:lnTo>
                  <a:lnTo>
                    <a:pt x="82" y="15"/>
                  </a:lnTo>
                  <a:lnTo>
                    <a:pt x="74" y="30"/>
                  </a:lnTo>
                  <a:lnTo>
                    <a:pt x="54" y="8"/>
                  </a:lnTo>
                  <a:lnTo>
                    <a:pt x="25" y="43"/>
                  </a:lnTo>
                  <a:lnTo>
                    <a:pt x="0" y="70"/>
                  </a:lnTo>
                  <a:lnTo>
                    <a:pt x="7" y="92"/>
                  </a:lnTo>
                  <a:lnTo>
                    <a:pt x="29" y="105"/>
                  </a:lnTo>
                  <a:lnTo>
                    <a:pt x="32" y="127"/>
                  </a:lnTo>
                  <a:lnTo>
                    <a:pt x="15" y="147"/>
                  </a:lnTo>
                  <a:lnTo>
                    <a:pt x="7" y="177"/>
                  </a:lnTo>
                  <a:lnTo>
                    <a:pt x="29" y="172"/>
                  </a:lnTo>
                  <a:lnTo>
                    <a:pt x="54" y="179"/>
                  </a:lnTo>
                  <a:lnTo>
                    <a:pt x="59" y="169"/>
                  </a:lnTo>
                  <a:lnTo>
                    <a:pt x="72" y="177"/>
                  </a:lnTo>
                  <a:lnTo>
                    <a:pt x="67" y="199"/>
                  </a:lnTo>
                  <a:lnTo>
                    <a:pt x="72" y="209"/>
                  </a:lnTo>
                  <a:lnTo>
                    <a:pt x="47" y="209"/>
                  </a:lnTo>
                  <a:lnTo>
                    <a:pt x="37" y="219"/>
                  </a:lnTo>
                  <a:lnTo>
                    <a:pt x="37" y="234"/>
                  </a:lnTo>
                  <a:lnTo>
                    <a:pt x="22" y="234"/>
                  </a:lnTo>
                  <a:lnTo>
                    <a:pt x="25" y="246"/>
                  </a:lnTo>
                  <a:lnTo>
                    <a:pt x="32" y="264"/>
                  </a:lnTo>
                  <a:lnTo>
                    <a:pt x="59" y="264"/>
                  </a:lnTo>
                  <a:lnTo>
                    <a:pt x="67" y="296"/>
                  </a:lnTo>
                  <a:lnTo>
                    <a:pt x="72" y="279"/>
                  </a:lnTo>
                  <a:lnTo>
                    <a:pt x="94" y="281"/>
                  </a:lnTo>
                  <a:lnTo>
                    <a:pt x="99" y="306"/>
                  </a:lnTo>
                  <a:lnTo>
                    <a:pt x="114" y="299"/>
                  </a:lnTo>
                  <a:lnTo>
                    <a:pt x="129" y="304"/>
                  </a:lnTo>
                  <a:lnTo>
                    <a:pt x="129" y="316"/>
                  </a:lnTo>
                  <a:lnTo>
                    <a:pt x="146" y="321"/>
                  </a:lnTo>
                  <a:lnTo>
                    <a:pt x="159" y="231"/>
                  </a:lnTo>
                  <a:lnTo>
                    <a:pt x="196" y="202"/>
                  </a:lnTo>
                  <a:lnTo>
                    <a:pt x="213" y="199"/>
                  </a:lnTo>
                  <a:lnTo>
                    <a:pt x="213" y="177"/>
                  </a:lnTo>
                  <a:lnTo>
                    <a:pt x="248" y="177"/>
                  </a:lnTo>
                  <a:lnTo>
                    <a:pt x="248" y="207"/>
                  </a:lnTo>
                  <a:lnTo>
                    <a:pt x="258" y="219"/>
                  </a:lnTo>
                  <a:lnTo>
                    <a:pt x="251" y="226"/>
                  </a:lnTo>
                  <a:lnTo>
                    <a:pt x="263" y="249"/>
                  </a:lnTo>
                  <a:lnTo>
                    <a:pt x="268" y="264"/>
                  </a:lnTo>
                  <a:lnTo>
                    <a:pt x="291" y="256"/>
                  </a:lnTo>
                  <a:lnTo>
                    <a:pt x="310" y="261"/>
                  </a:lnTo>
                  <a:lnTo>
                    <a:pt x="330" y="269"/>
                  </a:lnTo>
                  <a:lnTo>
                    <a:pt x="333" y="296"/>
                  </a:lnTo>
                  <a:lnTo>
                    <a:pt x="338" y="311"/>
                  </a:lnTo>
                  <a:lnTo>
                    <a:pt x="363" y="323"/>
                  </a:lnTo>
                  <a:lnTo>
                    <a:pt x="373" y="331"/>
                  </a:lnTo>
                  <a:lnTo>
                    <a:pt x="392" y="316"/>
                  </a:lnTo>
                  <a:lnTo>
                    <a:pt x="435" y="301"/>
                  </a:lnTo>
                  <a:lnTo>
                    <a:pt x="442" y="291"/>
                  </a:lnTo>
                  <a:lnTo>
                    <a:pt x="427" y="279"/>
                  </a:lnTo>
                  <a:lnTo>
                    <a:pt x="412" y="281"/>
                  </a:lnTo>
                  <a:lnTo>
                    <a:pt x="397" y="269"/>
                  </a:lnTo>
                  <a:lnTo>
                    <a:pt x="405" y="256"/>
                  </a:lnTo>
                  <a:lnTo>
                    <a:pt x="402" y="244"/>
                  </a:lnTo>
                  <a:lnTo>
                    <a:pt x="402" y="239"/>
                  </a:lnTo>
                  <a:lnTo>
                    <a:pt x="415" y="229"/>
                  </a:lnTo>
                  <a:lnTo>
                    <a:pt x="432" y="246"/>
                  </a:lnTo>
                  <a:lnTo>
                    <a:pt x="440" y="231"/>
                  </a:lnTo>
                  <a:lnTo>
                    <a:pt x="462" y="226"/>
                  </a:lnTo>
                  <a:lnTo>
                    <a:pt x="474" y="239"/>
                  </a:lnTo>
                  <a:lnTo>
                    <a:pt x="514" y="231"/>
                  </a:lnTo>
                  <a:lnTo>
                    <a:pt x="537" y="234"/>
                  </a:lnTo>
                  <a:lnTo>
                    <a:pt x="557" y="249"/>
                  </a:lnTo>
                  <a:lnTo>
                    <a:pt x="564" y="241"/>
                  </a:lnTo>
                  <a:lnTo>
                    <a:pt x="564" y="217"/>
                  </a:lnTo>
                  <a:lnTo>
                    <a:pt x="584" y="207"/>
                  </a:lnTo>
                  <a:lnTo>
                    <a:pt x="606" y="212"/>
                  </a:lnTo>
                  <a:lnTo>
                    <a:pt x="614" y="172"/>
                  </a:lnTo>
                  <a:lnTo>
                    <a:pt x="621" y="164"/>
                  </a:lnTo>
                  <a:lnTo>
                    <a:pt x="636" y="159"/>
                  </a:lnTo>
                  <a:lnTo>
                    <a:pt x="641" y="147"/>
                  </a:lnTo>
                  <a:lnTo>
                    <a:pt x="651" y="13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2" name="Freeform 67"/>
            <p:cNvSpPr>
              <a:spLocks/>
            </p:cNvSpPr>
            <p:nvPr/>
          </p:nvSpPr>
          <p:spPr bwMode="auto">
            <a:xfrm>
              <a:off x="5990289" y="3002182"/>
              <a:ext cx="264819" cy="201493"/>
            </a:xfrm>
            <a:custGeom>
              <a:avLst/>
              <a:gdLst>
                <a:gd name="T0" fmla="*/ 144 w 184"/>
                <a:gd name="T1" fmla="*/ 40 h 140"/>
                <a:gd name="T2" fmla="*/ 156 w 184"/>
                <a:gd name="T3" fmla="*/ 48 h 140"/>
                <a:gd name="T4" fmla="*/ 156 w 184"/>
                <a:gd name="T5" fmla="*/ 95 h 140"/>
                <a:gd name="T6" fmla="*/ 141 w 184"/>
                <a:gd name="T7" fmla="*/ 102 h 140"/>
                <a:gd name="T8" fmla="*/ 134 w 184"/>
                <a:gd name="T9" fmla="*/ 112 h 140"/>
                <a:gd name="T10" fmla="*/ 104 w 184"/>
                <a:gd name="T11" fmla="*/ 120 h 140"/>
                <a:gd name="T12" fmla="*/ 106 w 184"/>
                <a:gd name="T13" fmla="*/ 130 h 140"/>
                <a:gd name="T14" fmla="*/ 99 w 184"/>
                <a:gd name="T15" fmla="*/ 140 h 140"/>
                <a:gd name="T16" fmla="*/ 82 w 184"/>
                <a:gd name="T17" fmla="*/ 95 h 140"/>
                <a:gd name="T18" fmla="*/ 62 w 184"/>
                <a:gd name="T19" fmla="*/ 110 h 140"/>
                <a:gd name="T20" fmla="*/ 42 w 184"/>
                <a:gd name="T21" fmla="*/ 112 h 140"/>
                <a:gd name="T22" fmla="*/ 0 w 184"/>
                <a:gd name="T23" fmla="*/ 105 h 140"/>
                <a:gd name="T24" fmla="*/ 19 w 184"/>
                <a:gd name="T25" fmla="*/ 90 h 140"/>
                <a:gd name="T26" fmla="*/ 62 w 184"/>
                <a:gd name="T27" fmla="*/ 75 h 140"/>
                <a:gd name="T28" fmla="*/ 69 w 184"/>
                <a:gd name="T29" fmla="*/ 65 h 140"/>
                <a:gd name="T30" fmla="*/ 54 w 184"/>
                <a:gd name="T31" fmla="*/ 53 h 140"/>
                <a:gd name="T32" fmla="*/ 39 w 184"/>
                <a:gd name="T33" fmla="*/ 55 h 140"/>
                <a:gd name="T34" fmla="*/ 24 w 184"/>
                <a:gd name="T35" fmla="*/ 43 h 140"/>
                <a:gd name="T36" fmla="*/ 32 w 184"/>
                <a:gd name="T37" fmla="*/ 30 h 140"/>
                <a:gd name="T38" fmla="*/ 29 w 184"/>
                <a:gd name="T39" fmla="*/ 13 h 140"/>
                <a:gd name="T40" fmla="*/ 42 w 184"/>
                <a:gd name="T41" fmla="*/ 3 h 140"/>
                <a:gd name="T42" fmla="*/ 59 w 184"/>
                <a:gd name="T43" fmla="*/ 20 h 140"/>
                <a:gd name="T44" fmla="*/ 67 w 184"/>
                <a:gd name="T45" fmla="*/ 5 h 140"/>
                <a:gd name="T46" fmla="*/ 89 w 184"/>
                <a:gd name="T47" fmla="*/ 0 h 140"/>
                <a:gd name="T48" fmla="*/ 101 w 184"/>
                <a:gd name="T49" fmla="*/ 13 h 140"/>
                <a:gd name="T50" fmla="*/ 141 w 184"/>
                <a:gd name="T51" fmla="*/ 5 h 140"/>
                <a:gd name="T52" fmla="*/ 164 w 184"/>
                <a:gd name="T53" fmla="*/ 8 h 140"/>
                <a:gd name="T54" fmla="*/ 184 w 184"/>
                <a:gd name="T55" fmla="*/ 23 h 140"/>
                <a:gd name="T56" fmla="*/ 144 w 184"/>
                <a:gd name="T57" fmla="*/ 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4" h="140">
                  <a:moveTo>
                    <a:pt x="144" y="40"/>
                  </a:moveTo>
                  <a:lnTo>
                    <a:pt x="156" y="48"/>
                  </a:lnTo>
                  <a:lnTo>
                    <a:pt x="156" y="95"/>
                  </a:lnTo>
                  <a:lnTo>
                    <a:pt x="141" y="102"/>
                  </a:lnTo>
                  <a:lnTo>
                    <a:pt x="134" y="112"/>
                  </a:lnTo>
                  <a:lnTo>
                    <a:pt x="104" y="120"/>
                  </a:lnTo>
                  <a:lnTo>
                    <a:pt x="106" y="130"/>
                  </a:lnTo>
                  <a:lnTo>
                    <a:pt x="99" y="140"/>
                  </a:lnTo>
                  <a:lnTo>
                    <a:pt x="82" y="95"/>
                  </a:lnTo>
                  <a:lnTo>
                    <a:pt x="62" y="110"/>
                  </a:lnTo>
                  <a:lnTo>
                    <a:pt x="42" y="112"/>
                  </a:lnTo>
                  <a:lnTo>
                    <a:pt x="0" y="105"/>
                  </a:lnTo>
                  <a:lnTo>
                    <a:pt x="19" y="90"/>
                  </a:lnTo>
                  <a:lnTo>
                    <a:pt x="62" y="75"/>
                  </a:lnTo>
                  <a:lnTo>
                    <a:pt x="69" y="65"/>
                  </a:lnTo>
                  <a:lnTo>
                    <a:pt x="54" y="53"/>
                  </a:lnTo>
                  <a:lnTo>
                    <a:pt x="39" y="55"/>
                  </a:lnTo>
                  <a:lnTo>
                    <a:pt x="24" y="43"/>
                  </a:lnTo>
                  <a:lnTo>
                    <a:pt x="32" y="30"/>
                  </a:lnTo>
                  <a:lnTo>
                    <a:pt x="29" y="13"/>
                  </a:lnTo>
                  <a:lnTo>
                    <a:pt x="42" y="3"/>
                  </a:lnTo>
                  <a:lnTo>
                    <a:pt x="59" y="20"/>
                  </a:lnTo>
                  <a:lnTo>
                    <a:pt x="67" y="5"/>
                  </a:lnTo>
                  <a:lnTo>
                    <a:pt x="89" y="0"/>
                  </a:lnTo>
                  <a:lnTo>
                    <a:pt x="101" y="13"/>
                  </a:lnTo>
                  <a:lnTo>
                    <a:pt x="141" y="5"/>
                  </a:lnTo>
                  <a:lnTo>
                    <a:pt x="164" y="8"/>
                  </a:lnTo>
                  <a:lnTo>
                    <a:pt x="184" y="23"/>
                  </a:lnTo>
                  <a:lnTo>
                    <a:pt x="144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3" name="Freeform 70"/>
            <p:cNvSpPr>
              <a:spLocks/>
            </p:cNvSpPr>
            <p:nvPr/>
          </p:nvSpPr>
          <p:spPr bwMode="auto">
            <a:xfrm>
              <a:off x="5203027" y="2992107"/>
              <a:ext cx="153999" cy="115139"/>
            </a:xfrm>
            <a:custGeom>
              <a:avLst/>
              <a:gdLst>
                <a:gd name="T0" fmla="*/ 0 w 107"/>
                <a:gd name="T1" fmla="*/ 22 h 80"/>
                <a:gd name="T2" fmla="*/ 37 w 107"/>
                <a:gd name="T3" fmla="*/ 0 h 80"/>
                <a:gd name="T4" fmla="*/ 59 w 107"/>
                <a:gd name="T5" fmla="*/ 12 h 80"/>
                <a:gd name="T6" fmla="*/ 74 w 107"/>
                <a:gd name="T7" fmla="*/ 12 h 80"/>
                <a:gd name="T8" fmla="*/ 89 w 107"/>
                <a:gd name="T9" fmla="*/ 27 h 80"/>
                <a:gd name="T10" fmla="*/ 107 w 107"/>
                <a:gd name="T11" fmla="*/ 47 h 80"/>
                <a:gd name="T12" fmla="*/ 97 w 107"/>
                <a:gd name="T13" fmla="*/ 70 h 80"/>
                <a:gd name="T14" fmla="*/ 77 w 107"/>
                <a:gd name="T15" fmla="*/ 77 h 80"/>
                <a:gd name="T16" fmla="*/ 54 w 107"/>
                <a:gd name="T17" fmla="*/ 80 h 80"/>
                <a:gd name="T18" fmla="*/ 49 w 107"/>
                <a:gd name="T19" fmla="*/ 62 h 80"/>
                <a:gd name="T20" fmla="*/ 42 w 107"/>
                <a:gd name="T21" fmla="*/ 47 h 80"/>
                <a:gd name="T22" fmla="*/ 17 w 107"/>
                <a:gd name="T23" fmla="*/ 40 h 80"/>
                <a:gd name="T24" fmla="*/ 0 w 107"/>
                <a:gd name="T25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80">
                  <a:moveTo>
                    <a:pt x="0" y="22"/>
                  </a:moveTo>
                  <a:lnTo>
                    <a:pt x="37" y="0"/>
                  </a:lnTo>
                  <a:lnTo>
                    <a:pt x="59" y="12"/>
                  </a:lnTo>
                  <a:lnTo>
                    <a:pt x="74" y="12"/>
                  </a:lnTo>
                  <a:lnTo>
                    <a:pt x="89" y="27"/>
                  </a:lnTo>
                  <a:lnTo>
                    <a:pt x="107" y="47"/>
                  </a:lnTo>
                  <a:lnTo>
                    <a:pt x="97" y="70"/>
                  </a:lnTo>
                  <a:lnTo>
                    <a:pt x="77" y="77"/>
                  </a:lnTo>
                  <a:lnTo>
                    <a:pt x="54" y="80"/>
                  </a:lnTo>
                  <a:lnTo>
                    <a:pt x="49" y="62"/>
                  </a:lnTo>
                  <a:lnTo>
                    <a:pt x="42" y="47"/>
                  </a:lnTo>
                  <a:lnTo>
                    <a:pt x="17" y="40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4" name="Freeform 71"/>
            <p:cNvSpPr>
              <a:spLocks/>
            </p:cNvSpPr>
            <p:nvPr/>
          </p:nvSpPr>
          <p:spPr bwMode="auto">
            <a:xfrm>
              <a:off x="4584155" y="2069557"/>
              <a:ext cx="27346" cy="14392"/>
            </a:xfrm>
            <a:custGeom>
              <a:avLst/>
              <a:gdLst>
                <a:gd name="T0" fmla="*/ 7 w 19"/>
                <a:gd name="T1" fmla="*/ 0 h 10"/>
                <a:gd name="T2" fmla="*/ 0 w 19"/>
                <a:gd name="T3" fmla="*/ 10 h 10"/>
                <a:gd name="T4" fmla="*/ 14 w 19"/>
                <a:gd name="T5" fmla="*/ 10 h 10"/>
                <a:gd name="T6" fmla="*/ 19 w 19"/>
                <a:gd name="T7" fmla="*/ 0 h 10"/>
                <a:gd name="T8" fmla="*/ 7 w 1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7" y="0"/>
                  </a:moveTo>
                  <a:lnTo>
                    <a:pt x="0" y="10"/>
                  </a:lnTo>
                  <a:lnTo>
                    <a:pt x="14" y="10"/>
                  </a:lnTo>
                  <a:lnTo>
                    <a:pt x="19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5" name="Freeform 72"/>
            <p:cNvSpPr>
              <a:spLocks/>
            </p:cNvSpPr>
            <p:nvPr/>
          </p:nvSpPr>
          <p:spPr bwMode="auto">
            <a:xfrm>
              <a:off x="4633089" y="2043651"/>
              <a:ext cx="28785" cy="57569"/>
            </a:xfrm>
            <a:custGeom>
              <a:avLst/>
              <a:gdLst>
                <a:gd name="T0" fmla="*/ 0 w 20"/>
                <a:gd name="T1" fmla="*/ 0 h 40"/>
                <a:gd name="T2" fmla="*/ 3 w 20"/>
                <a:gd name="T3" fmla="*/ 18 h 40"/>
                <a:gd name="T4" fmla="*/ 13 w 20"/>
                <a:gd name="T5" fmla="*/ 20 h 40"/>
                <a:gd name="T6" fmla="*/ 15 w 20"/>
                <a:gd name="T7" fmla="*/ 40 h 40"/>
                <a:gd name="T8" fmla="*/ 20 w 20"/>
                <a:gd name="T9" fmla="*/ 28 h 40"/>
                <a:gd name="T10" fmla="*/ 20 w 20"/>
                <a:gd name="T11" fmla="*/ 15 h 40"/>
                <a:gd name="T12" fmla="*/ 18 w 20"/>
                <a:gd name="T13" fmla="*/ 0 h 40"/>
                <a:gd name="T14" fmla="*/ 0 w 20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40">
                  <a:moveTo>
                    <a:pt x="0" y="0"/>
                  </a:moveTo>
                  <a:lnTo>
                    <a:pt x="3" y="18"/>
                  </a:lnTo>
                  <a:lnTo>
                    <a:pt x="13" y="20"/>
                  </a:lnTo>
                  <a:lnTo>
                    <a:pt x="15" y="40"/>
                  </a:lnTo>
                  <a:lnTo>
                    <a:pt x="20" y="28"/>
                  </a:lnTo>
                  <a:lnTo>
                    <a:pt x="20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6" name="Freeform 73"/>
            <p:cNvSpPr>
              <a:spLocks/>
            </p:cNvSpPr>
            <p:nvPr/>
          </p:nvSpPr>
          <p:spPr bwMode="auto">
            <a:xfrm>
              <a:off x="4676266" y="2047968"/>
              <a:ext cx="21589" cy="21589"/>
            </a:xfrm>
            <a:custGeom>
              <a:avLst/>
              <a:gdLst>
                <a:gd name="T0" fmla="*/ 0 w 15"/>
                <a:gd name="T1" fmla="*/ 5 h 15"/>
                <a:gd name="T2" fmla="*/ 8 w 15"/>
                <a:gd name="T3" fmla="*/ 15 h 15"/>
                <a:gd name="T4" fmla="*/ 15 w 15"/>
                <a:gd name="T5" fmla="*/ 0 h 15"/>
                <a:gd name="T6" fmla="*/ 0 w 15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5"/>
                  </a:moveTo>
                  <a:lnTo>
                    <a:pt x="8" y="15"/>
                  </a:lnTo>
                  <a:lnTo>
                    <a:pt x="1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7" name="Freeform 74"/>
            <p:cNvSpPr>
              <a:spLocks/>
            </p:cNvSpPr>
            <p:nvPr/>
          </p:nvSpPr>
          <p:spPr bwMode="auto">
            <a:xfrm>
              <a:off x="6802018" y="4072973"/>
              <a:ext cx="125213" cy="246109"/>
            </a:xfrm>
            <a:custGeom>
              <a:avLst/>
              <a:gdLst>
                <a:gd name="T0" fmla="*/ 55 w 87"/>
                <a:gd name="T1" fmla="*/ 57 h 171"/>
                <a:gd name="T2" fmla="*/ 30 w 87"/>
                <a:gd name="T3" fmla="*/ 44 h 171"/>
                <a:gd name="T4" fmla="*/ 15 w 87"/>
                <a:gd name="T5" fmla="*/ 0 h 171"/>
                <a:gd name="T6" fmla="*/ 0 w 87"/>
                <a:gd name="T7" fmla="*/ 17 h 171"/>
                <a:gd name="T8" fmla="*/ 2 w 87"/>
                <a:gd name="T9" fmla="*/ 44 h 171"/>
                <a:gd name="T10" fmla="*/ 10 w 87"/>
                <a:gd name="T11" fmla="*/ 114 h 171"/>
                <a:gd name="T12" fmla="*/ 32 w 87"/>
                <a:gd name="T13" fmla="*/ 144 h 171"/>
                <a:gd name="T14" fmla="*/ 50 w 87"/>
                <a:gd name="T15" fmla="*/ 164 h 171"/>
                <a:gd name="T16" fmla="*/ 87 w 87"/>
                <a:gd name="T17" fmla="*/ 171 h 171"/>
                <a:gd name="T18" fmla="*/ 87 w 87"/>
                <a:gd name="T19" fmla="*/ 156 h 171"/>
                <a:gd name="T20" fmla="*/ 82 w 87"/>
                <a:gd name="T21" fmla="*/ 97 h 171"/>
                <a:gd name="T22" fmla="*/ 55 w 87"/>
                <a:gd name="T23" fmla="*/ 5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71">
                  <a:moveTo>
                    <a:pt x="55" y="57"/>
                  </a:moveTo>
                  <a:lnTo>
                    <a:pt x="30" y="44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2" y="44"/>
                  </a:lnTo>
                  <a:lnTo>
                    <a:pt x="10" y="114"/>
                  </a:lnTo>
                  <a:lnTo>
                    <a:pt x="32" y="144"/>
                  </a:lnTo>
                  <a:lnTo>
                    <a:pt x="50" y="164"/>
                  </a:lnTo>
                  <a:lnTo>
                    <a:pt x="87" y="171"/>
                  </a:lnTo>
                  <a:lnTo>
                    <a:pt x="87" y="156"/>
                  </a:lnTo>
                  <a:lnTo>
                    <a:pt x="82" y="97"/>
                  </a:lnTo>
                  <a:lnTo>
                    <a:pt x="5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8" name="Freeform 75"/>
            <p:cNvSpPr>
              <a:spLocks/>
            </p:cNvSpPr>
            <p:nvPr/>
          </p:nvSpPr>
          <p:spPr bwMode="auto">
            <a:xfrm>
              <a:off x="4765499" y="4891897"/>
              <a:ext cx="240353" cy="279212"/>
            </a:xfrm>
            <a:custGeom>
              <a:avLst/>
              <a:gdLst>
                <a:gd name="T0" fmla="*/ 58 w 167"/>
                <a:gd name="T1" fmla="*/ 2 h 194"/>
                <a:gd name="T2" fmla="*/ 105 w 167"/>
                <a:gd name="T3" fmla="*/ 5 h 194"/>
                <a:gd name="T4" fmla="*/ 112 w 167"/>
                <a:gd name="T5" fmla="*/ 32 h 194"/>
                <a:gd name="T6" fmla="*/ 112 w 167"/>
                <a:gd name="T7" fmla="*/ 45 h 194"/>
                <a:gd name="T8" fmla="*/ 122 w 167"/>
                <a:gd name="T9" fmla="*/ 50 h 194"/>
                <a:gd name="T10" fmla="*/ 127 w 167"/>
                <a:gd name="T11" fmla="*/ 65 h 194"/>
                <a:gd name="T12" fmla="*/ 137 w 167"/>
                <a:gd name="T13" fmla="*/ 67 h 194"/>
                <a:gd name="T14" fmla="*/ 142 w 167"/>
                <a:gd name="T15" fmla="*/ 84 h 194"/>
                <a:gd name="T16" fmla="*/ 150 w 167"/>
                <a:gd name="T17" fmla="*/ 87 h 194"/>
                <a:gd name="T18" fmla="*/ 167 w 167"/>
                <a:gd name="T19" fmla="*/ 94 h 194"/>
                <a:gd name="T20" fmla="*/ 164 w 167"/>
                <a:gd name="T21" fmla="*/ 104 h 194"/>
                <a:gd name="T22" fmla="*/ 152 w 167"/>
                <a:gd name="T23" fmla="*/ 114 h 194"/>
                <a:gd name="T24" fmla="*/ 142 w 167"/>
                <a:gd name="T25" fmla="*/ 124 h 194"/>
                <a:gd name="T26" fmla="*/ 130 w 167"/>
                <a:gd name="T27" fmla="*/ 132 h 194"/>
                <a:gd name="T28" fmla="*/ 125 w 167"/>
                <a:gd name="T29" fmla="*/ 149 h 194"/>
                <a:gd name="T30" fmla="*/ 112 w 167"/>
                <a:gd name="T31" fmla="*/ 152 h 194"/>
                <a:gd name="T32" fmla="*/ 105 w 167"/>
                <a:gd name="T33" fmla="*/ 162 h 194"/>
                <a:gd name="T34" fmla="*/ 95 w 167"/>
                <a:gd name="T35" fmla="*/ 174 h 194"/>
                <a:gd name="T36" fmla="*/ 77 w 167"/>
                <a:gd name="T37" fmla="*/ 174 h 194"/>
                <a:gd name="T38" fmla="*/ 65 w 167"/>
                <a:gd name="T39" fmla="*/ 167 h 194"/>
                <a:gd name="T40" fmla="*/ 55 w 167"/>
                <a:gd name="T41" fmla="*/ 167 h 194"/>
                <a:gd name="T42" fmla="*/ 50 w 167"/>
                <a:gd name="T43" fmla="*/ 176 h 194"/>
                <a:gd name="T44" fmla="*/ 45 w 167"/>
                <a:gd name="T45" fmla="*/ 186 h 194"/>
                <a:gd name="T46" fmla="*/ 35 w 167"/>
                <a:gd name="T47" fmla="*/ 194 h 194"/>
                <a:gd name="T48" fmla="*/ 13 w 167"/>
                <a:gd name="T49" fmla="*/ 189 h 194"/>
                <a:gd name="T50" fmla="*/ 8 w 167"/>
                <a:gd name="T51" fmla="*/ 169 h 194"/>
                <a:gd name="T52" fmla="*/ 0 w 167"/>
                <a:gd name="T53" fmla="*/ 162 h 194"/>
                <a:gd name="T54" fmla="*/ 0 w 167"/>
                <a:gd name="T55" fmla="*/ 99 h 194"/>
                <a:gd name="T56" fmla="*/ 8 w 167"/>
                <a:gd name="T57" fmla="*/ 94 h 194"/>
                <a:gd name="T58" fmla="*/ 18 w 167"/>
                <a:gd name="T59" fmla="*/ 87 h 194"/>
                <a:gd name="T60" fmla="*/ 18 w 167"/>
                <a:gd name="T61" fmla="*/ 25 h 194"/>
                <a:gd name="T62" fmla="*/ 28 w 167"/>
                <a:gd name="T63" fmla="*/ 7 h 194"/>
                <a:gd name="T64" fmla="*/ 48 w 167"/>
                <a:gd name="T65" fmla="*/ 0 h 194"/>
                <a:gd name="T66" fmla="*/ 58 w 167"/>
                <a:gd name="T67" fmla="*/ 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194">
                  <a:moveTo>
                    <a:pt x="58" y="2"/>
                  </a:moveTo>
                  <a:lnTo>
                    <a:pt x="105" y="5"/>
                  </a:lnTo>
                  <a:lnTo>
                    <a:pt x="112" y="32"/>
                  </a:lnTo>
                  <a:lnTo>
                    <a:pt x="112" y="45"/>
                  </a:lnTo>
                  <a:lnTo>
                    <a:pt x="122" y="50"/>
                  </a:lnTo>
                  <a:lnTo>
                    <a:pt x="127" y="65"/>
                  </a:lnTo>
                  <a:lnTo>
                    <a:pt x="137" y="67"/>
                  </a:lnTo>
                  <a:lnTo>
                    <a:pt x="142" y="84"/>
                  </a:lnTo>
                  <a:lnTo>
                    <a:pt x="150" y="87"/>
                  </a:lnTo>
                  <a:lnTo>
                    <a:pt x="167" y="94"/>
                  </a:lnTo>
                  <a:lnTo>
                    <a:pt x="164" y="104"/>
                  </a:lnTo>
                  <a:lnTo>
                    <a:pt x="152" y="114"/>
                  </a:lnTo>
                  <a:lnTo>
                    <a:pt x="142" y="124"/>
                  </a:lnTo>
                  <a:lnTo>
                    <a:pt x="130" y="132"/>
                  </a:lnTo>
                  <a:lnTo>
                    <a:pt x="125" y="149"/>
                  </a:lnTo>
                  <a:lnTo>
                    <a:pt x="112" y="152"/>
                  </a:lnTo>
                  <a:lnTo>
                    <a:pt x="105" y="162"/>
                  </a:lnTo>
                  <a:lnTo>
                    <a:pt x="95" y="174"/>
                  </a:lnTo>
                  <a:lnTo>
                    <a:pt x="77" y="174"/>
                  </a:lnTo>
                  <a:lnTo>
                    <a:pt x="65" y="167"/>
                  </a:lnTo>
                  <a:lnTo>
                    <a:pt x="55" y="167"/>
                  </a:lnTo>
                  <a:lnTo>
                    <a:pt x="50" y="176"/>
                  </a:lnTo>
                  <a:lnTo>
                    <a:pt x="45" y="186"/>
                  </a:lnTo>
                  <a:lnTo>
                    <a:pt x="35" y="194"/>
                  </a:lnTo>
                  <a:lnTo>
                    <a:pt x="13" y="189"/>
                  </a:lnTo>
                  <a:lnTo>
                    <a:pt x="8" y="169"/>
                  </a:lnTo>
                  <a:lnTo>
                    <a:pt x="0" y="162"/>
                  </a:lnTo>
                  <a:lnTo>
                    <a:pt x="0" y="99"/>
                  </a:lnTo>
                  <a:lnTo>
                    <a:pt x="8" y="94"/>
                  </a:lnTo>
                  <a:lnTo>
                    <a:pt x="18" y="87"/>
                  </a:lnTo>
                  <a:lnTo>
                    <a:pt x="18" y="25"/>
                  </a:lnTo>
                  <a:lnTo>
                    <a:pt x="28" y="7"/>
                  </a:lnTo>
                  <a:lnTo>
                    <a:pt x="48" y="0"/>
                  </a:lnTo>
                  <a:lnTo>
                    <a:pt x="58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69" name="Freeform 76"/>
            <p:cNvSpPr>
              <a:spLocks/>
            </p:cNvSpPr>
            <p:nvPr/>
          </p:nvSpPr>
          <p:spPr bwMode="auto">
            <a:xfrm>
              <a:off x="7102817" y="4670255"/>
              <a:ext cx="1016100" cy="869298"/>
            </a:xfrm>
            <a:custGeom>
              <a:avLst/>
              <a:gdLst>
                <a:gd name="T0" fmla="*/ 365 w 706"/>
                <a:gd name="T1" fmla="*/ 40 h 604"/>
                <a:gd name="T2" fmla="*/ 318 w 706"/>
                <a:gd name="T3" fmla="*/ 62 h 604"/>
                <a:gd name="T4" fmla="*/ 313 w 706"/>
                <a:gd name="T5" fmla="*/ 89 h 604"/>
                <a:gd name="T6" fmla="*/ 283 w 706"/>
                <a:gd name="T7" fmla="*/ 79 h 604"/>
                <a:gd name="T8" fmla="*/ 246 w 706"/>
                <a:gd name="T9" fmla="*/ 74 h 604"/>
                <a:gd name="T10" fmla="*/ 226 w 706"/>
                <a:gd name="T11" fmla="*/ 104 h 604"/>
                <a:gd name="T12" fmla="*/ 201 w 706"/>
                <a:gd name="T13" fmla="*/ 124 h 604"/>
                <a:gd name="T14" fmla="*/ 194 w 706"/>
                <a:gd name="T15" fmla="*/ 139 h 604"/>
                <a:gd name="T16" fmla="*/ 179 w 706"/>
                <a:gd name="T17" fmla="*/ 156 h 604"/>
                <a:gd name="T18" fmla="*/ 129 w 706"/>
                <a:gd name="T19" fmla="*/ 199 h 604"/>
                <a:gd name="T20" fmla="*/ 37 w 706"/>
                <a:gd name="T21" fmla="*/ 243 h 604"/>
                <a:gd name="T22" fmla="*/ 12 w 706"/>
                <a:gd name="T23" fmla="*/ 306 h 604"/>
                <a:gd name="T24" fmla="*/ 22 w 706"/>
                <a:gd name="T25" fmla="*/ 325 h 604"/>
                <a:gd name="T26" fmla="*/ 0 w 706"/>
                <a:gd name="T27" fmla="*/ 333 h 604"/>
                <a:gd name="T28" fmla="*/ 22 w 706"/>
                <a:gd name="T29" fmla="*/ 385 h 604"/>
                <a:gd name="T30" fmla="*/ 22 w 706"/>
                <a:gd name="T31" fmla="*/ 425 h 604"/>
                <a:gd name="T32" fmla="*/ 32 w 706"/>
                <a:gd name="T33" fmla="*/ 465 h 604"/>
                <a:gd name="T34" fmla="*/ 15 w 706"/>
                <a:gd name="T35" fmla="*/ 480 h 604"/>
                <a:gd name="T36" fmla="*/ 44 w 706"/>
                <a:gd name="T37" fmla="*/ 522 h 604"/>
                <a:gd name="T38" fmla="*/ 67 w 706"/>
                <a:gd name="T39" fmla="*/ 517 h 604"/>
                <a:gd name="T40" fmla="*/ 102 w 706"/>
                <a:gd name="T41" fmla="*/ 507 h 604"/>
                <a:gd name="T42" fmla="*/ 176 w 706"/>
                <a:gd name="T43" fmla="*/ 482 h 604"/>
                <a:gd name="T44" fmla="*/ 251 w 706"/>
                <a:gd name="T45" fmla="*/ 462 h 604"/>
                <a:gd name="T46" fmla="*/ 286 w 706"/>
                <a:gd name="T47" fmla="*/ 450 h 604"/>
                <a:gd name="T48" fmla="*/ 303 w 706"/>
                <a:gd name="T49" fmla="*/ 455 h 604"/>
                <a:gd name="T50" fmla="*/ 343 w 706"/>
                <a:gd name="T51" fmla="*/ 470 h 604"/>
                <a:gd name="T52" fmla="*/ 358 w 706"/>
                <a:gd name="T53" fmla="*/ 514 h 604"/>
                <a:gd name="T54" fmla="*/ 383 w 706"/>
                <a:gd name="T55" fmla="*/ 504 h 604"/>
                <a:gd name="T56" fmla="*/ 407 w 706"/>
                <a:gd name="T57" fmla="*/ 470 h 604"/>
                <a:gd name="T58" fmla="*/ 402 w 706"/>
                <a:gd name="T59" fmla="*/ 502 h 604"/>
                <a:gd name="T60" fmla="*/ 405 w 706"/>
                <a:gd name="T61" fmla="*/ 519 h 604"/>
                <a:gd name="T62" fmla="*/ 415 w 706"/>
                <a:gd name="T63" fmla="*/ 499 h 604"/>
                <a:gd name="T64" fmla="*/ 417 w 706"/>
                <a:gd name="T65" fmla="*/ 519 h 604"/>
                <a:gd name="T66" fmla="*/ 430 w 706"/>
                <a:gd name="T67" fmla="*/ 544 h 604"/>
                <a:gd name="T68" fmla="*/ 440 w 706"/>
                <a:gd name="T69" fmla="*/ 579 h 604"/>
                <a:gd name="T70" fmla="*/ 524 w 706"/>
                <a:gd name="T71" fmla="*/ 604 h 604"/>
                <a:gd name="T72" fmla="*/ 604 w 706"/>
                <a:gd name="T73" fmla="*/ 567 h 604"/>
                <a:gd name="T74" fmla="*/ 641 w 706"/>
                <a:gd name="T75" fmla="*/ 509 h 604"/>
                <a:gd name="T76" fmla="*/ 686 w 706"/>
                <a:gd name="T77" fmla="*/ 450 h 604"/>
                <a:gd name="T78" fmla="*/ 696 w 706"/>
                <a:gd name="T79" fmla="*/ 388 h 604"/>
                <a:gd name="T80" fmla="*/ 706 w 706"/>
                <a:gd name="T81" fmla="*/ 308 h 604"/>
                <a:gd name="T82" fmla="*/ 673 w 706"/>
                <a:gd name="T83" fmla="*/ 246 h 604"/>
                <a:gd name="T84" fmla="*/ 644 w 706"/>
                <a:gd name="T85" fmla="*/ 204 h 604"/>
                <a:gd name="T86" fmla="*/ 606 w 706"/>
                <a:gd name="T87" fmla="*/ 144 h 604"/>
                <a:gd name="T88" fmla="*/ 571 w 706"/>
                <a:gd name="T89" fmla="*/ 74 h 604"/>
                <a:gd name="T90" fmla="*/ 569 w 706"/>
                <a:gd name="T91" fmla="*/ 22 h 604"/>
                <a:gd name="T92" fmla="*/ 539 w 706"/>
                <a:gd name="T93" fmla="*/ 22 h 604"/>
                <a:gd name="T94" fmla="*/ 529 w 706"/>
                <a:gd name="T95" fmla="*/ 109 h 604"/>
                <a:gd name="T96" fmla="*/ 512 w 706"/>
                <a:gd name="T97" fmla="*/ 139 h 604"/>
                <a:gd name="T98" fmla="*/ 472 w 706"/>
                <a:gd name="T99" fmla="*/ 122 h 604"/>
                <a:gd name="T100" fmla="*/ 435 w 706"/>
                <a:gd name="T101" fmla="*/ 99 h 604"/>
                <a:gd name="T102" fmla="*/ 427 w 706"/>
                <a:gd name="T103" fmla="*/ 74 h 604"/>
                <a:gd name="T104" fmla="*/ 445 w 706"/>
                <a:gd name="T105" fmla="*/ 55 h 604"/>
                <a:gd name="T106" fmla="*/ 427 w 706"/>
                <a:gd name="T107" fmla="*/ 30 h 604"/>
                <a:gd name="T108" fmla="*/ 378 w 706"/>
                <a:gd name="T109" fmla="*/ 15 h 604"/>
                <a:gd name="T110" fmla="*/ 348 w 706"/>
                <a:gd name="T111" fmla="*/ 17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6" h="604">
                  <a:moveTo>
                    <a:pt x="360" y="25"/>
                  </a:moveTo>
                  <a:lnTo>
                    <a:pt x="365" y="40"/>
                  </a:lnTo>
                  <a:lnTo>
                    <a:pt x="330" y="45"/>
                  </a:lnTo>
                  <a:lnTo>
                    <a:pt x="318" y="62"/>
                  </a:lnTo>
                  <a:lnTo>
                    <a:pt x="315" y="72"/>
                  </a:lnTo>
                  <a:lnTo>
                    <a:pt x="313" y="89"/>
                  </a:lnTo>
                  <a:lnTo>
                    <a:pt x="291" y="94"/>
                  </a:lnTo>
                  <a:lnTo>
                    <a:pt x="283" y="79"/>
                  </a:lnTo>
                  <a:lnTo>
                    <a:pt x="273" y="67"/>
                  </a:lnTo>
                  <a:lnTo>
                    <a:pt x="246" y="74"/>
                  </a:lnTo>
                  <a:lnTo>
                    <a:pt x="241" y="89"/>
                  </a:lnTo>
                  <a:lnTo>
                    <a:pt x="226" y="104"/>
                  </a:lnTo>
                  <a:lnTo>
                    <a:pt x="211" y="112"/>
                  </a:lnTo>
                  <a:lnTo>
                    <a:pt x="201" y="124"/>
                  </a:lnTo>
                  <a:lnTo>
                    <a:pt x="201" y="139"/>
                  </a:lnTo>
                  <a:lnTo>
                    <a:pt x="194" y="139"/>
                  </a:lnTo>
                  <a:lnTo>
                    <a:pt x="184" y="124"/>
                  </a:lnTo>
                  <a:lnTo>
                    <a:pt x="179" y="156"/>
                  </a:lnTo>
                  <a:lnTo>
                    <a:pt x="154" y="189"/>
                  </a:lnTo>
                  <a:lnTo>
                    <a:pt x="129" y="199"/>
                  </a:lnTo>
                  <a:lnTo>
                    <a:pt x="67" y="216"/>
                  </a:lnTo>
                  <a:lnTo>
                    <a:pt x="37" y="243"/>
                  </a:lnTo>
                  <a:lnTo>
                    <a:pt x="7" y="246"/>
                  </a:lnTo>
                  <a:lnTo>
                    <a:pt x="12" y="306"/>
                  </a:lnTo>
                  <a:lnTo>
                    <a:pt x="25" y="313"/>
                  </a:lnTo>
                  <a:lnTo>
                    <a:pt x="22" y="325"/>
                  </a:lnTo>
                  <a:lnTo>
                    <a:pt x="2" y="313"/>
                  </a:lnTo>
                  <a:lnTo>
                    <a:pt x="0" y="333"/>
                  </a:lnTo>
                  <a:lnTo>
                    <a:pt x="10" y="365"/>
                  </a:lnTo>
                  <a:lnTo>
                    <a:pt x="22" y="385"/>
                  </a:lnTo>
                  <a:lnTo>
                    <a:pt x="22" y="408"/>
                  </a:lnTo>
                  <a:lnTo>
                    <a:pt x="22" y="425"/>
                  </a:lnTo>
                  <a:lnTo>
                    <a:pt x="30" y="430"/>
                  </a:lnTo>
                  <a:lnTo>
                    <a:pt x="32" y="465"/>
                  </a:lnTo>
                  <a:lnTo>
                    <a:pt x="22" y="465"/>
                  </a:lnTo>
                  <a:lnTo>
                    <a:pt x="15" y="480"/>
                  </a:lnTo>
                  <a:lnTo>
                    <a:pt x="7" y="490"/>
                  </a:lnTo>
                  <a:lnTo>
                    <a:pt x="44" y="522"/>
                  </a:lnTo>
                  <a:lnTo>
                    <a:pt x="59" y="527"/>
                  </a:lnTo>
                  <a:lnTo>
                    <a:pt x="67" y="517"/>
                  </a:lnTo>
                  <a:lnTo>
                    <a:pt x="74" y="504"/>
                  </a:lnTo>
                  <a:lnTo>
                    <a:pt x="102" y="507"/>
                  </a:lnTo>
                  <a:lnTo>
                    <a:pt x="164" y="497"/>
                  </a:lnTo>
                  <a:lnTo>
                    <a:pt x="176" y="482"/>
                  </a:lnTo>
                  <a:lnTo>
                    <a:pt x="194" y="467"/>
                  </a:lnTo>
                  <a:lnTo>
                    <a:pt x="251" y="462"/>
                  </a:lnTo>
                  <a:lnTo>
                    <a:pt x="263" y="450"/>
                  </a:lnTo>
                  <a:lnTo>
                    <a:pt x="286" y="450"/>
                  </a:lnTo>
                  <a:lnTo>
                    <a:pt x="300" y="445"/>
                  </a:lnTo>
                  <a:lnTo>
                    <a:pt x="303" y="455"/>
                  </a:lnTo>
                  <a:lnTo>
                    <a:pt x="328" y="457"/>
                  </a:lnTo>
                  <a:lnTo>
                    <a:pt x="343" y="470"/>
                  </a:lnTo>
                  <a:lnTo>
                    <a:pt x="355" y="492"/>
                  </a:lnTo>
                  <a:lnTo>
                    <a:pt x="358" y="514"/>
                  </a:lnTo>
                  <a:lnTo>
                    <a:pt x="368" y="512"/>
                  </a:lnTo>
                  <a:lnTo>
                    <a:pt x="383" y="504"/>
                  </a:lnTo>
                  <a:lnTo>
                    <a:pt x="397" y="490"/>
                  </a:lnTo>
                  <a:lnTo>
                    <a:pt x="407" y="470"/>
                  </a:lnTo>
                  <a:lnTo>
                    <a:pt x="407" y="487"/>
                  </a:lnTo>
                  <a:lnTo>
                    <a:pt x="402" y="502"/>
                  </a:lnTo>
                  <a:lnTo>
                    <a:pt x="390" y="517"/>
                  </a:lnTo>
                  <a:lnTo>
                    <a:pt x="405" y="519"/>
                  </a:lnTo>
                  <a:lnTo>
                    <a:pt x="407" y="507"/>
                  </a:lnTo>
                  <a:lnTo>
                    <a:pt x="415" y="499"/>
                  </a:lnTo>
                  <a:lnTo>
                    <a:pt x="415" y="507"/>
                  </a:lnTo>
                  <a:lnTo>
                    <a:pt x="417" y="519"/>
                  </a:lnTo>
                  <a:lnTo>
                    <a:pt x="427" y="529"/>
                  </a:lnTo>
                  <a:lnTo>
                    <a:pt x="430" y="544"/>
                  </a:lnTo>
                  <a:lnTo>
                    <a:pt x="422" y="562"/>
                  </a:lnTo>
                  <a:lnTo>
                    <a:pt x="440" y="579"/>
                  </a:lnTo>
                  <a:lnTo>
                    <a:pt x="479" y="594"/>
                  </a:lnTo>
                  <a:lnTo>
                    <a:pt x="524" y="604"/>
                  </a:lnTo>
                  <a:lnTo>
                    <a:pt x="554" y="591"/>
                  </a:lnTo>
                  <a:lnTo>
                    <a:pt x="604" y="567"/>
                  </a:lnTo>
                  <a:lnTo>
                    <a:pt x="619" y="529"/>
                  </a:lnTo>
                  <a:lnTo>
                    <a:pt x="641" y="509"/>
                  </a:lnTo>
                  <a:lnTo>
                    <a:pt x="656" y="480"/>
                  </a:lnTo>
                  <a:lnTo>
                    <a:pt x="686" y="450"/>
                  </a:lnTo>
                  <a:lnTo>
                    <a:pt x="696" y="437"/>
                  </a:lnTo>
                  <a:lnTo>
                    <a:pt x="696" y="388"/>
                  </a:lnTo>
                  <a:lnTo>
                    <a:pt x="706" y="323"/>
                  </a:lnTo>
                  <a:lnTo>
                    <a:pt x="706" y="308"/>
                  </a:lnTo>
                  <a:lnTo>
                    <a:pt x="683" y="281"/>
                  </a:lnTo>
                  <a:lnTo>
                    <a:pt x="673" y="246"/>
                  </a:lnTo>
                  <a:lnTo>
                    <a:pt x="649" y="236"/>
                  </a:lnTo>
                  <a:lnTo>
                    <a:pt x="644" y="204"/>
                  </a:lnTo>
                  <a:lnTo>
                    <a:pt x="609" y="184"/>
                  </a:lnTo>
                  <a:lnTo>
                    <a:pt x="606" y="144"/>
                  </a:lnTo>
                  <a:lnTo>
                    <a:pt x="594" y="99"/>
                  </a:lnTo>
                  <a:lnTo>
                    <a:pt x="571" y="74"/>
                  </a:lnTo>
                  <a:lnTo>
                    <a:pt x="562" y="40"/>
                  </a:lnTo>
                  <a:lnTo>
                    <a:pt x="569" y="22"/>
                  </a:lnTo>
                  <a:lnTo>
                    <a:pt x="552" y="0"/>
                  </a:lnTo>
                  <a:lnTo>
                    <a:pt x="539" y="22"/>
                  </a:lnTo>
                  <a:lnTo>
                    <a:pt x="529" y="35"/>
                  </a:lnTo>
                  <a:lnTo>
                    <a:pt x="529" y="109"/>
                  </a:lnTo>
                  <a:lnTo>
                    <a:pt x="519" y="127"/>
                  </a:lnTo>
                  <a:lnTo>
                    <a:pt x="512" y="139"/>
                  </a:lnTo>
                  <a:lnTo>
                    <a:pt x="492" y="139"/>
                  </a:lnTo>
                  <a:lnTo>
                    <a:pt x="472" y="122"/>
                  </a:lnTo>
                  <a:lnTo>
                    <a:pt x="450" y="114"/>
                  </a:lnTo>
                  <a:lnTo>
                    <a:pt x="435" y="99"/>
                  </a:lnTo>
                  <a:lnTo>
                    <a:pt x="420" y="94"/>
                  </a:lnTo>
                  <a:lnTo>
                    <a:pt x="427" y="74"/>
                  </a:lnTo>
                  <a:lnTo>
                    <a:pt x="432" y="60"/>
                  </a:lnTo>
                  <a:lnTo>
                    <a:pt x="445" y="55"/>
                  </a:lnTo>
                  <a:lnTo>
                    <a:pt x="452" y="35"/>
                  </a:lnTo>
                  <a:lnTo>
                    <a:pt x="427" y="30"/>
                  </a:lnTo>
                  <a:lnTo>
                    <a:pt x="405" y="27"/>
                  </a:lnTo>
                  <a:lnTo>
                    <a:pt x="378" y="15"/>
                  </a:lnTo>
                  <a:lnTo>
                    <a:pt x="350" y="10"/>
                  </a:lnTo>
                  <a:lnTo>
                    <a:pt x="348" y="17"/>
                  </a:lnTo>
                  <a:lnTo>
                    <a:pt x="36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0" name="Freeform 77"/>
            <p:cNvSpPr>
              <a:spLocks/>
            </p:cNvSpPr>
            <p:nvPr/>
          </p:nvSpPr>
          <p:spPr bwMode="auto">
            <a:xfrm>
              <a:off x="7818118" y="5611515"/>
              <a:ext cx="86354" cy="89233"/>
            </a:xfrm>
            <a:custGeom>
              <a:avLst/>
              <a:gdLst>
                <a:gd name="T0" fmla="*/ 2 w 60"/>
                <a:gd name="T1" fmla="*/ 0 h 62"/>
                <a:gd name="T2" fmla="*/ 27 w 60"/>
                <a:gd name="T3" fmla="*/ 5 h 62"/>
                <a:gd name="T4" fmla="*/ 60 w 60"/>
                <a:gd name="T5" fmla="*/ 5 h 62"/>
                <a:gd name="T6" fmla="*/ 60 w 60"/>
                <a:gd name="T7" fmla="*/ 24 h 62"/>
                <a:gd name="T8" fmla="*/ 47 w 60"/>
                <a:gd name="T9" fmla="*/ 39 h 62"/>
                <a:gd name="T10" fmla="*/ 45 w 60"/>
                <a:gd name="T11" fmla="*/ 54 h 62"/>
                <a:gd name="T12" fmla="*/ 27 w 60"/>
                <a:gd name="T13" fmla="*/ 59 h 62"/>
                <a:gd name="T14" fmla="*/ 12 w 60"/>
                <a:gd name="T15" fmla="*/ 62 h 62"/>
                <a:gd name="T16" fmla="*/ 0 w 60"/>
                <a:gd name="T17" fmla="*/ 54 h 62"/>
                <a:gd name="T18" fmla="*/ 2 w 60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2">
                  <a:moveTo>
                    <a:pt x="2" y="0"/>
                  </a:moveTo>
                  <a:lnTo>
                    <a:pt x="27" y="5"/>
                  </a:lnTo>
                  <a:lnTo>
                    <a:pt x="60" y="5"/>
                  </a:lnTo>
                  <a:lnTo>
                    <a:pt x="60" y="24"/>
                  </a:lnTo>
                  <a:lnTo>
                    <a:pt x="47" y="39"/>
                  </a:lnTo>
                  <a:lnTo>
                    <a:pt x="45" y="54"/>
                  </a:lnTo>
                  <a:lnTo>
                    <a:pt x="27" y="59"/>
                  </a:lnTo>
                  <a:lnTo>
                    <a:pt x="12" y="62"/>
                  </a:lnTo>
                  <a:lnTo>
                    <a:pt x="0" y="5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1" name="Freeform 78"/>
            <p:cNvSpPr>
              <a:spLocks/>
            </p:cNvSpPr>
            <p:nvPr/>
          </p:nvSpPr>
          <p:spPr bwMode="auto">
            <a:xfrm>
              <a:off x="8557885" y="5402826"/>
              <a:ext cx="119456" cy="233156"/>
            </a:xfrm>
            <a:custGeom>
              <a:avLst/>
              <a:gdLst>
                <a:gd name="T0" fmla="*/ 8 w 83"/>
                <a:gd name="T1" fmla="*/ 0 h 162"/>
                <a:gd name="T2" fmla="*/ 8 w 83"/>
                <a:gd name="T3" fmla="*/ 20 h 162"/>
                <a:gd name="T4" fmla="*/ 15 w 83"/>
                <a:gd name="T5" fmla="*/ 43 h 162"/>
                <a:gd name="T6" fmla="*/ 25 w 83"/>
                <a:gd name="T7" fmla="*/ 60 h 162"/>
                <a:gd name="T8" fmla="*/ 18 w 83"/>
                <a:gd name="T9" fmla="*/ 82 h 162"/>
                <a:gd name="T10" fmla="*/ 0 w 83"/>
                <a:gd name="T11" fmla="*/ 102 h 162"/>
                <a:gd name="T12" fmla="*/ 3 w 83"/>
                <a:gd name="T13" fmla="*/ 117 h 162"/>
                <a:gd name="T14" fmla="*/ 8 w 83"/>
                <a:gd name="T15" fmla="*/ 155 h 162"/>
                <a:gd name="T16" fmla="*/ 25 w 83"/>
                <a:gd name="T17" fmla="*/ 162 h 162"/>
                <a:gd name="T18" fmla="*/ 30 w 83"/>
                <a:gd name="T19" fmla="*/ 137 h 162"/>
                <a:gd name="T20" fmla="*/ 48 w 83"/>
                <a:gd name="T21" fmla="*/ 120 h 162"/>
                <a:gd name="T22" fmla="*/ 75 w 83"/>
                <a:gd name="T23" fmla="*/ 105 h 162"/>
                <a:gd name="T24" fmla="*/ 83 w 83"/>
                <a:gd name="T25" fmla="*/ 85 h 162"/>
                <a:gd name="T26" fmla="*/ 80 w 83"/>
                <a:gd name="T27" fmla="*/ 70 h 162"/>
                <a:gd name="T28" fmla="*/ 50 w 83"/>
                <a:gd name="T29" fmla="*/ 70 h 162"/>
                <a:gd name="T30" fmla="*/ 48 w 83"/>
                <a:gd name="T31" fmla="*/ 45 h 162"/>
                <a:gd name="T32" fmla="*/ 40 w 83"/>
                <a:gd name="T33" fmla="*/ 45 h 162"/>
                <a:gd name="T34" fmla="*/ 28 w 83"/>
                <a:gd name="T35" fmla="*/ 40 h 162"/>
                <a:gd name="T36" fmla="*/ 30 w 83"/>
                <a:gd name="T37" fmla="*/ 18 h 162"/>
                <a:gd name="T38" fmla="*/ 23 w 83"/>
                <a:gd name="T39" fmla="*/ 3 h 162"/>
                <a:gd name="T40" fmla="*/ 8 w 83"/>
                <a:gd name="T4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3" h="162">
                  <a:moveTo>
                    <a:pt x="8" y="0"/>
                  </a:moveTo>
                  <a:lnTo>
                    <a:pt x="8" y="20"/>
                  </a:lnTo>
                  <a:lnTo>
                    <a:pt x="15" y="43"/>
                  </a:lnTo>
                  <a:lnTo>
                    <a:pt x="25" y="60"/>
                  </a:lnTo>
                  <a:lnTo>
                    <a:pt x="18" y="82"/>
                  </a:lnTo>
                  <a:lnTo>
                    <a:pt x="0" y="102"/>
                  </a:lnTo>
                  <a:lnTo>
                    <a:pt x="3" y="117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30" y="137"/>
                  </a:lnTo>
                  <a:lnTo>
                    <a:pt x="48" y="120"/>
                  </a:lnTo>
                  <a:lnTo>
                    <a:pt x="75" y="105"/>
                  </a:lnTo>
                  <a:lnTo>
                    <a:pt x="83" y="85"/>
                  </a:lnTo>
                  <a:lnTo>
                    <a:pt x="80" y="70"/>
                  </a:lnTo>
                  <a:lnTo>
                    <a:pt x="50" y="70"/>
                  </a:lnTo>
                  <a:lnTo>
                    <a:pt x="48" y="45"/>
                  </a:lnTo>
                  <a:lnTo>
                    <a:pt x="40" y="45"/>
                  </a:lnTo>
                  <a:lnTo>
                    <a:pt x="28" y="40"/>
                  </a:lnTo>
                  <a:lnTo>
                    <a:pt x="30" y="18"/>
                  </a:lnTo>
                  <a:lnTo>
                    <a:pt x="23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2" name="Freeform 79"/>
            <p:cNvSpPr>
              <a:spLocks/>
            </p:cNvSpPr>
            <p:nvPr/>
          </p:nvSpPr>
          <p:spPr bwMode="auto">
            <a:xfrm>
              <a:off x="8321850" y="5597123"/>
              <a:ext cx="223081" cy="221642"/>
            </a:xfrm>
            <a:custGeom>
              <a:avLst/>
              <a:gdLst>
                <a:gd name="T0" fmla="*/ 122 w 155"/>
                <a:gd name="T1" fmla="*/ 0 h 154"/>
                <a:gd name="T2" fmla="*/ 117 w 155"/>
                <a:gd name="T3" fmla="*/ 25 h 154"/>
                <a:gd name="T4" fmla="*/ 92 w 155"/>
                <a:gd name="T5" fmla="*/ 37 h 154"/>
                <a:gd name="T6" fmla="*/ 75 w 155"/>
                <a:gd name="T7" fmla="*/ 62 h 154"/>
                <a:gd name="T8" fmla="*/ 30 w 155"/>
                <a:gd name="T9" fmla="*/ 82 h 154"/>
                <a:gd name="T10" fmla="*/ 0 w 155"/>
                <a:gd name="T11" fmla="*/ 109 h 154"/>
                <a:gd name="T12" fmla="*/ 8 w 155"/>
                <a:gd name="T13" fmla="*/ 126 h 154"/>
                <a:gd name="T14" fmla="*/ 33 w 155"/>
                <a:gd name="T15" fmla="*/ 154 h 154"/>
                <a:gd name="T16" fmla="*/ 68 w 155"/>
                <a:gd name="T17" fmla="*/ 124 h 154"/>
                <a:gd name="T18" fmla="*/ 77 w 155"/>
                <a:gd name="T19" fmla="*/ 99 h 154"/>
                <a:gd name="T20" fmla="*/ 102 w 155"/>
                <a:gd name="T21" fmla="*/ 79 h 154"/>
                <a:gd name="T22" fmla="*/ 115 w 155"/>
                <a:gd name="T23" fmla="*/ 79 h 154"/>
                <a:gd name="T24" fmla="*/ 125 w 155"/>
                <a:gd name="T25" fmla="*/ 59 h 154"/>
                <a:gd name="T26" fmla="*/ 140 w 155"/>
                <a:gd name="T27" fmla="*/ 39 h 154"/>
                <a:gd name="T28" fmla="*/ 155 w 155"/>
                <a:gd name="T29" fmla="*/ 25 h 154"/>
                <a:gd name="T30" fmla="*/ 147 w 155"/>
                <a:gd name="T31" fmla="*/ 5 h 154"/>
                <a:gd name="T32" fmla="*/ 140 w 155"/>
                <a:gd name="T33" fmla="*/ 15 h 154"/>
                <a:gd name="T34" fmla="*/ 137 w 155"/>
                <a:gd name="T35" fmla="*/ 0 h 154"/>
                <a:gd name="T36" fmla="*/ 122 w 155"/>
                <a:gd name="T3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4">
                  <a:moveTo>
                    <a:pt x="122" y="0"/>
                  </a:moveTo>
                  <a:lnTo>
                    <a:pt x="117" y="25"/>
                  </a:lnTo>
                  <a:lnTo>
                    <a:pt x="92" y="37"/>
                  </a:lnTo>
                  <a:lnTo>
                    <a:pt x="75" y="62"/>
                  </a:lnTo>
                  <a:lnTo>
                    <a:pt x="30" y="82"/>
                  </a:lnTo>
                  <a:lnTo>
                    <a:pt x="0" y="109"/>
                  </a:lnTo>
                  <a:lnTo>
                    <a:pt x="8" y="126"/>
                  </a:lnTo>
                  <a:lnTo>
                    <a:pt x="33" y="154"/>
                  </a:lnTo>
                  <a:lnTo>
                    <a:pt x="68" y="124"/>
                  </a:lnTo>
                  <a:lnTo>
                    <a:pt x="77" y="99"/>
                  </a:lnTo>
                  <a:lnTo>
                    <a:pt x="102" y="79"/>
                  </a:lnTo>
                  <a:lnTo>
                    <a:pt x="115" y="79"/>
                  </a:lnTo>
                  <a:lnTo>
                    <a:pt x="125" y="59"/>
                  </a:lnTo>
                  <a:lnTo>
                    <a:pt x="140" y="39"/>
                  </a:lnTo>
                  <a:lnTo>
                    <a:pt x="155" y="25"/>
                  </a:lnTo>
                  <a:lnTo>
                    <a:pt x="147" y="5"/>
                  </a:lnTo>
                  <a:lnTo>
                    <a:pt x="140" y="15"/>
                  </a:lnTo>
                  <a:lnTo>
                    <a:pt x="137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3" name="Freeform 80"/>
            <p:cNvSpPr>
              <a:spLocks/>
            </p:cNvSpPr>
            <p:nvPr/>
          </p:nvSpPr>
          <p:spPr bwMode="auto">
            <a:xfrm>
              <a:off x="7688587" y="2938855"/>
              <a:ext cx="122335" cy="156876"/>
            </a:xfrm>
            <a:custGeom>
              <a:avLst/>
              <a:gdLst>
                <a:gd name="T0" fmla="*/ 13 w 85"/>
                <a:gd name="T1" fmla="*/ 10 h 109"/>
                <a:gd name="T2" fmla="*/ 18 w 85"/>
                <a:gd name="T3" fmla="*/ 35 h 109"/>
                <a:gd name="T4" fmla="*/ 20 w 85"/>
                <a:gd name="T5" fmla="*/ 54 h 109"/>
                <a:gd name="T6" fmla="*/ 8 w 85"/>
                <a:gd name="T7" fmla="*/ 74 h 109"/>
                <a:gd name="T8" fmla="*/ 0 w 85"/>
                <a:gd name="T9" fmla="*/ 92 h 109"/>
                <a:gd name="T10" fmla="*/ 10 w 85"/>
                <a:gd name="T11" fmla="*/ 99 h 109"/>
                <a:gd name="T12" fmla="*/ 30 w 85"/>
                <a:gd name="T13" fmla="*/ 92 h 109"/>
                <a:gd name="T14" fmla="*/ 50 w 85"/>
                <a:gd name="T15" fmla="*/ 97 h 109"/>
                <a:gd name="T16" fmla="*/ 55 w 85"/>
                <a:gd name="T17" fmla="*/ 104 h 109"/>
                <a:gd name="T18" fmla="*/ 58 w 85"/>
                <a:gd name="T19" fmla="*/ 109 h 109"/>
                <a:gd name="T20" fmla="*/ 60 w 85"/>
                <a:gd name="T21" fmla="*/ 109 h 109"/>
                <a:gd name="T22" fmla="*/ 65 w 85"/>
                <a:gd name="T23" fmla="*/ 94 h 109"/>
                <a:gd name="T24" fmla="*/ 72 w 85"/>
                <a:gd name="T25" fmla="*/ 84 h 109"/>
                <a:gd name="T26" fmla="*/ 85 w 85"/>
                <a:gd name="T27" fmla="*/ 77 h 109"/>
                <a:gd name="T28" fmla="*/ 80 w 85"/>
                <a:gd name="T29" fmla="*/ 54 h 109"/>
                <a:gd name="T30" fmla="*/ 63 w 85"/>
                <a:gd name="T31" fmla="*/ 47 h 109"/>
                <a:gd name="T32" fmla="*/ 38 w 85"/>
                <a:gd name="T33" fmla="*/ 37 h 109"/>
                <a:gd name="T34" fmla="*/ 30 w 85"/>
                <a:gd name="T35" fmla="*/ 17 h 109"/>
                <a:gd name="T36" fmla="*/ 20 w 85"/>
                <a:gd name="T37" fmla="*/ 0 h 109"/>
                <a:gd name="T38" fmla="*/ 13 w 85"/>
                <a:gd name="T39" fmla="*/ 1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13" y="10"/>
                  </a:moveTo>
                  <a:lnTo>
                    <a:pt x="18" y="35"/>
                  </a:lnTo>
                  <a:lnTo>
                    <a:pt x="20" y="54"/>
                  </a:lnTo>
                  <a:lnTo>
                    <a:pt x="8" y="74"/>
                  </a:lnTo>
                  <a:lnTo>
                    <a:pt x="0" y="92"/>
                  </a:lnTo>
                  <a:lnTo>
                    <a:pt x="10" y="99"/>
                  </a:lnTo>
                  <a:lnTo>
                    <a:pt x="30" y="92"/>
                  </a:lnTo>
                  <a:lnTo>
                    <a:pt x="50" y="97"/>
                  </a:lnTo>
                  <a:lnTo>
                    <a:pt x="55" y="104"/>
                  </a:lnTo>
                  <a:lnTo>
                    <a:pt x="58" y="109"/>
                  </a:lnTo>
                  <a:lnTo>
                    <a:pt x="60" y="109"/>
                  </a:lnTo>
                  <a:lnTo>
                    <a:pt x="65" y="94"/>
                  </a:lnTo>
                  <a:lnTo>
                    <a:pt x="72" y="84"/>
                  </a:lnTo>
                  <a:lnTo>
                    <a:pt x="85" y="77"/>
                  </a:lnTo>
                  <a:lnTo>
                    <a:pt x="80" y="54"/>
                  </a:lnTo>
                  <a:lnTo>
                    <a:pt x="63" y="47"/>
                  </a:lnTo>
                  <a:lnTo>
                    <a:pt x="38" y="37"/>
                  </a:lnTo>
                  <a:lnTo>
                    <a:pt x="30" y="17"/>
                  </a:lnTo>
                  <a:lnTo>
                    <a:pt x="20" y="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4" name="Freeform 81"/>
            <p:cNvSpPr>
              <a:spLocks/>
            </p:cNvSpPr>
            <p:nvPr/>
          </p:nvSpPr>
          <p:spPr bwMode="auto">
            <a:xfrm>
              <a:off x="7541785" y="3110124"/>
              <a:ext cx="240352" cy="250427"/>
            </a:xfrm>
            <a:custGeom>
              <a:avLst/>
              <a:gdLst>
                <a:gd name="T0" fmla="*/ 122 w 167"/>
                <a:gd name="T1" fmla="*/ 0 h 174"/>
                <a:gd name="T2" fmla="*/ 140 w 167"/>
                <a:gd name="T3" fmla="*/ 0 h 174"/>
                <a:gd name="T4" fmla="*/ 147 w 167"/>
                <a:gd name="T5" fmla="*/ 30 h 174"/>
                <a:gd name="T6" fmla="*/ 152 w 167"/>
                <a:gd name="T7" fmla="*/ 42 h 174"/>
                <a:gd name="T8" fmla="*/ 167 w 167"/>
                <a:gd name="T9" fmla="*/ 55 h 174"/>
                <a:gd name="T10" fmla="*/ 145 w 167"/>
                <a:gd name="T11" fmla="*/ 75 h 174"/>
                <a:gd name="T12" fmla="*/ 155 w 167"/>
                <a:gd name="T13" fmla="*/ 107 h 174"/>
                <a:gd name="T14" fmla="*/ 150 w 167"/>
                <a:gd name="T15" fmla="*/ 127 h 174"/>
                <a:gd name="T16" fmla="*/ 140 w 167"/>
                <a:gd name="T17" fmla="*/ 137 h 174"/>
                <a:gd name="T18" fmla="*/ 132 w 167"/>
                <a:gd name="T19" fmla="*/ 139 h 174"/>
                <a:gd name="T20" fmla="*/ 125 w 167"/>
                <a:gd name="T21" fmla="*/ 157 h 174"/>
                <a:gd name="T22" fmla="*/ 112 w 167"/>
                <a:gd name="T23" fmla="*/ 142 h 174"/>
                <a:gd name="T24" fmla="*/ 107 w 167"/>
                <a:gd name="T25" fmla="*/ 149 h 174"/>
                <a:gd name="T26" fmla="*/ 82 w 167"/>
                <a:gd name="T27" fmla="*/ 152 h 174"/>
                <a:gd name="T28" fmla="*/ 78 w 167"/>
                <a:gd name="T29" fmla="*/ 139 h 174"/>
                <a:gd name="T30" fmla="*/ 70 w 167"/>
                <a:gd name="T31" fmla="*/ 144 h 174"/>
                <a:gd name="T32" fmla="*/ 70 w 167"/>
                <a:gd name="T33" fmla="*/ 172 h 174"/>
                <a:gd name="T34" fmla="*/ 58 w 167"/>
                <a:gd name="T35" fmla="*/ 164 h 174"/>
                <a:gd name="T36" fmla="*/ 50 w 167"/>
                <a:gd name="T37" fmla="*/ 154 h 174"/>
                <a:gd name="T38" fmla="*/ 45 w 167"/>
                <a:gd name="T39" fmla="*/ 172 h 174"/>
                <a:gd name="T40" fmla="*/ 33 w 167"/>
                <a:gd name="T41" fmla="*/ 174 h 174"/>
                <a:gd name="T42" fmla="*/ 23 w 167"/>
                <a:gd name="T43" fmla="*/ 162 h 174"/>
                <a:gd name="T44" fmla="*/ 8 w 167"/>
                <a:gd name="T45" fmla="*/ 159 h 174"/>
                <a:gd name="T46" fmla="*/ 0 w 167"/>
                <a:gd name="T47" fmla="*/ 152 h 174"/>
                <a:gd name="T48" fmla="*/ 15 w 167"/>
                <a:gd name="T49" fmla="*/ 137 h 174"/>
                <a:gd name="T50" fmla="*/ 30 w 167"/>
                <a:gd name="T51" fmla="*/ 129 h 174"/>
                <a:gd name="T52" fmla="*/ 40 w 167"/>
                <a:gd name="T53" fmla="*/ 119 h 174"/>
                <a:gd name="T54" fmla="*/ 68 w 167"/>
                <a:gd name="T55" fmla="*/ 122 h 174"/>
                <a:gd name="T56" fmla="*/ 70 w 167"/>
                <a:gd name="T57" fmla="*/ 104 h 174"/>
                <a:gd name="T58" fmla="*/ 75 w 167"/>
                <a:gd name="T59" fmla="*/ 90 h 174"/>
                <a:gd name="T60" fmla="*/ 85 w 167"/>
                <a:gd name="T61" fmla="*/ 92 h 174"/>
                <a:gd name="T62" fmla="*/ 110 w 167"/>
                <a:gd name="T63" fmla="*/ 90 h 174"/>
                <a:gd name="T64" fmla="*/ 112 w 167"/>
                <a:gd name="T65" fmla="*/ 77 h 174"/>
                <a:gd name="T66" fmla="*/ 112 w 167"/>
                <a:gd name="T67" fmla="*/ 55 h 174"/>
                <a:gd name="T68" fmla="*/ 120 w 167"/>
                <a:gd name="T69" fmla="*/ 42 h 174"/>
                <a:gd name="T70" fmla="*/ 115 w 167"/>
                <a:gd name="T71" fmla="*/ 12 h 174"/>
                <a:gd name="T72" fmla="*/ 122 w 167"/>
                <a:gd name="T7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74">
                  <a:moveTo>
                    <a:pt x="122" y="0"/>
                  </a:moveTo>
                  <a:lnTo>
                    <a:pt x="140" y="0"/>
                  </a:lnTo>
                  <a:lnTo>
                    <a:pt x="147" y="30"/>
                  </a:lnTo>
                  <a:lnTo>
                    <a:pt x="152" y="42"/>
                  </a:lnTo>
                  <a:lnTo>
                    <a:pt x="167" y="55"/>
                  </a:lnTo>
                  <a:lnTo>
                    <a:pt x="145" y="75"/>
                  </a:lnTo>
                  <a:lnTo>
                    <a:pt x="155" y="107"/>
                  </a:lnTo>
                  <a:lnTo>
                    <a:pt x="150" y="127"/>
                  </a:lnTo>
                  <a:lnTo>
                    <a:pt x="140" y="137"/>
                  </a:lnTo>
                  <a:lnTo>
                    <a:pt x="132" y="139"/>
                  </a:lnTo>
                  <a:lnTo>
                    <a:pt x="125" y="157"/>
                  </a:lnTo>
                  <a:lnTo>
                    <a:pt x="112" y="142"/>
                  </a:lnTo>
                  <a:lnTo>
                    <a:pt x="107" y="149"/>
                  </a:lnTo>
                  <a:lnTo>
                    <a:pt x="82" y="152"/>
                  </a:lnTo>
                  <a:lnTo>
                    <a:pt x="78" y="139"/>
                  </a:lnTo>
                  <a:lnTo>
                    <a:pt x="70" y="144"/>
                  </a:lnTo>
                  <a:lnTo>
                    <a:pt x="70" y="172"/>
                  </a:lnTo>
                  <a:lnTo>
                    <a:pt x="58" y="164"/>
                  </a:lnTo>
                  <a:lnTo>
                    <a:pt x="50" y="154"/>
                  </a:lnTo>
                  <a:lnTo>
                    <a:pt x="45" y="172"/>
                  </a:lnTo>
                  <a:lnTo>
                    <a:pt x="33" y="174"/>
                  </a:lnTo>
                  <a:lnTo>
                    <a:pt x="23" y="162"/>
                  </a:lnTo>
                  <a:lnTo>
                    <a:pt x="8" y="159"/>
                  </a:lnTo>
                  <a:lnTo>
                    <a:pt x="0" y="152"/>
                  </a:lnTo>
                  <a:lnTo>
                    <a:pt x="15" y="137"/>
                  </a:lnTo>
                  <a:lnTo>
                    <a:pt x="30" y="129"/>
                  </a:lnTo>
                  <a:lnTo>
                    <a:pt x="40" y="119"/>
                  </a:lnTo>
                  <a:lnTo>
                    <a:pt x="68" y="122"/>
                  </a:lnTo>
                  <a:lnTo>
                    <a:pt x="70" y="104"/>
                  </a:lnTo>
                  <a:lnTo>
                    <a:pt x="75" y="90"/>
                  </a:lnTo>
                  <a:lnTo>
                    <a:pt x="85" y="92"/>
                  </a:lnTo>
                  <a:lnTo>
                    <a:pt x="110" y="90"/>
                  </a:lnTo>
                  <a:lnTo>
                    <a:pt x="112" y="77"/>
                  </a:lnTo>
                  <a:lnTo>
                    <a:pt x="112" y="55"/>
                  </a:lnTo>
                  <a:lnTo>
                    <a:pt x="120" y="42"/>
                  </a:lnTo>
                  <a:lnTo>
                    <a:pt x="115" y="12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5" name="Freeform 82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6" name="Freeform 83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7" name="Freeform 84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8" name="Freeform 85"/>
            <p:cNvSpPr>
              <a:spLocks/>
            </p:cNvSpPr>
            <p:nvPr/>
          </p:nvSpPr>
          <p:spPr bwMode="auto">
            <a:xfrm>
              <a:off x="7485654" y="3350477"/>
              <a:ext cx="56131" cy="92111"/>
            </a:xfrm>
            <a:custGeom>
              <a:avLst/>
              <a:gdLst>
                <a:gd name="T0" fmla="*/ 17 w 39"/>
                <a:gd name="T1" fmla="*/ 5 h 64"/>
                <a:gd name="T2" fmla="*/ 10 w 39"/>
                <a:gd name="T3" fmla="*/ 17 h 64"/>
                <a:gd name="T4" fmla="*/ 0 w 39"/>
                <a:gd name="T5" fmla="*/ 24 h 64"/>
                <a:gd name="T6" fmla="*/ 7 w 39"/>
                <a:gd name="T7" fmla="*/ 42 h 64"/>
                <a:gd name="T8" fmla="*/ 17 w 39"/>
                <a:gd name="T9" fmla="*/ 34 h 64"/>
                <a:gd name="T10" fmla="*/ 25 w 39"/>
                <a:gd name="T11" fmla="*/ 37 h 64"/>
                <a:gd name="T12" fmla="*/ 22 w 39"/>
                <a:gd name="T13" fmla="*/ 49 h 64"/>
                <a:gd name="T14" fmla="*/ 30 w 39"/>
                <a:gd name="T15" fmla="*/ 64 h 64"/>
                <a:gd name="T16" fmla="*/ 39 w 39"/>
                <a:gd name="T17" fmla="*/ 57 h 64"/>
                <a:gd name="T18" fmla="*/ 39 w 39"/>
                <a:gd name="T19" fmla="*/ 37 h 64"/>
                <a:gd name="T20" fmla="*/ 37 w 39"/>
                <a:gd name="T21" fmla="*/ 10 h 64"/>
                <a:gd name="T22" fmla="*/ 32 w 39"/>
                <a:gd name="T23" fmla="*/ 0 h 64"/>
                <a:gd name="T24" fmla="*/ 17 w 39"/>
                <a:gd name="T25" fmla="*/ 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64">
                  <a:moveTo>
                    <a:pt x="17" y="5"/>
                  </a:moveTo>
                  <a:lnTo>
                    <a:pt x="10" y="17"/>
                  </a:lnTo>
                  <a:lnTo>
                    <a:pt x="0" y="24"/>
                  </a:lnTo>
                  <a:lnTo>
                    <a:pt x="7" y="42"/>
                  </a:lnTo>
                  <a:lnTo>
                    <a:pt x="17" y="34"/>
                  </a:lnTo>
                  <a:lnTo>
                    <a:pt x="25" y="37"/>
                  </a:lnTo>
                  <a:lnTo>
                    <a:pt x="22" y="49"/>
                  </a:lnTo>
                  <a:lnTo>
                    <a:pt x="30" y="64"/>
                  </a:lnTo>
                  <a:lnTo>
                    <a:pt x="39" y="57"/>
                  </a:lnTo>
                  <a:lnTo>
                    <a:pt x="39" y="37"/>
                  </a:lnTo>
                  <a:lnTo>
                    <a:pt x="37" y="10"/>
                  </a:lnTo>
                  <a:lnTo>
                    <a:pt x="32" y="0"/>
                  </a:lnTo>
                  <a:lnTo>
                    <a:pt x="1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79" name="Freeform 86"/>
            <p:cNvSpPr>
              <a:spLocks/>
            </p:cNvSpPr>
            <p:nvPr/>
          </p:nvSpPr>
          <p:spPr bwMode="auto">
            <a:xfrm>
              <a:off x="8419718" y="4971056"/>
              <a:ext cx="63326" cy="48934"/>
            </a:xfrm>
            <a:custGeom>
              <a:avLst/>
              <a:gdLst>
                <a:gd name="T0" fmla="*/ 12 w 44"/>
                <a:gd name="T1" fmla="*/ 0 h 34"/>
                <a:gd name="T2" fmla="*/ 0 w 44"/>
                <a:gd name="T3" fmla="*/ 7 h 34"/>
                <a:gd name="T4" fmla="*/ 7 w 44"/>
                <a:gd name="T5" fmla="*/ 17 h 34"/>
                <a:gd name="T6" fmla="*/ 22 w 44"/>
                <a:gd name="T7" fmla="*/ 27 h 34"/>
                <a:gd name="T8" fmla="*/ 39 w 44"/>
                <a:gd name="T9" fmla="*/ 34 h 34"/>
                <a:gd name="T10" fmla="*/ 44 w 44"/>
                <a:gd name="T11" fmla="*/ 25 h 34"/>
                <a:gd name="T12" fmla="*/ 32 w 44"/>
                <a:gd name="T13" fmla="*/ 7 h 34"/>
                <a:gd name="T14" fmla="*/ 12 w 4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4">
                  <a:moveTo>
                    <a:pt x="12" y="0"/>
                  </a:moveTo>
                  <a:lnTo>
                    <a:pt x="0" y="7"/>
                  </a:lnTo>
                  <a:lnTo>
                    <a:pt x="7" y="17"/>
                  </a:lnTo>
                  <a:lnTo>
                    <a:pt x="22" y="27"/>
                  </a:lnTo>
                  <a:lnTo>
                    <a:pt x="39" y="34"/>
                  </a:lnTo>
                  <a:lnTo>
                    <a:pt x="44" y="25"/>
                  </a:lnTo>
                  <a:lnTo>
                    <a:pt x="32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0" name="Freeform 87"/>
            <p:cNvSpPr>
              <a:spLocks/>
            </p:cNvSpPr>
            <p:nvPr/>
          </p:nvSpPr>
          <p:spPr bwMode="auto">
            <a:xfrm>
              <a:off x="4490606" y="1561507"/>
              <a:ext cx="289286" cy="175587"/>
            </a:xfrm>
            <a:custGeom>
              <a:avLst/>
              <a:gdLst>
                <a:gd name="T0" fmla="*/ 79 w 201"/>
                <a:gd name="T1" fmla="*/ 5 h 122"/>
                <a:gd name="T2" fmla="*/ 75 w 201"/>
                <a:gd name="T3" fmla="*/ 30 h 122"/>
                <a:gd name="T4" fmla="*/ 52 w 201"/>
                <a:gd name="T5" fmla="*/ 15 h 122"/>
                <a:gd name="T6" fmla="*/ 35 w 201"/>
                <a:gd name="T7" fmla="*/ 25 h 122"/>
                <a:gd name="T8" fmla="*/ 25 w 201"/>
                <a:gd name="T9" fmla="*/ 5 h 122"/>
                <a:gd name="T10" fmla="*/ 0 w 201"/>
                <a:gd name="T11" fmla="*/ 22 h 122"/>
                <a:gd name="T12" fmla="*/ 5 w 201"/>
                <a:gd name="T13" fmla="*/ 35 h 122"/>
                <a:gd name="T14" fmla="*/ 10 w 201"/>
                <a:gd name="T15" fmla="*/ 57 h 122"/>
                <a:gd name="T16" fmla="*/ 37 w 201"/>
                <a:gd name="T17" fmla="*/ 59 h 122"/>
                <a:gd name="T18" fmla="*/ 52 w 201"/>
                <a:gd name="T19" fmla="*/ 44 h 122"/>
                <a:gd name="T20" fmla="*/ 65 w 201"/>
                <a:gd name="T21" fmla="*/ 47 h 122"/>
                <a:gd name="T22" fmla="*/ 57 w 201"/>
                <a:gd name="T23" fmla="*/ 64 h 122"/>
                <a:gd name="T24" fmla="*/ 55 w 201"/>
                <a:gd name="T25" fmla="*/ 79 h 122"/>
                <a:gd name="T26" fmla="*/ 70 w 201"/>
                <a:gd name="T27" fmla="*/ 94 h 122"/>
                <a:gd name="T28" fmla="*/ 82 w 201"/>
                <a:gd name="T29" fmla="*/ 114 h 122"/>
                <a:gd name="T30" fmla="*/ 99 w 201"/>
                <a:gd name="T31" fmla="*/ 122 h 122"/>
                <a:gd name="T32" fmla="*/ 107 w 201"/>
                <a:gd name="T33" fmla="*/ 89 h 122"/>
                <a:gd name="T34" fmla="*/ 132 w 201"/>
                <a:gd name="T35" fmla="*/ 62 h 122"/>
                <a:gd name="T36" fmla="*/ 147 w 201"/>
                <a:gd name="T37" fmla="*/ 72 h 122"/>
                <a:gd name="T38" fmla="*/ 147 w 201"/>
                <a:gd name="T39" fmla="*/ 94 h 122"/>
                <a:gd name="T40" fmla="*/ 176 w 201"/>
                <a:gd name="T41" fmla="*/ 89 h 122"/>
                <a:gd name="T42" fmla="*/ 191 w 201"/>
                <a:gd name="T43" fmla="*/ 97 h 122"/>
                <a:gd name="T44" fmla="*/ 201 w 201"/>
                <a:gd name="T45" fmla="*/ 74 h 122"/>
                <a:gd name="T46" fmla="*/ 132 w 201"/>
                <a:gd name="T47" fmla="*/ 37 h 122"/>
                <a:gd name="T48" fmla="*/ 109 w 201"/>
                <a:gd name="T49" fmla="*/ 0 h 122"/>
                <a:gd name="T50" fmla="*/ 79 w 201"/>
                <a:gd name="T5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1" h="122">
                  <a:moveTo>
                    <a:pt x="79" y="5"/>
                  </a:moveTo>
                  <a:lnTo>
                    <a:pt x="75" y="30"/>
                  </a:lnTo>
                  <a:lnTo>
                    <a:pt x="52" y="15"/>
                  </a:lnTo>
                  <a:lnTo>
                    <a:pt x="35" y="25"/>
                  </a:lnTo>
                  <a:lnTo>
                    <a:pt x="25" y="5"/>
                  </a:lnTo>
                  <a:lnTo>
                    <a:pt x="0" y="22"/>
                  </a:lnTo>
                  <a:lnTo>
                    <a:pt x="5" y="35"/>
                  </a:lnTo>
                  <a:lnTo>
                    <a:pt x="10" y="57"/>
                  </a:lnTo>
                  <a:lnTo>
                    <a:pt x="37" y="59"/>
                  </a:lnTo>
                  <a:lnTo>
                    <a:pt x="52" y="44"/>
                  </a:lnTo>
                  <a:lnTo>
                    <a:pt x="65" y="47"/>
                  </a:lnTo>
                  <a:lnTo>
                    <a:pt x="57" y="64"/>
                  </a:lnTo>
                  <a:lnTo>
                    <a:pt x="55" y="79"/>
                  </a:lnTo>
                  <a:lnTo>
                    <a:pt x="70" y="94"/>
                  </a:lnTo>
                  <a:lnTo>
                    <a:pt x="82" y="114"/>
                  </a:lnTo>
                  <a:lnTo>
                    <a:pt x="99" y="122"/>
                  </a:lnTo>
                  <a:lnTo>
                    <a:pt x="107" y="89"/>
                  </a:lnTo>
                  <a:lnTo>
                    <a:pt x="132" y="62"/>
                  </a:lnTo>
                  <a:lnTo>
                    <a:pt x="147" y="72"/>
                  </a:lnTo>
                  <a:lnTo>
                    <a:pt x="147" y="94"/>
                  </a:lnTo>
                  <a:lnTo>
                    <a:pt x="176" y="89"/>
                  </a:lnTo>
                  <a:lnTo>
                    <a:pt x="191" y="97"/>
                  </a:lnTo>
                  <a:lnTo>
                    <a:pt x="201" y="74"/>
                  </a:lnTo>
                  <a:lnTo>
                    <a:pt x="132" y="37"/>
                  </a:lnTo>
                  <a:lnTo>
                    <a:pt x="109" y="0"/>
                  </a:lnTo>
                  <a:lnTo>
                    <a:pt x="79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4683463" y="1539919"/>
              <a:ext cx="165512" cy="67644"/>
            </a:xfrm>
            <a:custGeom>
              <a:avLst/>
              <a:gdLst>
                <a:gd name="T0" fmla="*/ 0 w 115"/>
                <a:gd name="T1" fmla="*/ 5 h 47"/>
                <a:gd name="T2" fmla="*/ 8 w 115"/>
                <a:gd name="T3" fmla="*/ 35 h 47"/>
                <a:gd name="T4" fmla="*/ 52 w 115"/>
                <a:gd name="T5" fmla="*/ 47 h 47"/>
                <a:gd name="T6" fmla="*/ 87 w 115"/>
                <a:gd name="T7" fmla="*/ 35 h 47"/>
                <a:gd name="T8" fmla="*/ 115 w 115"/>
                <a:gd name="T9" fmla="*/ 7 h 47"/>
                <a:gd name="T10" fmla="*/ 65 w 115"/>
                <a:gd name="T11" fmla="*/ 7 h 47"/>
                <a:gd name="T12" fmla="*/ 37 w 115"/>
                <a:gd name="T13" fmla="*/ 0 h 47"/>
                <a:gd name="T14" fmla="*/ 0 w 115"/>
                <a:gd name="T15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47">
                  <a:moveTo>
                    <a:pt x="0" y="5"/>
                  </a:moveTo>
                  <a:lnTo>
                    <a:pt x="8" y="35"/>
                  </a:lnTo>
                  <a:lnTo>
                    <a:pt x="52" y="47"/>
                  </a:lnTo>
                  <a:lnTo>
                    <a:pt x="87" y="35"/>
                  </a:lnTo>
                  <a:lnTo>
                    <a:pt x="115" y="7"/>
                  </a:lnTo>
                  <a:lnTo>
                    <a:pt x="65" y="7"/>
                  </a:lnTo>
                  <a:lnTo>
                    <a:pt x="37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2" name="Freeform 89"/>
            <p:cNvSpPr>
              <a:spLocks/>
            </p:cNvSpPr>
            <p:nvPr/>
          </p:nvSpPr>
          <p:spPr bwMode="auto">
            <a:xfrm>
              <a:off x="2029513" y="3851331"/>
              <a:ext cx="46056" cy="82036"/>
            </a:xfrm>
            <a:custGeom>
              <a:avLst/>
              <a:gdLst>
                <a:gd name="T0" fmla="*/ 0 w 32"/>
                <a:gd name="T1" fmla="*/ 15 h 57"/>
                <a:gd name="T2" fmla="*/ 10 w 32"/>
                <a:gd name="T3" fmla="*/ 10 h 57"/>
                <a:gd name="T4" fmla="*/ 32 w 32"/>
                <a:gd name="T5" fmla="*/ 0 h 57"/>
                <a:gd name="T6" fmla="*/ 27 w 32"/>
                <a:gd name="T7" fmla="*/ 22 h 57"/>
                <a:gd name="T8" fmla="*/ 32 w 32"/>
                <a:gd name="T9" fmla="*/ 47 h 57"/>
                <a:gd name="T10" fmla="*/ 19 w 32"/>
                <a:gd name="T11" fmla="*/ 57 h 57"/>
                <a:gd name="T12" fmla="*/ 7 w 32"/>
                <a:gd name="T13" fmla="*/ 57 h 57"/>
                <a:gd name="T14" fmla="*/ 0 w 32"/>
                <a:gd name="T15" fmla="*/ 54 h 57"/>
                <a:gd name="T16" fmla="*/ 0 w 32"/>
                <a:gd name="T17" fmla="*/ 37 h 57"/>
                <a:gd name="T18" fmla="*/ 0 w 32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7">
                  <a:moveTo>
                    <a:pt x="0" y="15"/>
                  </a:moveTo>
                  <a:lnTo>
                    <a:pt x="10" y="10"/>
                  </a:lnTo>
                  <a:lnTo>
                    <a:pt x="32" y="0"/>
                  </a:lnTo>
                  <a:lnTo>
                    <a:pt x="27" y="22"/>
                  </a:lnTo>
                  <a:lnTo>
                    <a:pt x="32" y="47"/>
                  </a:lnTo>
                  <a:lnTo>
                    <a:pt x="19" y="57"/>
                  </a:lnTo>
                  <a:lnTo>
                    <a:pt x="7" y="57"/>
                  </a:lnTo>
                  <a:lnTo>
                    <a:pt x="0" y="54"/>
                  </a:lnTo>
                  <a:lnTo>
                    <a:pt x="0" y="37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3" name="Freeform 90"/>
            <p:cNvSpPr>
              <a:spLocks/>
            </p:cNvSpPr>
            <p:nvPr/>
          </p:nvSpPr>
          <p:spPr bwMode="auto">
            <a:xfrm>
              <a:off x="2107232" y="4072973"/>
              <a:ext cx="82036" cy="53251"/>
            </a:xfrm>
            <a:custGeom>
              <a:avLst/>
              <a:gdLst>
                <a:gd name="T0" fmla="*/ 40 w 57"/>
                <a:gd name="T1" fmla="*/ 0 h 37"/>
                <a:gd name="T2" fmla="*/ 0 w 57"/>
                <a:gd name="T3" fmla="*/ 0 h 37"/>
                <a:gd name="T4" fmla="*/ 0 w 57"/>
                <a:gd name="T5" fmla="*/ 12 h 37"/>
                <a:gd name="T6" fmla="*/ 8 w 57"/>
                <a:gd name="T7" fmla="*/ 27 h 37"/>
                <a:gd name="T8" fmla="*/ 43 w 57"/>
                <a:gd name="T9" fmla="*/ 37 h 37"/>
                <a:gd name="T10" fmla="*/ 57 w 57"/>
                <a:gd name="T11" fmla="*/ 30 h 37"/>
                <a:gd name="T12" fmla="*/ 57 w 57"/>
                <a:gd name="T13" fmla="*/ 12 h 37"/>
                <a:gd name="T14" fmla="*/ 40 w 5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">
                  <a:moveTo>
                    <a:pt x="4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8" y="27"/>
                  </a:lnTo>
                  <a:lnTo>
                    <a:pt x="43" y="37"/>
                  </a:lnTo>
                  <a:lnTo>
                    <a:pt x="57" y="30"/>
                  </a:lnTo>
                  <a:lnTo>
                    <a:pt x="57" y="1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4" name="Freeform 91"/>
            <p:cNvSpPr>
              <a:spLocks/>
            </p:cNvSpPr>
            <p:nvPr/>
          </p:nvSpPr>
          <p:spPr bwMode="auto">
            <a:xfrm>
              <a:off x="2426742" y="4025478"/>
              <a:ext cx="335341" cy="341099"/>
            </a:xfrm>
            <a:custGeom>
              <a:avLst/>
              <a:gdLst>
                <a:gd name="T0" fmla="*/ 32 w 233"/>
                <a:gd name="T1" fmla="*/ 5 h 237"/>
                <a:gd name="T2" fmla="*/ 19 w 233"/>
                <a:gd name="T3" fmla="*/ 23 h 237"/>
                <a:gd name="T4" fmla="*/ 9 w 233"/>
                <a:gd name="T5" fmla="*/ 53 h 237"/>
                <a:gd name="T6" fmla="*/ 0 w 233"/>
                <a:gd name="T7" fmla="*/ 60 h 237"/>
                <a:gd name="T8" fmla="*/ 14 w 233"/>
                <a:gd name="T9" fmla="*/ 82 h 237"/>
                <a:gd name="T10" fmla="*/ 9 w 233"/>
                <a:gd name="T11" fmla="*/ 102 h 237"/>
                <a:gd name="T12" fmla="*/ 42 w 233"/>
                <a:gd name="T13" fmla="*/ 105 h 237"/>
                <a:gd name="T14" fmla="*/ 42 w 233"/>
                <a:gd name="T15" fmla="*/ 117 h 237"/>
                <a:gd name="T16" fmla="*/ 69 w 233"/>
                <a:gd name="T17" fmla="*/ 130 h 237"/>
                <a:gd name="T18" fmla="*/ 96 w 233"/>
                <a:gd name="T19" fmla="*/ 140 h 237"/>
                <a:gd name="T20" fmla="*/ 96 w 233"/>
                <a:gd name="T21" fmla="*/ 174 h 237"/>
                <a:gd name="T22" fmla="*/ 91 w 233"/>
                <a:gd name="T23" fmla="*/ 194 h 237"/>
                <a:gd name="T24" fmla="*/ 94 w 233"/>
                <a:gd name="T25" fmla="*/ 212 h 237"/>
                <a:gd name="T26" fmla="*/ 104 w 233"/>
                <a:gd name="T27" fmla="*/ 217 h 237"/>
                <a:gd name="T28" fmla="*/ 114 w 233"/>
                <a:gd name="T29" fmla="*/ 229 h 237"/>
                <a:gd name="T30" fmla="*/ 126 w 233"/>
                <a:gd name="T31" fmla="*/ 237 h 237"/>
                <a:gd name="T32" fmla="*/ 146 w 233"/>
                <a:gd name="T33" fmla="*/ 234 h 237"/>
                <a:gd name="T34" fmla="*/ 161 w 233"/>
                <a:gd name="T35" fmla="*/ 222 h 237"/>
                <a:gd name="T36" fmla="*/ 161 w 233"/>
                <a:gd name="T37" fmla="*/ 209 h 237"/>
                <a:gd name="T38" fmla="*/ 149 w 233"/>
                <a:gd name="T39" fmla="*/ 202 h 237"/>
                <a:gd name="T40" fmla="*/ 146 w 233"/>
                <a:gd name="T41" fmla="*/ 189 h 237"/>
                <a:gd name="T42" fmla="*/ 151 w 233"/>
                <a:gd name="T43" fmla="*/ 174 h 237"/>
                <a:gd name="T44" fmla="*/ 159 w 233"/>
                <a:gd name="T45" fmla="*/ 172 h 237"/>
                <a:gd name="T46" fmla="*/ 174 w 233"/>
                <a:gd name="T47" fmla="*/ 184 h 237"/>
                <a:gd name="T48" fmla="*/ 183 w 233"/>
                <a:gd name="T49" fmla="*/ 177 h 237"/>
                <a:gd name="T50" fmla="*/ 213 w 233"/>
                <a:gd name="T51" fmla="*/ 177 h 237"/>
                <a:gd name="T52" fmla="*/ 218 w 233"/>
                <a:gd name="T53" fmla="*/ 164 h 237"/>
                <a:gd name="T54" fmla="*/ 218 w 233"/>
                <a:gd name="T55" fmla="*/ 152 h 237"/>
                <a:gd name="T56" fmla="*/ 211 w 233"/>
                <a:gd name="T57" fmla="*/ 140 h 237"/>
                <a:gd name="T58" fmla="*/ 211 w 233"/>
                <a:gd name="T59" fmla="*/ 122 h 237"/>
                <a:gd name="T60" fmla="*/ 221 w 233"/>
                <a:gd name="T61" fmla="*/ 112 h 237"/>
                <a:gd name="T62" fmla="*/ 226 w 233"/>
                <a:gd name="T63" fmla="*/ 105 h 237"/>
                <a:gd name="T64" fmla="*/ 233 w 233"/>
                <a:gd name="T65" fmla="*/ 97 h 237"/>
                <a:gd name="T66" fmla="*/ 231 w 233"/>
                <a:gd name="T67" fmla="*/ 77 h 237"/>
                <a:gd name="T68" fmla="*/ 226 w 233"/>
                <a:gd name="T69" fmla="*/ 75 h 237"/>
                <a:gd name="T70" fmla="*/ 218 w 233"/>
                <a:gd name="T71" fmla="*/ 58 h 237"/>
                <a:gd name="T72" fmla="*/ 211 w 233"/>
                <a:gd name="T73" fmla="*/ 48 h 237"/>
                <a:gd name="T74" fmla="*/ 216 w 233"/>
                <a:gd name="T75" fmla="*/ 43 h 237"/>
                <a:gd name="T76" fmla="*/ 216 w 233"/>
                <a:gd name="T77" fmla="*/ 33 h 237"/>
                <a:gd name="T78" fmla="*/ 188 w 233"/>
                <a:gd name="T79" fmla="*/ 33 h 237"/>
                <a:gd name="T80" fmla="*/ 166 w 233"/>
                <a:gd name="T81" fmla="*/ 35 h 237"/>
                <a:gd name="T82" fmla="*/ 156 w 233"/>
                <a:gd name="T83" fmla="*/ 45 h 237"/>
                <a:gd name="T84" fmla="*/ 141 w 233"/>
                <a:gd name="T85" fmla="*/ 43 h 237"/>
                <a:gd name="T86" fmla="*/ 104 w 233"/>
                <a:gd name="T87" fmla="*/ 40 h 237"/>
                <a:gd name="T88" fmla="*/ 101 w 233"/>
                <a:gd name="T89" fmla="*/ 30 h 237"/>
                <a:gd name="T90" fmla="*/ 89 w 233"/>
                <a:gd name="T91" fmla="*/ 28 h 237"/>
                <a:gd name="T92" fmla="*/ 74 w 233"/>
                <a:gd name="T93" fmla="*/ 23 h 237"/>
                <a:gd name="T94" fmla="*/ 72 w 233"/>
                <a:gd name="T95" fmla="*/ 10 h 237"/>
                <a:gd name="T96" fmla="*/ 59 w 233"/>
                <a:gd name="T97" fmla="*/ 8 h 237"/>
                <a:gd name="T98" fmla="*/ 59 w 233"/>
                <a:gd name="T99" fmla="*/ 0 h 237"/>
                <a:gd name="T100" fmla="*/ 52 w 233"/>
                <a:gd name="T101" fmla="*/ 8 h 237"/>
                <a:gd name="T102" fmla="*/ 32 w 233"/>
                <a:gd name="T103" fmla="*/ 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3" h="237">
                  <a:moveTo>
                    <a:pt x="32" y="5"/>
                  </a:moveTo>
                  <a:lnTo>
                    <a:pt x="19" y="23"/>
                  </a:lnTo>
                  <a:lnTo>
                    <a:pt x="9" y="53"/>
                  </a:lnTo>
                  <a:lnTo>
                    <a:pt x="0" y="60"/>
                  </a:lnTo>
                  <a:lnTo>
                    <a:pt x="14" y="82"/>
                  </a:lnTo>
                  <a:lnTo>
                    <a:pt x="9" y="102"/>
                  </a:lnTo>
                  <a:lnTo>
                    <a:pt x="42" y="105"/>
                  </a:lnTo>
                  <a:lnTo>
                    <a:pt x="42" y="117"/>
                  </a:lnTo>
                  <a:lnTo>
                    <a:pt x="69" y="130"/>
                  </a:lnTo>
                  <a:lnTo>
                    <a:pt x="96" y="140"/>
                  </a:lnTo>
                  <a:lnTo>
                    <a:pt x="96" y="174"/>
                  </a:lnTo>
                  <a:lnTo>
                    <a:pt x="91" y="194"/>
                  </a:lnTo>
                  <a:lnTo>
                    <a:pt x="94" y="212"/>
                  </a:lnTo>
                  <a:lnTo>
                    <a:pt x="104" y="217"/>
                  </a:lnTo>
                  <a:lnTo>
                    <a:pt x="114" y="229"/>
                  </a:lnTo>
                  <a:lnTo>
                    <a:pt x="126" y="237"/>
                  </a:lnTo>
                  <a:lnTo>
                    <a:pt x="146" y="234"/>
                  </a:lnTo>
                  <a:lnTo>
                    <a:pt x="161" y="222"/>
                  </a:lnTo>
                  <a:lnTo>
                    <a:pt x="161" y="209"/>
                  </a:lnTo>
                  <a:lnTo>
                    <a:pt x="149" y="202"/>
                  </a:lnTo>
                  <a:lnTo>
                    <a:pt x="146" y="189"/>
                  </a:lnTo>
                  <a:lnTo>
                    <a:pt x="151" y="174"/>
                  </a:lnTo>
                  <a:lnTo>
                    <a:pt x="159" y="172"/>
                  </a:lnTo>
                  <a:lnTo>
                    <a:pt x="174" y="184"/>
                  </a:lnTo>
                  <a:lnTo>
                    <a:pt x="183" y="177"/>
                  </a:lnTo>
                  <a:lnTo>
                    <a:pt x="213" y="177"/>
                  </a:lnTo>
                  <a:lnTo>
                    <a:pt x="218" y="164"/>
                  </a:lnTo>
                  <a:lnTo>
                    <a:pt x="218" y="152"/>
                  </a:lnTo>
                  <a:lnTo>
                    <a:pt x="211" y="140"/>
                  </a:lnTo>
                  <a:lnTo>
                    <a:pt x="211" y="122"/>
                  </a:lnTo>
                  <a:lnTo>
                    <a:pt x="221" y="112"/>
                  </a:lnTo>
                  <a:lnTo>
                    <a:pt x="226" y="105"/>
                  </a:lnTo>
                  <a:lnTo>
                    <a:pt x="233" y="97"/>
                  </a:lnTo>
                  <a:lnTo>
                    <a:pt x="231" y="77"/>
                  </a:lnTo>
                  <a:lnTo>
                    <a:pt x="226" y="75"/>
                  </a:lnTo>
                  <a:lnTo>
                    <a:pt x="218" y="58"/>
                  </a:lnTo>
                  <a:lnTo>
                    <a:pt x="211" y="48"/>
                  </a:lnTo>
                  <a:lnTo>
                    <a:pt x="216" y="43"/>
                  </a:lnTo>
                  <a:lnTo>
                    <a:pt x="216" y="33"/>
                  </a:lnTo>
                  <a:lnTo>
                    <a:pt x="188" y="33"/>
                  </a:lnTo>
                  <a:lnTo>
                    <a:pt x="166" y="35"/>
                  </a:lnTo>
                  <a:lnTo>
                    <a:pt x="156" y="45"/>
                  </a:lnTo>
                  <a:lnTo>
                    <a:pt x="141" y="43"/>
                  </a:lnTo>
                  <a:lnTo>
                    <a:pt x="104" y="40"/>
                  </a:lnTo>
                  <a:lnTo>
                    <a:pt x="101" y="30"/>
                  </a:lnTo>
                  <a:lnTo>
                    <a:pt x="89" y="28"/>
                  </a:lnTo>
                  <a:lnTo>
                    <a:pt x="74" y="23"/>
                  </a:lnTo>
                  <a:lnTo>
                    <a:pt x="72" y="10"/>
                  </a:lnTo>
                  <a:lnTo>
                    <a:pt x="59" y="8"/>
                  </a:lnTo>
                  <a:lnTo>
                    <a:pt x="59" y="0"/>
                  </a:lnTo>
                  <a:lnTo>
                    <a:pt x="52" y="8"/>
                  </a:lnTo>
                  <a:lnTo>
                    <a:pt x="3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5" name="Freeform 92"/>
            <p:cNvSpPr>
              <a:spLocks/>
            </p:cNvSpPr>
            <p:nvPr/>
          </p:nvSpPr>
          <p:spPr bwMode="auto">
            <a:xfrm>
              <a:off x="2644066" y="6054800"/>
              <a:ext cx="60448" cy="64766"/>
            </a:xfrm>
            <a:custGeom>
              <a:avLst/>
              <a:gdLst>
                <a:gd name="T0" fmla="*/ 40 w 42"/>
                <a:gd name="T1" fmla="*/ 7 h 45"/>
                <a:gd name="T2" fmla="*/ 28 w 42"/>
                <a:gd name="T3" fmla="*/ 45 h 45"/>
                <a:gd name="T4" fmla="*/ 0 w 42"/>
                <a:gd name="T5" fmla="*/ 30 h 45"/>
                <a:gd name="T6" fmla="*/ 8 w 42"/>
                <a:gd name="T7" fmla="*/ 7 h 45"/>
                <a:gd name="T8" fmla="*/ 20 w 42"/>
                <a:gd name="T9" fmla="*/ 0 h 45"/>
                <a:gd name="T10" fmla="*/ 42 w 42"/>
                <a:gd name="T11" fmla="*/ 7 h 45"/>
                <a:gd name="T12" fmla="*/ 40 w 42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40" y="7"/>
                  </a:moveTo>
                  <a:lnTo>
                    <a:pt x="28" y="45"/>
                  </a:lnTo>
                  <a:lnTo>
                    <a:pt x="0" y="30"/>
                  </a:lnTo>
                  <a:lnTo>
                    <a:pt x="8" y="7"/>
                  </a:lnTo>
                  <a:lnTo>
                    <a:pt x="20" y="0"/>
                  </a:lnTo>
                  <a:lnTo>
                    <a:pt x="42" y="7"/>
                  </a:lnTo>
                  <a:lnTo>
                    <a:pt x="4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6" name="Freeform 93"/>
            <p:cNvSpPr>
              <a:spLocks/>
            </p:cNvSpPr>
            <p:nvPr/>
          </p:nvSpPr>
          <p:spPr bwMode="auto">
            <a:xfrm>
              <a:off x="2836924" y="5281931"/>
              <a:ext cx="136728" cy="153998"/>
            </a:xfrm>
            <a:custGeom>
              <a:avLst/>
              <a:gdLst>
                <a:gd name="T0" fmla="*/ 23 w 95"/>
                <a:gd name="T1" fmla="*/ 0 h 107"/>
                <a:gd name="T2" fmla="*/ 30 w 95"/>
                <a:gd name="T3" fmla="*/ 10 h 107"/>
                <a:gd name="T4" fmla="*/ 48 w 95"/>
                <a:gd name="T5" fmla="*/ 17 h 107"/>
                <a:gd name="T6" fmla="*/ 85 w 95"/>
                <a:gd name="T7" fmla="*/ 52 h 107"/>
                <a:gd name="T8" fmla="*/ 92 w 95"/>
                <a:gd name="T9" fmla="*/ 67 h 107"/>
                <a:gd name="T10" fmla="*/ 95 w 95"/>
                <a:gd name="T11" fmla="*/ 79 h 107"/>
                <a:gd name="T12" fmla="*/ 85 w 95"/>
                <a:gd name="T13" fmla="*/ 87 h 107"/>
                <a:gd name="T14" fmla="*/ 80 w 95"/>
                <a:gd name="T15" fmla="*/ 92 h 107"/>
                <a:gd name="T16" fmla="*/ 80 w 95"/>
                <a:gd name="T17" fmla="*/ 99 h 107"/>
                <a:gd name="T18" fmla="*/ 65 w 95"/>
                <a:gd name="T19" fmla="*/ 102 h 107"/>
                <a:gd name="T20" fmla="*/ 60 w 95"/>
                <a:gd name="T21" fmla="*/ 107 h 107"/>
                <a:gd name="T22" fmla="*/ 53 w 95"/>
                <a:gd name="T23" fmla="*/ 102 h 107"/>
                <a:gd name="T24" fmla="*/ 35 w 95"/>
                <a:gd name="T25" fmla="*/ 97 h 107"/>
                <a:gd name="T26" fmla="*/ 23 w 95"/>
                <a:gd name="T27" fmla="*/ 89 h 107"/>
                <a:gd name="T28" fmla="*/ 15 w 95"/>
                <a:gd name="T29" fmla="*/ 97 h 107"/>
                <a:gd name="T30" fmla="*/ 8 w 95"/>
                <a:gd name="T31" fmla="*/ 99 h 107"/>
                <a:gd name="T32" fmla="*/ 3 w 95"/>
                <a:gd name="T33" fmla="*/ 77 h 107"/>
                <a:gd name="T34" fmla="*/ 0 w 95"/>
                <a:gd name="T35" fmla="*/ 50 h 107"/>
                <a:gd name="T36" fmla="*/ 3 w 95"/>
                <a:gd name="T37" fmla="*/ 30 h 107"/>
                <a:gd name="T38" fmla="*/ 13 w 95"/>
                <a:gd name="T39" fmla="*/ 12 h 107"/>
                <a:gd name="T40" fmla="*/ 23 w 95"/>
                <a:gd name="T4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5" h="107">
                  <a:moveTo>
                    <a:pt x="23" y="0"/>
                  </a:moveTo>
                  <a:lnTo>
                    <a:pt x="30" y="10"/>
                  </a:lnTo>
                  <a:lnTo>
                    <a:pt x="48" y="17"/>
                  </a:lnTo>
                  <a:lnTo>
                    <a:pt x="85" y="52"/>
                  </a:lnTo>
                  <a:lnTo>
                    <a:pt x="92" y="67"/>
                  </a:lnTo>
                  <a:lnTo>
                    <a:pt x="95" y="79"/>
                  </a:lnTo>
                  <a:lnTo>
                    <a:pt x="85" y="87"/>
                  </a:lnTo>
                  <a:lnTo>
                    <a:pt x="80" y="92"/>
                  </a:lnTo>
                  <a:lnTo>
                    <a:pt x="80" y="99"/>
                  </a:lnTo>
                  <a:lnTo>
                    <a:pt x="65" y="102"/>
                  </a:lnTo>
                  <a:lnTo>
                    <a:pt x="60" y="107"/>
                  </a:lnTo>
                  <a:lnTo>
                    <a:pt x="53" y="102"/>
                  </a:lnTo>
                  <a:lnTo>
                    <a:pt x="35" y="97"/>
                  </a:lnTo>
                  <a:lnTo>
                    <a:pt x="23" y="89"/>
                  </a:lnTo>
                  <a:lnTo>
                    <a:pt x="15" y="97"/>
                  </a:lnTo>
                  <a:lnTo>
                    <a:pt x="8" y="99"/>
                  </a:lnTo>
                  <a:lnTo>
                    <a:pt x="3" y="77"/>
                  </a:lnTo>
                  <a:lnTo>
                    <a:pt x="0" y="50"/>
                  </a:lnTo>
                  <a:lnTo>
                    <a:pt x="3" y="30"/>
                  </a:lnTo>
                  <a:lnTo>
                    <a:pt x="13" y="1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7" name="Freeform 94"/>
            <p:cNvSpPr>
              <a:spLocks/>
            </p:cNvSpPr>
            <p:nvPr/>
          </p:nvSpPr>
          <p:spPr bwMode="auto">
            <a:xfrm>
              <a:off x="2523170" y="4677452"/>
              <a:ext cx="313753" cy="392911"/>
            </a:xfrm>
            <a:custGeom>
              <a:avLst/>
              <a:gdLst>
                <a:gd name="T0" fmla="*/ 201 w 218"/>
                <a:gd name="T1" fmla="*/ 211 h 273"/>
                <a:gd name="T2" fmla="*/ 208 w 218"/>
                <a:gd name="T3" fmla="*/ 209 h 273"/>
                <a:gd name="T4" fmla="*/ 216 w 218"/>
                <a:gd name="T5" fmla="*/ 196 h 273"/>
                <a:gd name="T6" fmla="*/ 218 w 218"/>
                <a:gd name="T7" fmla="*/ 174 h 273"/>
                <a:gd name="T8" fmla="*/ 211 w 218"/>
                <a:gd name="T9" fmla="*/ 169 h 273"/>
                <a:gd name="T10" fmla="*/ 208 w 218"/>
                <a:gd name="T11" fmla="*/ 156 h 273"/>
                <a:gd name="T12" fmla="*/ 199 w 218"/>
                <a:gd name="T13" fmla="*/ 154 h 273"/>
                <a:gd name="T14" fmla="*/ 199 w 218"/>
                <a:gd name="T15" fmla="*/ 142 h 273"/>
                <a:gd name="T16" fmla="*/ 174 w 218"/>
                <a:gd name="T17" fmla="*/ 142 h 273"/>
                <a:gd name="T18" fmla="*/ 169 w 218"/>
                <a:gd name="T19" fmla="*/ 134 h 273"/>
                <a:gd name="T20" fmla="*/ 164 w 218"/>
                <a:gd name="T21" fmla="*/ 134 h 273"/>
                <a:gd name="T22" fmla="*/ 161 w 218"/>
                <a:gd name="T23" fmla="*/ 109 h 273"/>
                <a:gd name="T24" fmla="*/ 171 w 218"/>
                <a:gd name="T25" fmla="*/ 102 h 273"/>
                <a:gd name="T26" fmla="*/ 161 w 218"/>
                <a:gd name="T27" fmla="*/ 99 h 273"/>
                <a:gd name="T28" fmla="*/ 159 w 218"/>
                <a:gd name="T29" fmla="*/ 82 h 273"/>
                <a:gd name="T30" fmla="*/ 151 w 218"/>
                <a:gd name="T31" fmla="*/ 79 h 273"/>
                <a:gd name="T32" fmla="*/ 131 w 218"/>
                <a:gd name="T33" fmla="*/ 77 h 273"/>
                <a:gd name="T34" fmla="*/ 129 w 218"/>
                <a:gd name="T35" fmla="*/ 67 h 273"/>
                <a:gd name="T36" fmla="*/ 116 w 218"/>
                <a:gd name="T37" fmla="*/ 64 h 273"/>
                <a:gd name="T38" fmla="*/ 114 w 218"/>
                <a:gd name="T39" fmla="*/ 59 h 273"/>
                <a:gd name="T40" fmla="*/ 87 w 218"/>
                <a:gd name="T41" fmla="*/ 59 h 273"/>
                <a:gd name="T42" fmla="*/ 84 w 218"/>
                <a:gd name="T43" fmla="*/ 55 h 273"/>
                <a:gd name="T44" fmla="*/ 77 w 218"/>
                <a:gd name="T45" fmla="*/ 40 h 273"/>
                <a:gd name="T46" fmla="*/ 74 w 218"/>
                <a:gd name="T47" fmla="*/ 2 h 273"/>
                <a:gd name="T48" fmla="*/ 49 w 218"/>
                <a:gd name="T49" fmla="*/ 0 h 273"/>
                <a:gd name="T50" fmla="*/ 49 w 218"/>
                <a:gd name="T51" fmla="*/ 15 h 273"/>
                <a:gd name="T52" fmla="*/ 39 w 218"/>
                <a:gd name="T53" fmla="*/ 12 h 273"/>
                <a:gd name="T54" fmla="*/ 34 w 218"/>
                <a:gd name="T55" fmla="*/ 22 h 273"/>
                <a:gd name="T56" fmla="*/ 29 w 218"/>
                <a:gd name="T57" fmla="*/ 27 h 273"/>
                <a:gd name="T58" fmla="*/ 17 w 218"/>
                <a:gd name="T59" fmla="*/ 32 h 273"/>
                <a:gd name="T60" fmla="*/ 5 w 218"/>
                <a:gd name="T61" fmla="*/ 30 h 273"/>
                <a:gd name="T62" fmla="*/ 17 w 218"/>
                <a:gd name="T63" fmla="*/ 50 h 273"/>
                <a:gd name="T64" fmla="*/ 17 w 218"/>
                <a:gd name="T65" fmla="*/ 69 h 273"/>
                <a:gd name="T66" fmla="*/ 7 w 218"/>
                <a:gd name="T67" fmla="*/ 77 h 273"/>
                <a:gd name="T68" fmla="*/ 7 w 218"/>
                <a:gd name="T69" fmla="*/ 99 h 273"/>
                <a:gd name="T70" fmla="*/ 5 w 218"/>
                <a:gd name="T71" fmla="*/ 132 h 273"/>
                <a:gd name="T72" fmla="*/ 12 w 218"/>
                <a:gd name="T73" fmla="*/ 142 h 273"/>
                <a:gd name="T74" fmla="*/ 5 w 218"/>
                <a:gd name="T75" fmla="*/ 144 h 273"/>
                <a:gd name="T76" fmla="*/ 0 w 218"/>
                <a:gd name="T77" fmla="*/ 159 h 273"/>
                <a:gd name="T78" fmla="*/ 10 w 218"/>
                <a:gd name="T79" fmla="*/ 169 h 273"/>
                <a:gd name="T80" fmla="*/ 12 w 218"/>
                <a:gd name="T81" fmla="*/ 186 h 273"/>
                <a:gd name="T82" fmla="*/ 29 w 218"/>
                <a:gd name="T83" fmla="*/ 201 h 273"/>
                <a:gd name="T84" fmla="*/ 29 w 218"/>
                <a:gd name="T85" fmla="*/ 241 h 273"/>
                <a:gd name="T86" fmla="*/ 42 w 218"/>
                <a:gd name="T87" fmla="*/ 266 h 273"/>
                <a:gd name="T88" fmla="*/ 54 w 218"/>
                <a:gd name="T89" fmla="*/ 273 h 273"/>
                <a:gd name="T90" fmla="*/ 67 w 218"/>
                <a:gd name="T91" fmla="*/ 251 h 273"/>
                <a:gd name="T92" fmla="*/ 82 w 218"/>
                <a:gd name="T93" fmla="*/ 263 h 273"/>
                <a:gd name="T94" fmla="*/ 104 w 218"/>
                <a:gd name="T95" fmla="*/ 271 h 273"/>
                <a:gd name="T96" fmla="*/ 124 w 218"/>
                <a:gd name="T97" fmla="*/ 253 h 273"/>
                <a:gd name="T98" fmla="*/ 131 w 218"/>
                <a:gd name="T99" fmla="*/ 224 h 273"/>
                <a:gd name="T100" fmla="*/ 136 w 218"/>
                <a:gd name="T101" fmla="*/ 209 h 273"/>
                <a:gd name="T102" fmla="*/ 159 w 218"/>
                <a:gd name="T103" fmla="*/ 199 h 273"/>
                <a:gd name="T104" fmla="*/ 171 w 218"/>
                <a:gd name="T105" fmla="*/ 189 h 273"/>
                <a:gd name="T106" fmla="*/ 194 w 218"/>
                <a:gd name="T107" fmla="*/ 196 h 273"/>
                <a:gd name="T108" fmla="*/ 201 w 218"/>
                <a:gd name="T109" fmla="*/ 21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3">
                  <a:moveTo>
                    <a:pt x="201" y="211"/>
                  </a:moveTo>
                  <a:lnTo>
                    <a:pt x="208" y="209"/>
                  </a:lnTo>
                  <a:lnTo>
                    <a:pt x="216" y="196"/>
                  </a:lnTo>
                  <a:lnTo>
                    <a:pt x="218" y="174"/>
                  </a:lnTo>
                  <a:lnTo>
                    <a:pt x="211" y="169"/>
                  </a:lnTo>
                  <a:lnTo>
                    <a:pt x="208" y="156"/>
                  </a:lnTo>
                  <a:lnTo>
                    <a:pt x="199" y="154"/>
                  </a:lnTo>
                  <a:lnTo>
                    <a:pt x="199" y="142"/>
                  </a:lnTo>
                  <a:lnTo>
                    <a:pt x="174" y="142"/>
                  </a:lnTo>
                  <a:lnTo>
                    <a:pt x="169" y="134"/>
                  </a:lnTo>
                  <a:lnTo>
                    <a:pt x="164" y="134"/>
                  </a:lnTo>
                  <a:lnTo>
                    <a:pt x="161" y="109"/>
                  </a:lnTo>
                  <a:lnTo>
                    <a:pt x="171" y="102"/>
                  </a:lnTo>
                  <a:lnTo>
                    <a:pt x="161" y="99"/>
                  </a:lnTo>
                  <a:lnTo>
                    <a:pt x="159" y="82"/>
                  </a:lnTo>
                  <a:lnTo>
                    <a:pt x="151" y="79"/>
                  </a:lnTo>
                  <a:lnTo>
                    <a:pt x="131" y="77"/>
                  </a:lnTo>
                  <a:lnTo>
                    <a:pt x="129" y="67"/>
                  </a:lnTo>
                  <a:lnTo>
                    <a:pt x="116" y="64"/>
                  </a:lnTo>
                  <a:lnTo>
                    <a:pt x="114" y="59"/>
                  </a:lnTo>
                  <a:lnTo>
                    <a:pt x="87" y="59"/>
                  </a:lnTo>
                  <a:lnTo>
                    <a:pt x="84" y="55"/>
                  </a:lnTo>
                  <a:lnTo>
                    <a:pt x="77" y="40"/>
                  </a:lnTo>
                  <a:lnTo>
                    <a:pt x="74" y="2"/>
                  </a:lnTo>
                  <a:lnTo>
                    <a:pt x="49" y="0"/>
                  </a:lnTo>
                  <a:lnTo>
                    <a:pt x="49" y="15"/>
                  </a:lnTo>
                  <a:lnTo>
                    <a:pt x="39" y="12"/>
                  </a:lnTo>
                  <a:lnTo>
                    <a:pt x="34" y="22"/>
                  </a:lnTo>
                  <a:lnTo>
                    <a:pt x="29" y="27"/>
                  </a:lnTo>
                  <a:lnTo>
                    <a:pt x="17" y="32"/>
                  </a:lnTo>
                  <a:lnTo>
                    <a:pt x="5" y="30"/>
                  </a:lnTo>
                  <a:lnTo>
                    <a:pt x="17" y="50"/>
                  </a:lnTo>
                  <a:lnTo>
                    <a:pt x="17" y="69"/>
                  </a:lnTo>
                  <a:lnTo>
                    <a:pt x="7" y="77"/>
                  </a:lnTo>
                  <a:lnTo>
                    <a:pt x="7" y="99"/>
                  </a:lnTo>
                  <a:lnTo>
                    <a:pt x="5" y="132"/>
                  </a:lnTo>
                  <a:lnTo>
                    <a:pt x="12" y="142"/>
                  </a:lnTo>
                  <a:lnTo>
                    <a:pt x="5" y="144"/>
                  </a:lnTo>
                  <a:lnTo>
                    <a:pt x="0" y="159"/>
                  </a:lnTo>
                  <a:lnTo>
                    <a:pt x="10" y="169"/>
                  </a:lnTo>
                  <a:lnTo>
                    <a:pt x="12" y="186"/>
                  </a:lnTo>
                  <a:lnTo>
                    <a:pt x="29" y="201"/>
                  </a:lnTo>
                  <a:lnTo>
                    <a:pt x="29" y="241"/>
                  </a:lnTo>
                  <a:lnTo>
                    <a:pt x="42" y="266"/>
                  </a:lnTo>
                  <a:lnTo>
                    <a:pt x="54" y="273"/>
                  </a:lnTo>
                  <a:lnTo>
                    <a:pt x="67" y="251"/>
                  </a:lnTo>
                  <a:lnTo>
                    <a:pt x="82" y="263"/>
                  </a:lnTo>
                  <a:lnTo>
                    <a:pt x="104" y="271"/>
                  </a:lnTo>
                  <a:lnTo>
                    <a:pt x="124" y="253"/>
                  </a:lnTo>
                  <a:lnTo>
                    <a:pt x="131" y="224"/>
                  </a:lnTo>
                  <a:lnTo>
                    <a:pt x="136" y="209"/>
                  </a:lnTo>
                  <a:lnTo>
                    <a:pt x="159" y="199"/>
                  </a:lnTo>
                  <a:lnTo>
                    <a:pt x="171" y="189"/>
                  </a:lnTo>
                  <a:lnTo>
                    <a:pt x="194" y="196"/>
                  </a:lnTo>
                  <a:lnTo>
                    <a:pt x="201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8" name="Freeform 95"/>
            <p:cNvSpPr>
              <a:spLocks/>
            </p:cNvSpPr>
            <p:nvPr/>
          </p:nvSpPr>
          <p:spPr bwMode="auto">
            <a:xfrm>
              <a:off x="2468479" y="4906290"/>
              <a:ext cx="182783" cy="1191687"/>
            </a:xfrm>
            <a:custGeom>
              <a:avLst/>
              <a:gdLst>
                <a:gd name="T0" fmla="*/ 70 w 127"/>
                <a:gd name="T1" fmla="*/ 768 h 828"/>
                <a:gd name="T2" fmla="*/ 50 w 127"/>
                <a:gd name="T3" fmla="*/ 733 h 828"/>
                <a:gd name="T4" fmla="*/ 58 w 127"/>
                <a:gd name="T5" fmla="*/ 676 h 828"/>
                <a:gd name="T6" fmla="*/ 60 w 127"/>
                <a:gd name="T7" fmla="*/ 587 h 828"/>
                <a:gd name="T8" fmla="*/ 53 w 127"/>
                <a:gd name="T9" fmla="*/ 537 h 828"/>
                <a:gd name="T10" fmla="*/ 40 w 127"/>
                <a:gd name="T11" fmla="*/ 487 h 828"/>
                <a:gd name="T12" fmla="*/ 55 w 127"/>
                <a:gd name="T13" fmla="*/ 455 h 828"/>
                <a:gd name="T14" fmla="*/ 50 w 127"/>
                <a:gd name="T15" fmla="*/ 400 h 828"/>
                <a:gd name="T16" fmla="*/ 50 w 127"/>
                <a:gd name="T17" fmla="*/ 378 h 828"/>
                <a:gd name="T18" fmla="*/ 60 w 127"/>
                <a:gd name="T19" fmla="*/ 348 h 828"/>
                <a:gd name="T20" fmla="*/ 50 w 127"/>
                <a:gd name="T21" fmla="*/ 326 h 828"/>
                <a:gd name="T22" fmla="*/ 58 w 127"/>
                <a:gd name="T23" fmla="*/ 288 h 828"/>
                <a:gd name="T24" fmla="*/ 53 w 127"/>
                <a:gd name="T25" fmla="*/ 244 h 828"/>
                <a:gd name="T26" fmla="*/ 60 w 127"/>
                <a:gd name="T27" fmla="*/ 214 h 828"/>
                <a:gd name="T28" fmla="*/ 77 w 127"/>
                <a:gd name="T29" fmla="*/ 189 h 828"/>
                <a:gd name="T30" fmla="*/ 80 w 127"/>
                <a:gd name="T31" fmla="*/ 164 h 828"/>
                <a:gd name="T32" fmla="*/ 90 w 127"/>
                <a:gd name="T33" fmla="*/ 137 h 828"/>
                <a:gd name="T34" fmla="*/ 80 w 127"/>
                <a:gd name="T35" fmla="*/ 107 h 828"/>
                <a:gd name="T36" fmla="*/ 67 w 127"/>
                <a:gd name="T37" fmla="*/ 42 h 828"/>
                <a:gd name="T38" fmla="*/ 48 w 127"/>
                <a:gd name="T39" fmla="*/ 10 h 828"/>
                <a:gd name="T40" fmla="*/ 25 w 127"/>
                <a:gd name="T41" fmla="*/ 12 h 828"/>
                <a:gd name="T42" fmla="*/ 35 w 127"/>
                <a:gd name="T43" fmla="*/ 47 h 828"/>
                <a:gd name="T44" fmla="*/ 28 w 127"/>
                <a:gd name="T45" fmla="*/ 127 h 828"/>
                <a:gd name="T46" fmla="*/ 35 w 127"/>
                <a:gd name="T47" fmla="*/ 137 h 828"/>
                <a:gd name="T48" fmla="*/ 30 w 127"/>
                <a:gd name="T49" fmla="*/ 179 h 828"/>
                <a:gd name="T50" fmla="*/ 15 w 127"/>
                <a:gd name="T51" fmla="*/ 229 h 828"/>
                <a:gd name="T52" fmla="*/ 18 w 127"/>
                <a:gd name="T53" fmla="*/ 263 h 828"/>
                <a:gd name="T54" fmla="*/ 18 w 127"/>
                <a:gd name="T55" fmla="*/ 328 h 828"/>
                <a:gd name="T56" fmla="*/ 5 w 127"/>
                <a:gd name="T57" fmla="*/ 418 h 828"/>
                <a:gd name="T58" fmla="*/ 13 w 127"/>
                <a:gd name="T59" fmla="*/ 537 h 828"/>
                <a:gd name="T60" fmla="*/ 18 w 127"/>
                <a:gd name="T61" fmla="*/ 554 h 828"/>
                <a:gd name="T62" fmla="*/ 25 w 127"/>
                <a:gd name="T63" fmla="*/ 611 h 828"/>
                <a:gd name="T64" fmla="*/ 15 w 127"/>
                <a:gd name="T65" fmla="*/ 656 h 828"/>
                <a:gd name="T66" fmla="*/ 15 w 127"/>
                <a:gd name="T67" fmla="*/ 693 h 828"/>
                <a:gd name="T68" fmla="*/ 35 w 127"/>
                <a:gd name="T69" fmla="*/ 743 h 828"/>
                <a:gd name="T70" fmla="*/ 50 w 127"/>
                <a:gd name="T71" fmla="*/ 768 h 828"/>
                <a:gd name="T72" fmla="*/ 67 w 127"/>
                <a:gd name="T73" fmla="*/ 783 h 828"/>
                <a:gd name="T74" fmla="*/ 90 w 127"/>
                <a:gd name="T75" fmla="*/ 803 h 828"/>
                <a:gd name="T76" fmla="*/ 107 w 127"/>
                <a:gd name="T77" fmla="*/ 828 h 828"/>
                <a:gd name="T78" fmla="*/ 127 w 127"/>
                <a:gd name="T79" fmla="*/ 79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" h="828">
                  <a:moveTo>
                    <a:pt x="122" y="766"/>
                  </a:moveTo>
                  <a:lnTo>
                    <a:pt x="70" y="768"/>
                  </a:lnTo>
                  <a:lnTo>
                    <a:pt x="65" y="743"/>
                  </a:lnTo>
                  <a:lnTo>
                    <a:pt x="50" y="733"/>
                  </a:lnTo>
                  <a:lnTo>
                    <a:pt x="48" y="679"/>
                  </a:lnTo>
                  <a:lnTo>
                    <a:pt x="58" y="676"/>
                  </a:lnTo>
                  <a:lnTo>
                    <a:pt x="60" y="661"/>
                  </a:lnTo>
                  <a:lnTo>
                    <a:pt x="60" y="587"/>
                  </a:lnTo>
                  <a:lnTo>
                    <a:pt x="53" y="567"/>
                  </a:lnTo>
                  <a:lnTo>
                    <a:pt x="53" y="537"/>
                  </a:lnTo>
                  <a:lnTo>
                    <a:pt x="48" y="505"/>
                  </a:lnTo>
                  <a:lnTo>
                    <a:pt x="40" y="487"/>
                  </a:lnTo>
                  <a:lnTo>
                    <a:pt x="43" y="472"/>
                  </a:lnTo>
                  <a:lnTo>
                    <a:pt x="55" y="455"/>
                  </a:lnTo>
                  <a:lnTo>
                    <a:pt x="38" y="420"/>
                  </a:lnTo>
                  <a:lnTo>
                    <a:pt x="50" y="400"/>
                  </a:lnTo>
                  <a:lnTo>
                    <a:pt x="58" y="388"/>
                  </a:lnTo>
                  <a:lnTo>
                    <a:pt x="50" y="378"/>
                  </a:lnTo>
                  <a:lnTo>
                    <a:pt x="50" y="350"/>
                  </a:lnTo>
                  <a:lnTo>
                    <a:pt x="60" y="348"/>
                  </a:lnTo>
                  <a:lnTo>
                    <a:pt x="60" y="328"/>
                  </a:lnTo>
                  <a:lnTo>
                    <a:pt x="50" y="326"/>
                  </a:lnTo>
                  <a:lnTo>
                    <a:pt x="50" y="296"/>
                  </a:lnTo>
                  <a:lnTo>
                    <a:pt x="58" y="288"/>
                  </a:lnTo>
                  <a:lnTo>
                    <a:pt x="55" y="273"/>
                  </a:lnTo>
                  <a:lnTo>
                    <a:pt x="53" y="244"/>
                  </a:lnTo>
                  <a:lnTo>
                    <a:pt x="58" y="231"/>
                  </a:lnTo>
                  <a:lnTo>
                    <a:pt x="60" y="214"/>
                  </a:lnTo>
                  <a:lnTo>
                    <a:pt x="72" y="206"/>
                  </a:lnTo>
                  <a:lnTo>
                    <a:pt x="77" y="189"/>
                  </a:lnTo>
                  <a:lnTo>
                    <a:pt x="70" y="176"/>
                  </a:lnTo>
                  <a:lnTo>
                    <a:pt x="80" y="164"/>
                  </a:lnTo>
                  <a:lnTo>
                    <a:pt x="80" y="139"/>
                  </a:lnTo>
                  <a:lnTo>
                    <a:pt x="90" y="137"/>
                  </a:lnTo>
                  <a:lnTo>
                    <a:pt x="92" y="114"/>
                  </a:lnTo>
                  <a:lnTo>
                    <a:pt x="80" y="107"/>
                  </a:lnTo>
                  <a:lnTo>
                    <a:pt x="67" y="82"/>
                  </a:lnTo>
                  <a:lnTo>
                    <a:pt x="67" y="42"/>
                  </a:lnTo>
                  <a:lnTo>
                    <a:pt x="50" y="27"/>
                  </a:lnTo>
                  <a:lnTo>
                    <a:pt x="48" y="10"/>
                  </a:lnTo>
                  <a:lnTo>
                    <a:pt x="38" y="0"/>
                  </a:lnTo>
                  <a:lnTo>
                    <a:pt x="25" y="12"/>
                  </a:lnTo>
                  <a:lnTo>
                    <a:pt x="30" y="37"/>
                  </a:lnTo>
                  <a:lnTo>
                    <a:pt x="35" y="47"/>
                  </a:lnTo>
                  <a:lnTo>
                    <a:pt x="35" y="117"/>
                  </a:lnTo>
                  <a:lnTo>
                    <a:pt x="28" y="127"/>
                  </a:lnTo>
                  <a:lnTo>
                    <a:pt x="28" y="137"/>
                  </a:lnTo>
                  <a:lnTo>
                    <a:pt x="35" y="137"/>
                  </a:lnTo>
                  <a:lnTo>
                    <a:pt x="35" y="179"/>
                  </a:lnTo>
                  <a:lnTo>
                    <a:pt x="30" y="179"/>
                  </a:lnTo>
                  <a:lnTo>
                    <a:pt x="28" y="229"/>
                  </a:lnTo>
                  <a:lnTo>
                    <a:pt x="15" y="229"/>
                  </a:lnTo>
                  <a:lnTo>
                    <a:pt x="23" y="241"/>
                  </a:lnTo>
                  <a:lnTo>
                    <a:pt x="18" y="263"/>
                  </a:lnTo>
                  <a:lnTo>
                    <a:pt x="13" y="326"/>
                  </a:lnTo>
                  <a:lnTo>
                    <a:pt x="18" y="328"/>
                  </a:lnTo>
                  <a:lnTo>
                    <a:pt x="10" y="405"/>
                  </a:lnTo>
                  <a:lnTo>
                    <a:pt x="5" y="418"/>
                  </a:lnTo>
                  <a:lnTo>
                    <a:pt x="0" y="425"/>
                  </a:lnTo>
                  <a:lnTo>
                    <a:pt x="13" y="537"/>
                  </a:lnTo>
                  <a:lnTo>
                    <a:pt x="5" y="554"/>
                  </a:lnTo>
                  <a:lnTo>
                    <a:pt x="18" y="554"/>
                  </a:lnTo>
                  <a:lnTo>
                    <a:pt x="23" y="557"/>
                  </a:lnTo>
                  <a:lnTo>
                    <a:pt x="25" y="611"/>
                  </a:lnTo>
                  <a:lnTo>
                    <a:pt x="18" y="629"/>
                  </a:lnTo>
                  <a:lnTo>
                    <a:pt x="15" y="656"/>
                  </a:lnTo>
                  <a:lnTo>
                    <a:pt x="28" y="664"/>
                  </a:lnTo>
                  <a:lnTo>
                    <a:pt x="15" y="693"/>
                  </a:lnTo>
                  <a:lnTo>
                    <a:pt x="25" y="726"/>
                  </a:lnTo>
                  <a:lnTo>
                    <a:pt x="35" y="743"/>
                  </a:lnTo>
                  <a:lnTo>
                    <a:pt x="48" y="748"/>
                  </a:lnTo>
                  <a:lnTo>
                    <a:pt x="50" y="768"/>
                  </a:lnTo>
                  <a:lnTo>
                    <a:pt x="55" y="778"/>
                  </a:lnTo>
                  <a:lnTo>
                    <a:pt x="67" y="783"/>
                  </a:lnTo>
                  <a:lnTo>
                    <a:pt x="75" y="793"/>
                  </a:lnTo>
                  <a:lnTo>
                    <a:pt x="90" y="803"/>
                  </a:lnTo>
                  <a:lnTo>
                    <a:pt x="100" y="813"/>
                  </a:lnTo>
                  <a:lnTo>
                    <a:pt x="107" y="828"/>
                  </a:lnTo>
                  <a:lnTo>
                    <a:pt x="115" y="805"/>
                  </a:lnTo>
                  <a:lnTo>
                    <a:pt x="127" y="798"/>
                  </a:lnTo>
                  <a:lnTo>
                    <a:pt x="122" y="76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89" name="Freeform 96"/>
            <p:cNvSpPr>
              <a:spLocks/>
            </p:cNvSpPr>
            <p:nvPr/>
          </p:nvSpPr>
          <p:spPr bwMode="auto">
            <a:xfrm>
              <a:off x="2901690" y="4219775"/>
              <a:ext cx="86354" cy="113699"/>
            </a:xfrm>
            <a:custGeom>
              <a:avLst/>
              <a:gdLst>
                <a:gd name="T0" fmla="*/ 10 w 60"/>
                <a:gd name="T1" fmla="*/ 2 h 79"/>
                <a:gd name="T2" fmla="*/ 5 w 60"/>
                <a:gd name="T3" fmla="*/ 12 h 79"/>
                <a:gd name="T4" fmla="*/ 5 w 60"/>
                <a:gd name="T5" fmla="*/ 62 h 79"/>
                <a:gd name="T6" fmla="*/ 0 w 60"/>
                <a:gd name="T7" fmla="*/ 69 h 79"/>
                <a:gd name="T8" fmla="*/ 8 w 60"/>
                <a:gd name="T9" fmla="*/ 77 h 79"/>
                <a:gd name="T10" fmla="*/ 25 w 60"/>
                <a:gd name="T11" fmla="*/ 79 h 79"/>
                <a:gd name="T12" fmla="*/ 30 w 60"/>
                <a:gd name="T13" fmla="*/ 67 h 79"/>
                <a:gd name="T14" fmla="*/ 35 w 60"/>
                <a:gd name="T15" fmla="*/ 57 h 79"/>
                <a:gd name="T16" fmla="*/ 45 w 60"/>
                <a:gd name="T17" fmla="*/ 47 h 79"/>
                <a:gd name="T18" fmla="*/ 60 w 60"/>
                <a:gd name="T19" fmla="*/ 47 h 79"/>
                <a:gd name="T20" fmla="*/ 55 w 60"/>
                <a:gd name="T21" fmla="*/ 34 h 79"/>
                <a:gd name="T22" fmla="*/ 45 w 60"/>
                <a:gd name="T23" fmla="*/ 27 h 79"/>
                <a:gd name="T24" fmla="*/ 42 w 60"/>
                <a:gd name="T25" fmla="*/ 17 h 79"/>
                <a:gd name="T26" fmla="*/ 32 w 60"/>
                <a:gd name="T27" fmla="*/ 12 h 79"/>
                <a:gd name="T28" fmla="*/ 20 w 60"/>
                <a:gd name="T29" fmla="*/ 10 h 79"/>
                <a:gd name="T30" fmla="*/ 18 w 60"/>
                <a:gd name="T31" fmla="*/ 0 h 79"/>
                <a:gd name="T32" fmla="*/ 10 w 60"/>
                <a:gd name="T33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79">
                  <a:moveTo>
                    <a:pt x="10" y="2"/>
                  </a:moveTo>
                  <a:lnTo>
                    <a:pt x="5" y="12"/>
                  </a:lnTo>
                  <a:lnTo>
                    <a:pt x="5" y="62"/>
                  </a:lnTo>
                  <a:lnTo>
                    <a:pt x="0" y="69"/>
                  </a:lnTo>
                  <a:lnTo>
                    <a:pt x="8" y="77"/>
                  </a:lnTo>
                  <a:lnTo>
                    <a:pt x="25" y="79"/>
                  </a:lnTo>
                  <a:lnTo>
                    <a:pt x="30" y="67"/>
                  </a:lnTo>
                  <a:lnTo>
                    <a:pt x="35" y="57"/>
                  </a:lnTo>
                  <a:lnTo>
                    <a:pt x="45" y="47"/>
                  </a:lnTo>
                  <a:lnTo>
                    <a:pt x="60" y="47"/>
                  </a:lnTo>
                  <a:lnTo>
                    <a:pt x="55" y="34"/>
                  </a:lnTo>
                  <a:lnTo>
                    <a:pt x="45" y="27"/>
                  </a:lnTo>
                  <a:lnTo>
                    <a:pt x="42" y="17"/>
                  </a:lnTo>
                  <a:lnTo>
                    <a:pt x="32" y="12"/>
                  </a:lnTo>
                  <a:lnTo>
                    <a:pt x="20" y="10"/>
                  </a:lnTo>
                  <a:lnTo>
                    <a:pt x="18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0" name="Freeform 97"/>
            <p:cNvSpPr>
              <a:spLocks/>
            </p:cNvSpPr>
            <p:nvPr/>
          </p:nvSpPr>
          <p:spPr bwMode="auto">
            <a:xfrm>
              <a:off x="2836924" y="5965567"/>
              <a:ext cx="93551" cy="63326"/>
            </a:xfrm>
            <a:custGeom>
              <a:avLst/>
              <a:gdLst>
                <a:gd name="T0" fmla="*/ 20 w 65"/>
                <a:gd name="T1" fmla="*/ 12 h 44"/>
                <a:gd name="T2" fmla="*/ 0 w 65"/>
                <a:gd name="T3" fmla="*/ 15 h 44"/>
                <a:gd name="T4" fmla="*/ 0 w 65"/>
                <a:gd name="T5" fmla="*/ 32 h 44"/>
                <a:gd name="T6" fmla="*/ 3 w 65"/>
                <a:gd name="T7" fmla="*/ 44 h 44"/>
                <a:gd name="T8" fmla="*/ 15 w 65"/>
                <a:gd name="T9" fmla="*/ 32 h 44"/>
                <a:gd name="T10" fmla="*/ 25 w 65"/>
                <a:gd name="T11" fmla="*/ 37 h 44"/>
                <a:gd name="T12" fmla="*/ 50 w 65"/>
                <a:gd name="T13" fmla="*/ 30 h 44"/>
                <a:gd name="T14" fmla="*/ 65 w 65"/>
                <a:gd name="T15" fmla="*/ 22 h 44"/>
                <a:gd name="T16" fmla="*/ 48 w 65"/>
                <a:gd name="T17" fmla="*/ 12 h 44"/>
                <a:gd name="T18" fmla="*/ 35 w 65"/>
                <a:gd name="T19" fmla="*/ 0 h 44"/>
                <a:gd name="T20" fmla="*/ 35 w 65"/>
                <a:gd name="T21" fmla="*/ 12 h 44"/>
                <a:gd name="T22" fmla="*/ 20 w 65"/>
                <a:gd name="T2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4">
                  <a:moveTo>
                    <a:pt x="20" y="12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3" y="44"/>
                  </a:lnTo>
                  <a:lnTo>
                    <a:pt x="15" y="32"/>
                  </a:lnTo>
                  <a:lnTo>
                    <a:pt x="25" y="37"/>
                  </a:lnTo>
                  <a:lnTo>
                    <a:pt x="50" y="30"/>
                  </a:lnTo>
                  <a:lnTo>
                    <a:pt x="65" y="22"/>
                  </a:lnTo>
                  <a:lnTo>
                    <a:pt x="48" y="12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3052809" y="2047968"/>
              <a:ext cx="63326" cy="31663"/>
            </a:xfrm>
            <a:custGeom>
              <a:avLst/>
              <a:gdLst>
                <a:gd name="T0" fmla="*/ 14 w 44"/>
                <a:gd name="T1" fmla="*/ 0 h 22"/>
                <a:gd name="T2" fmla="*/ 0 w 44"/>
                <a:gd name="T3" fmla="*/ 22 h 22"/>
                <a:gd name="T4" fmla="*/ 22 w 44"/>
                <a:gd name="T5" fmla="*/ 22 h 22"/>
                <a:gd name="T6" fmla="*/ 44 w 44"/>
                <a:gd name="T7" fmla="*/ 12 h 22"/>
                <a:gd name="T8" fmla="*/ 14 w 44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2">
                  <a:moveTo>
                    <a:pt x="14" y="0"/>
                  </a:moveTo>
                  <a:lnTo>
                    <a:pt x="0" y="22"/>
                  </a:lnTo>
                  <a:lnTo>
                    <a:pt x="22" y="22"/>
                  </a:lnTo>
                  <a:lnTo>
                    <a:pt x="44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397420" y="2000474"/>
              <a:ext cx="833317" cy="690833"/>
            </a:xfrm>
            <a:custGeom>
              <a:avLst/>
              <a:gdLst>
                <a:gd name="T0" fmla="*/ 276 w 579"/>
                <a:gd name="T1" fmla="*/ 13 h 480"/>
                <a:gd name="T2" fmla="*/ 229 w 579"/>
                <a:gd name="T3" fmla="*/ 30 h 480"/>
                <a:gd name="T4" fmla="*/ 172 w 579"/>
                <a:gd name="T5" fmla="*/ 68 h 480"/>
                <a:gd name="T6" fmla="*/ 104 w 579"/>
                <a:gd name="T7" fmla="*/ 92 h 480"/>
                <a:gd name="T8" fmla="*/ 189 w 579"/>
                <a:gd name="T9" fmla="*/ 140 h 480"/>
                <a:gd name="T10" fmla="*/ 127 w 579"/>
                <a:gd name="T11" fmla="*/ 152 h 480"/>
                <a:gd name="T12" fmla="*/ 97 w 579"/>
                <a:gd name="T13" fmla="*/ 142 h 480"/>
                <a:gd name="T14" fmla="*/ 67 w 579"/>
                <a:gd name="T15" fmla="*/ 155 h 480"/>
                <a:gd name="T16" fmla="*/ 77 w 579"/>
                <a:gd name="T17" fmla="*/ 177 h 480"/>
                <a:gd name="T18" fmla="*/ 84 w 579"/>
                <a:gd name="T19" fmla="*/ 204 h 480"/>
                <a:gd name="T20" fmla="*/ 147 w 579"/>
                <a:gd name="T21" fmla="*/ 189 h 480"/>
                <a:gd name="T22" fmla="*/ 144 w 579"/>
                <a:gd name="T23" fmla="*/ 207 h 480"/>
                <a:gd name="T24" fmla="*/ 112 w 579"/>
                <a:gd name="T25" fmla="*/ 229 h 480"/>
                <a:gd name="T26" fmla="*/ 92 w 579"/>
                <a:gd name="T27" fmla="*/ 234 h 480"/>
                <a:gd name="T28" fmla="*/ 65 w 579"/>
                <a:gd name="T29" fmla="*/ 264 h 480"/>
                <a:gd name="T30" fmla="*/ 47 w 579"/>
                <a:gd name="T31" fmla="*/ 294 h 480"/>
                <a:gd name="T32" fmla="*/ 42 w 579"/>
                <a:gd name="T33" fmla="*/ 311 h 480"/>
                <a:gd name="T34" fmla="*/ 77 w 579"/>
                <a:gd name="T35" fmla="*/ 326 h 480"/>
                <a:gd name="T36" fmla="*/ 84 w 579"/>
                <a:gd name="T37" fmla="*/ 336 h 480"/>
                <a:gd name="T38" fmla="*/ 80 w 579"/>
                <a:gd name="T39" fmla="*/ 371 h 480"/>
                <a:gd name="T40" fmla="*/ 117 w 579"/>
                <a:gd name="T41" fmla="*/ 368 h 480"/>
                <a:gd name="T42" fmla="*/ 142 w 579"/>
                <a:gd name="T43" fmla="*/ 391 h 480"/>
                <a:gd name="T44" fmla="*/ 20 w 579"/>
                <a:gd name="T45" fmla="*/ 458 h 480"/>
                <a:gd name="T46" fmla="*/ 0 w 579"/>
                <a:gd name="T47" fmla="*/ 480 h 480"/>
                <a:gd name="T48" fmla="*/ 164 w 579"/>
                <a:gd name="T49" fmla="*/ 406 h 480"/>
                <a:gd name="T50" fmla="*/ 189 w 579"/>
                <a:gd name="T51" fmla="*/ 388 h 480"/>
                <a:gd name="T52" fmla="*/ 209 w 579"/>
                <a:gd name="T53" fmla="*/ 356 h 480"/>
                <a:gd name="T54" fmla="*/ 268 w 579"/>
                <a:gd name="T55" fmla="*/ 289 h 480"/>
                <a:gd name="T56" fmla="*/ 254 w 579"/>
                <a:gd name="T57" fmla="*/ 331 h 480"/>
                <a:gd name="T58" fmla="*/ 249 w 579"/>
                <a:gd name="T59" fmla="*/ 351 h 480"/>
                <a:gd name="T60" fmla="*/ 268 w 579"/>
                <a:gd name="T61" fmla="*/ 361 h 480"/>
                <a:gd name="T62" fmla="*/ 291 w 579"/>
                <a:gd name="T63" fmla="*/ 346 h 480"/>
                <a:gd name="T64" fmla="*/ 306 w 579"/>
                <a:gd name="T65" fmla="*/ 329 h 480"/>
                <a:gd name="T66" fmla="*/ 323 w 579"/>
                <a:gd name="T67" fmla="*/ 301 h 480"/>
                <a:gd name="T68" fmla="*/ 350 w 579"/>
                <a:gd name="T69" fmla="*/ 304 h 480"/>
                <a:gd name="T70" fmla="*/ 368 w 579"/>
                <a:gd name="T71" fmla="*/ 321 h 480"/>
                <a:gd name="T72" fmla="*/ 428 w 579"/>
                <a:gd name="T73" fmla="*/ 329 h 480"/>
                <a:gd name="T74" fmla="*/ 447 w 579"/>
                <a:gd name="T75" fmla="*/ 346 h 480"/>
                <a:gd name="T76" fmla="*/ 465 w 579"/>
                <a:gd name="T77" fmla="*/ 358 h 480"/>
                <a:gd name="T78" fmla="*/ 485 w 579"/>
                <a:gd name="T79" fmla="*/ 378 h 480"/>
                <a:gd name="T80" fmla="*/ 500 w 579"/>
                <a:gd name="T81" fmla="*/ 378 h 480"/>
                <a:gd name="T82" fmla="*/ 517 w 579"/>
                <a:gd name="T83" fmla="*/ 378 h 480"/>
                <a:gd name="T84" fmla="*/ 522 w 579"/>
                <a:gd name="T85" fmla="*/ 388 h 480"/>
                <a:gd name="T86" fmla="*/ 529 w 579"/>
                <a:gd name="T87" fmla="*/ 413 h 480"/>
                <a:gd name="T88" fmla="*/ 539 w 579"/>
                <a:gd name="T89" fmla="*/ 428 h 480"/>
                <a:gd name="T90" fmla="*/ 567 w 579"/>
                <a:gd name="T91" fmla="*/ 435 h 480"/>
                <a:gd name="T92" fmla="*/ 557 w 579"/>
                <a:gd name="T93" fmla="*/ 418 h 480"/>
                <a:gd name="T94" fmla="*/ 539 w 579"/>
                <a:gd name="T95" fmla="*/ 383 h 480"/>
                <a:gd name="T96" fmla="*/ 510 w 579"/>
                <a:gd name="T97" fmla="*/ 334 h 480"/>
                <a:gd name="T98" fmla="*/ 495 w 579"/>
                <a:gd name="T99" fmla="*/ 344 h 480"/>
                <a:gd name="T100" fmla="*/ 480 w 579"/>
                <a:gd name="T101" fmla="*/ 353 h 480"/>
                <a:gd name="T102" fmla="*/ 460 w 579"/>
                <a:gd name="T103" fmla="*/ 321 h 480"/>
                <a:gd name="T104" fmla="*/ 438 w 579"/>
                <a:gd name="T105" fmla="*/ 321 h 480"/>
                <a:gd name="T106" fmla="*/ 497 w 579"/>
                <a:gd name="T107" fmla="*/ 33 h 480"/>
                <a:gd name="T108" fmla="*/ 435 w 579"/>
                <a:gd name="T109" fmla="*/ 40 h 480"/>
                <a:gd name="T110" fmla="*/ 368 w 579"/>
                <a:gd name="T111" fmla="*/ 30 h 480"/>
                <a:gd name="T112" fmla="*/ 331 w 579"/>
                <a:gd name="T113" fmla="*/ 23 h 480"/>
                <a:gd name="T114" fmla="*/ 303 w 579"/>
                <a:gd name="T115" fmla="*/ 3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9" h="480">
                  <a:moveTo>
                    <a:pt x="291" y="0"/>
                  </a:moveTo>
                  <a:lnTo>
                    <a:pt x="276" y="13"/>
                  </a:lnTo>
                  <a:lnTo>
                    <a:pt x="239" y="13"/>
                  </a:lnTo>
                  <a:lnTo>
                    <a:pt x="229" y="30"/>
                  </a:lnTo>
                  <a:lnTo>
                    <a:pt x="186" y="35"/>
                  </a:lnTo>
                  <a:lnTo>
                    <a:pt x="172" y="68"/>
                  </a:lnTo>
                  <a:lnTo>
                    <a:pt x="109" y="78"/>
                  </a:lnTo>
                  <a:lnTo>
                    <a:pt x="104" y="92"/>
                  </a:lnTo>
                  <a:lnTo>
                    <a:pt x="137" y="117"/>
                  </a:lnTo>
                  <a:lnTo>
                    <a:pt x="189" y="140"/>
                  </a:lnTo>
                  <a:lnTo>
                    <a:pt x="152" y="145"/>
                  </a:lnTo>
                  <a:lnTo>
                    <a:pt x="127" y="152"/>
                  </a:lnTo>
                  <a:lnTo>
                    <a:pt x="117" y="137"/>
                  </a:lnTo>
                  <a:lnTo>
                    <a:pt x="97" y="142"/>
                  </a:lnTo>
                  <a:lnTo>
                    <a:pt x="97" y="152"/>
                  </a:lnTo>
                  <a:lnTo>
                    <a:pt x="67" y="155"/>
                  </a:lnTo>
                  <a:lnTo>
                    <a:pt x="57" y="167"/>
                  </a:lnTo>
                  <a:lnTo>
                    <a:pt x="77" y="177"/>
                  </a:lnTo>
                  <a:lnTo>
                    <a:pt x="72" y="194"/>
                  </a:lnTo>
                  <a:lnTo>
                    <a:pt x="84" y="204"/>
                  </a:lnTo>
                  <a:lnTo>
                    <a:pt x="122" y="204"/>
                  </a:lnTo>
                  <a:lnTo>
                    <a:pt x="147" y="189"/>
                  </a:lnTo>
                  <a:lnTo>
                    <a:pt x="157" y="197"/>
                  </a:lnTo>
                  <a:lnTo>
                    <a:pt x="144" y="207"/>
                  </a:lnTo>
                  <a:lnTo>
                    <a:pt x="142" y="229"/>
                  </a:lnTo>
                  <a:lnTo>
                    <a:pt x="112" y="229"/>
                  </a:lnTo>
                  <a:lnTo>
                    <a:pt x="107" y="247"/>
                  </a:lnTo>
                  <a:lnTo>
                    <a:pt x="92" y="234"/>
                  </a:lnTo>
                  <a:lnTo>
                    <a:pt x="67" y="247"/>
                  </a:lnTo>
                  <a:lnTo>
                    <a:pt x="65" y="264"/>
                  </a:lnTo>
                  <a:lnTo>
                    <a:pt x="40" y="279"/>
                  </a:lnTo>
                  <a:lnTo>
                    <a:pt x="47" y="294"/>
                  </a:lnTo>
                  <a:lnTo>
                    <a:pt x="65" y="299"/>
                  </a:lnTo>
                  <a:lnTo>
                    <a:pt x="42" y="311"/>
                  </a:lnTo>
                  <a:lnTo>
                    <a:pt x="57" y="329"/>
                  </a:lnTo>
                  <a:lnTo>
                    <a:pt x="77" y="326"/>
                  </a:lnTo>
                  <a:lnTo>
                    <a:pt x="84" y="311"/>
                  </a:lnTo>
                  <a:lnTo>
                    <a:pt x="84" y="336"/>
                  </a:lnTo>
                  <a:lnTo>
                    <a:pt x="77" y="351"/>
                  </a:lnTo>
                  <a:lnTo>
                    <a:pt x="80" y="371"/>
                  </a:lnTo>
                  <a:lnTo>
                    <a:pt x="107" y="361"/>
                  </a:lnTo>
                  <a:lnTo>
                    <a:pt x="117" y="368"/>
                  </a:lnTo>
                  <a:lnTo>
                    <a:pt x="137" y="361"/>
                  </a:lnTo>
                  <a:lnTo>
                    <a:pt x="142" y="391"/>
                  </a:lnTo>
                  <a:lnTo>
                    <a:pt x="70" y="435"/>
                  </a:lnTo>
                  <a:lnTo>
                    <a:pt x="20" y="458"/>
                  </a:lnTo>
                  <a:lnTo>
                    <a:pt x="0" y="470"/>
                  </a:lnTo>
                  <a:lnTo>
                    <a:pt x="0" y="480"/>
                  </a:lnTo>
                  <a:lnTo>
                    <a:pt x="77" y="465"/>
                  </a:lnTo>
                  <a:lnTo>
                    <a:pt x="164" y="406"/>
                  </a:lnTo>
                  <a:lnTo>
                    <a:pt x="174" y="398"/>
                  </a:lnTo>
                  <a:lnTo>
                    <a:pt x="189" y="388"/>
                  </a:lnTo>
                  <a:lnTo>
                    <a:pt x="214" y="373"/>
                  </a:lnTo>
                  <a:lnTo>
                    <a:pt x="209" y="356"/>
                  </a:lnTo>
                  <a:lnTo>
                    <a:pt x="236" y="331"/>
                  </a:lnTo>
                  <a:lnTo>
                    <a:pt x="268" y="289"/>
                  </a:lnTo>
                  <a:lnTo>
                    <a:pt x="298" y="296"/>
                  </a:lnTo>
                  <a:lnTo>
                    <a:pt x="254" y="331"/>
                  </a:lnTo>
                  <a:lnTo>
                    <a:pt x="261" y="341"/>
                  </a:lnTo>
                  <a:lnTo>
                    <a:pt x="249" y="351"/>
                  </a:lnTo>
                  <a:lnTo>
                    <a:pt x="261" y="361"/>
                  </a:lnTo>
                  <a:lnTo>
                    <a:pt x="268" y="361"/>
                  </a:lnTo>
                  <a:lnTo>
                    <a:pt x="276" y="358"/>
                  </a:lnTo>
                  <a:lnTo>
                    <a:pt x="291" y="346"/>
                  </a:lnTo>
                  <a:lnTo>
                    <a:pt x="301" y="334"/>
                  </a:lnTo>
                  <a:lnTo>
                    <a:pt x="306" y="329"/>
                  </a:lnTo>
                  <a:lnTo>
                    <a:pt x="321" y="321"/>
                  </a:lnTo>
                  <a:lnTo>
                    <a:pt x="323" y="301"/>
                  </a:lnTo>
                  <a:lnTo>
                    <a:pt x="346" y="294"/>
                  </a:lnTo>
                  <a:lnTo>
                    <a:pt x="350" y="304"/>
                  </a:lnTo>
                  <a:lnTo>
                    <a:pt x="368" y="306"/>
                  </a:lnTo>
                  <a:lnTo>
                    <a:pt x="368" y="321"/>
                  </a:lnTo>
                  <a:lnTo>
                    <a:pt x="423" y="326"/>
                  </a:lnTo>
                  <a:lnTo>
                    <a:pt x="428" y="329"/>
                  </a:lnTo>
                  <a:lnTo>
                    <a:pt x="430" y="341"/>
                  </a:lnTo>
                  <a:lnTo>
                    <a:pt x="447" y="346"/>
                  </a:lnTo>
                  <a:lnTo>
                    <a:pt x="450" y="358"/>
                  </a:lnTo>
                  <a:lnTo>
                    <a:pt x="465" y="358"/>
                  </a:lnTo>
                  <a:lnTo>
                    <a:pt x="470" y="371"/>
                  </a:lnTo>
                  <a:lnTo>
                    <a:pt x="485" y="378"/>
                  </a:lnTo>
                  <a:lnTo>
                    <a:pt x="492" y="366"/>
                  </a:lnTo>
                  <a:lnTo>
                    <a:pt x="500" y="378"/>
                  </a:lnTo>
                  <a:lnTo>
                    <a:pt x="510" y="383"/>
                  </a:lnTo>
                  <a:lnTo>
                    <a:pt x="517" y="378"/>
                  </a:lnTo>
                  <a:lnTo>
                    <a:pt x="525" y="381"/>
                  </a:lnTo>
                  <a:lnTo>
                    <a:pt x="522" y="388"/>
                  </a:lnTo>
                  <a:lnTo>
                    <a:pt x="522" y="403"/>
                  </a:lnTo>
                  <a:lnTo>
                    <a:pt x="529" y="413"/>
                  </a:lnTo>
                  <a:lnTo>
                    <a:pt x="539" y="413"/>
                  </a:lnTo>
                  <a:lnTo>
                    <a:pt x="539" y="428"/>
                  </a:lnTo>
                  <a:lnTo>
                    <a:pt x="554" y="435"/>
                  </a:lnTo>
                  <a:lnTo>
                    <a:pt x="567" y="435"/>
                  </a:lnTo>
                  <a:lnTo>
                    <a:pt x="579" y="423"/>
                  </a:lnTo>
                  <a:lnTo>
                    <a:pt x="557" y="418"/>
                  </a:lnTo>
                  <a:lnTo>
                    <a:pt x="549" y="388"/>
                  </a:lnTo>
                  <a:lnTo>
                    <a:pt x="539" y="383"/>
                  </a:lnTo>
                  <a:lnTo>
                    <a:pt x="534" y="363"/>
                  </a:lnTo>
                  <a:lnTo>
                    <a:pt x="510" y="334"/>
                  </a:lnTo>
                  <a:lnTo>
                    <a:pt x="500" y="331"/>
                  </a:lnTo>
                  <a:lnTo>
                    <a:pt x="495" y="344"/>
                  </a:lnTo>
                  <a:lnTo>
                    <a:pt x="485" y="344"/>
                  </a:lnTo>
                  <a:lnTo>
                    <a:pt x="480" y="353"/>
                  </a:lnTo>
                  <a:lnTo>
                    <a:pt x="465" y="344"/>
                  </a:lnTo>
                  <a:lnTo>
                    <a:pt x="460" y="321"/>
                  </a:lnTo>
                  <a:lnTo>
                    <a:pt x="452" y="314"/>
                  </a:lnTo>
                  <a:lnTo>
                    <a:pt x="438" y="321"/>
                  </a:lnTo>
                  <a:lnTo>
                    <a:pt x="517" y="50"/>
                  </a:lnTo>
                  <a:lnTo>
                    <a:pt x="497" y="33"/>
                  </a:lnTo>
                  <a:lnTo>
                    <a:pt x="455" y="38"/>
                  </a:lnTo>
                  <a:lnTo>
                    <a:pt x="435" y="40"/>
                  </a:lnTo>
                  <a:lnTo>
                    <a:pt x="423" y="28"/>
                  </a:lnTo>
                  <a:lnTo>
                    <a:pt x="368" y="30"/>
                  </a:lnTo>
                  <a:lnTo>
                    <a:pt x="350" y="8"/>
                  </a:lnTo>
                  <a:lnTo>
                    <a:pt x="331" y="23"/>
                  </a:lnTo>
                  <a:lnTo>
                    <a:pt x="306" y="20"/>
                  </a:lnTo>
                  <a:lnTo>
                    <a:pt x="303" y="3"/>
                  </a:lnTo>
                  <a:lnTo>
                    <a:pt x="291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237933" y="2874089"/>
              <a:ext cx="1427722" cy="801655"/>
            </a:xfrm>
            <a:custGeom>
              <a:avLst/>
              <a:gdLst>
                <a:gd name="T0" fmla="*/ 535 w 992"/>
                <a:gd name="T1" fmla="*/ 12 h 557"/>
                <a:gd name="T2" fmla="*/ 647 w 992"/>
                <a:gd name="T3" fmla="*/ 17 h 557"/>
                <a:gd name="T4" fmla="*/ 719 w 992"/>
                <a:gd name="T5" fmla="*/ 87 h 557"/>
                <a:gd name="T6" fmla="*/ 706 w 992"/>
                <a:gd name="T7" fmla="*/ 167 h 557"/>
                <a:gd name="T8" fmla="*/ 786 w 992"/>
                <a:gd name="T9" fmla="*/ 129 h 557"/>
                <a:gd name="T10" fmla="*/ 848 w 992"/>
                <a:gd name="T11" fmla="*/ 92 h 557"/>
                <a:gd name="T12" fmla="*/ 942 w 992"/>
                <a:gd name="T13" fmla="*/ 62 h 557"/>
                <a:gd name="T14" fmla="*/ 980 w 992"/>
                <a:gd name="T15" fmla="*/ 87 h 557"/>
                <a:gd name="T16" fmla="*/ 967 w 992"/>
                <a:gd name="T17" fmla="*/ 107 h 557"/>
                <a:gd name="T18" fmla="*/ 942 w 992"/>
                <a:gd name="T19" fmla="*/ 127 h 557"/>
                <a:gd name="T20" fmla="*/ 920 w 992"/>
                <a:gd name="T21" fmla="*/ 154 h 557"/>
                <a:gd name="T22" fmla="*/ 885 w 992"/>
                <a:gd name="T23" fmla="*/ 179 h 557"/>
                <a:gd name="T24" fmla="*/ 853 w 992"/>
                <a:gd name="T25" fmla="*/ 206 h 557"/>
                <a:gd name="T26" fmla="*/ 828 w 992"/>
                <a:gd name="T27" fmla="*/ 254 h 557"/>
                <a:gd name="T28" fmla="*/ 821 w 992"/>
                <a:gd name="T29" fmla="*/ 278 h 557"/>
                <a:gd name="T30" fmla="*/ 806 w 992"/>
                <a:gd name="T31" fmla="*/ 336 h 557"/>
                <a:gd name="T32" fmla="*/ 756 w 992"/>
                <a:gd name="T33" fmla="*/ 353 h 557"/>
                <a:gd name="T34" fmla="*/ 721 w 992"/>
                <a:gd name="T35" fmla="*/ 385 h 557"/>
                <a:gd name="T36" fmla="*/ 716 w 992"/>
                <a:gd name="T37" fmla="*/ 455 h 557"/>
                <a:gd name="T38" fmla="*/ 729 w 992"/>
                <a:gd name="T39" fmla="*/ 495 h 557"/>
                <a:gd name="T40" fmla="*/ 719 w 992"/>
                <a:gd name="T41" fmla="*/ 544 h 557"/>
                <a:gd name="T42" fmla="*/ 684 w 992"/>
                <a:gd name="T43" fmla="*/ 485 h 557"/>
                <a:gd name="T44" fmla="*/ 656 w 992"/>
                <a:gd name="T45" fmla="*/ 428 h 557"/>
                <a:gd name="T46" fmla="*/ 579 w 992"/>
                <a:gd name="T47" fmla="*/ 425 h 557"/>
                <a:gd name="T48" fmla="*/ 555 w 992"/>
                <a:gd name="T49" fmla="*/ 455 h 557"/>
                <a:gd name="T50" fmla="*/ 520 w 992"/>
                <a:gd name="T51" fmla="*/ 433 h 557"/>
                <a:gd name="T52" fmla="*/ 492 w 992"/>
                <a:gd name="T53" fmla="*/ 433 h 557"/>
                <a:gd name="T54" fmla="*/ 458 w 992"/>
                <a:gd name="T55" fmla="*/ 467 h 557"/>
                <a:gd name="T56" fmla="*/ 420 w 992"/>
                <a:gd name="T57" fmla="*/ 517 h 557"/>
                <a:gd name="T58" fmla="*/ 376 w 992"/>
                <a:gd name="T59" fmla="*/ 485 h 557"/>
                <a:gd name="T60" fmla="*/ 341 w 992"/>
                <a:gd name="T61" fmla="*/ 433 h 557"/>
                <a:gd name="T62" fmla="*/ 308 w 992"/>
                <a:gd name="T63" fmla="*/ 425 h 557"/>
                <a:gd name="T64" fmla="*/ 281 w 992"/>
                <a:gd name="T65" fmla="*/ 403 h 557"/>
                <a:gd name="T66" fmla="*/ 249 w 992"/>
                <a:gd name="T67" fmla="*/ 395 h 557"/>
                <a:gd name="T68" fmla="*/ 199 w 992"/>
                <a:gd name="T69" fmla="*/ 415 h 557"/>
                <a:gd name="T70" fmla="*/ 137 w 992"/>
                <a:gd name="T71" fmla="*/ 383 h 557"/>
                <a:gd name="T72" fmla="*/ 97 w 992"/>
                <a:gd name="T73" fmla="*/ 355 h 557"/>
                <a:gd name="T74" fmla="*/ 42 w 992"/>
                <a:gd name="T75" fmla="*/ 328 h 557"/>
                <a:gd name="T76" fmla="*/ 25 w 992"/>
                <a:gd name="T77" fmla="*/ 286 h 557"/>
                <a:gd name="T78" fmla="*/ 5 w 992"/>
                <a:gd name="T79" fmla="*/ 239 h 557"/>
                <a:gd name="T80" fmla="*/ 5 w 992"/>
                <a:gd name="T81" fmla="*/ 169 h 557"/>
                <a:gd name="T82" fmla="*/ 10 w 992"/>
                <a:gd name="T83" fmla="*/ 132 h 557"/>
                <a:gd name="T84" fmla="*/ 28 w 992"/>
                <a:gd name="T85" fmla="*/ 87 h 557"/>
                <a:gd name="T86" fmla="*/ 32 w 992"/>
                <a:gd name="T87" fmla="*/ 32 h 557"/>
                <a:gd name="T88" fmla="*/ 60 w 992"/>
                <a:gd name="T89" fmla="*/ 2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92" h="557">
                  <a:moveTo>
                    <a:pt x="70" y="2"/>
                  </a:moveTo>
                  <a:lnTo>
                    <a:pt x="537" y="0"/>
                  </a:lnTo>
                  <a:lnTo>
                    <a:pt x="535" y="12"/>
                  </a:lnTo>
                  <a:lnTo>
                    <a:pt x="567" y="12"/>
                  </a:lnTo>
                  <a:lnTo>
                    <a:pt x="617" y="17"/>
                  </a:lnTo>
                  <a:lnTo>
                    <a:pt x="647" y="17"/>
                  </a:lnTo>
                  <a:lnTo>
                    <a:pt x="671" y="37"/>
                  </a:lnTo>
                  <a:lnTo>
                    <a:pt x="701" y="52"/>
                  </a:lnTo>
                  <a:lnTo>
                    <a:pt x="719" y="87"/>
                  </a:lnTo>
                  <a:lnTo>
                    <a:pt x="736" y="122"/>
                  </a:lnTo>
                  <a:lnTo>
                    <a:pt x="716" y="152"/>
                  </a:lnTo>
                  <a:lnTo>
                    <a:pt x="706" y="167"/>
                  </a:lnTo>
                  <a:lnTo>
                    <a:pt x="734" y="179"/>
                  </a:lnTo>
                  <a:lnTo>
                    <a:pt x="771" y="144"/>
                  </a:lnTo>
                  <a:lnTo>
                    <a:pt x="786" y="129"/>
                  </a:lnTo>
                  <a:lnTo>
                    <a:pt x="826" y="132"/>
                  </a:lnTo>
                  <a:lnTo>
                    <a:pt x="833" y="104"/>
                  </a:lnTo>
                  <a:lnTo>
                    <a:pt x="848" y="92"/>
                  </a:lnTo>
                  <a:lnTo>
                    <a:pt x="920" y="97"/>
                  </a:lnTo>
                  <a:lnTo>
                    <a:pt x="932" y="80"/>
                  </a:lnTo>
                  <a:lnTo>
                    <a:pt x="942" y="62"/>
                  </a:lnTo>
                  <a:lnTo>
                    <a:pt x="952" y="32"/>
                  </a:lnTo>
                  <a:lnTo>
                    <a:pt x="977" y="37"/>
                  </a:lnTo>
                  <a:lnTo>
                    <a:pt x="980" y="87"/>
                  </a:lnTo>
                  <a:lnTo>
                    <a:pt x="992" y="94"/>
                  </a:lnTo>
                  <a:lnTo>
                    <a:pt x="982" y="104"/>
                  </a:lnTo>
                  <a:lnTo>
                    <a:pt x="967" y="107"/>
                  </a:lnTo>
                  <a:lnTo>
                    <a:pt x="960" y="117"/>
                  </a:lnTo>
                  <a:lnTo>
                    <a:pt x="945" y="117"/>
                  </a:lnTo>
                  <a:lnTo>
                    <a:pt x="942" y="127"/>
                  </a:lnTo>
                  <a:lnTo>
                    <a:pt x="930" y="127"/>
                  </a:lnTo>
                  <a:lnTo>
                    <a:pt x="922" y="142"/>
                  </a:lnTo>
                  <a:lnTo>
                    <a:pt x="920" y="154"/>
                  </a:lnTo>
                  <a:lnTo>
                    <a:pt x="932" y="167"/>
                  </a:lnTo>
                  <a:lnTo>
                    <a:pt x="917" y="176"/>
                  </a:lnTo>
                  <a:lnTo>
                    <a:pt x="885" y="179"/>
                  </a:lnTo>
                  <a:lnTo>
                    <a:pt x="878" y="194"/>
                  </a:lnTo>
                  <a:lnTo>
                    <a:pt x="873" y="204"/>
                  </a:lnTo>
                  <a:lnTo>
                    <a:pt x="853" y="206"/>
                  </a:lnTo>
                  <a:lnTo>
                    <a:pt x="845" y="219"/>
                  </a:lnTo>
                  <a:lnTo>
                    <a:pt x="840" y="249"/>
                  </a:lnTo>
                  <a:lnTo>
                    <a:pt x="828" y="254"/>
                  </a:lnTo>
                  <a:lnTo>
                    <a:pt x="821" y="261"/>
                  </a:lnTo>
                  <a:lnTo>
                    <a:pt x="813" y="273"/>
                  </a:lnTo>
                  <a:lnTo>
                    <a:pt x="821" y="278"/>
                  </a:lnTo>
                  <a:lnTo>
                    <a:pt x="821" y="316"/>
                  </a:lnTo>
                  <a:lnTo>
                    <a:pt x="808" y="323"/>
                  </a:lnTo>
                  <a:lnTo>
                    <a:pt x="806" y="336"/>
                  </a:lnTo>
                  <a:lnTo>
                    <a:pt x="786" y="336"/>
                  </a:lnTo>
                  <a:lnTo>
                    <a:pt x="776" y="346"/>
                  </a:lnTo>
                  <a:lnTo>
                    <a:pt x="756" y="353"/>
                  </a:lnTo>
                  <a:lnTo>
                    <a:pt x="751" y="370"/>
                  </a:lnTo>
                  <a:lnTo>
                    <a:pt x="736" y="373"/>
                  </a:lnTo>
                  <a:lnTo>
                    <a:pt x="721" y="385"/>
                  </a:lnTo>
                  <a:lnTo>
                    <a:pt x="716" y="403"/>
                  </a:lnTo>
                  <a:lnTo>
                    <a:pt x="716" y="433"/>
                  </a:lnTo>
                  <a:lnTo>
                    <a:pt x="716" y="455"/>
                  </a:lnTo>
                  <a:lnTo>
                    <a:pt x="724" y="457"/>
                  </a:lnTo>
                  <a:lnTo>
                    <a:pt x="724" y="487"/>
                  </a:lnTo>
                  <a:lnTo>
                    <a:pt x="729" y="495"/>
                  </a:lnTo>
                  <a:lnTo>
                    <a:pt x="736" y="539"/>
                  </a:lnTo>
                  <a:lnTo>
                    <a:pt x="729" y="557"/>
                  </a:lnTo>
                  <a:lnTo>
                    <a:pt x="719" y="544"/>
                  </a:lnTo>
                  <a:lnTo>
                    <a:pt x="701" y="534"/>
                  </a:lnTo>
                  <a:lnTo>
                    <a:pt x="694" y="510"/>
                  </a:lnTo>
                  <a:lnTo>
                    <a:pt x="684" y="485"/>
                  </a:lnTo>
                  <a:lnTo>
                    <a:pt x="686" y="455"/>
                  </a:lnTo>
                  <a:lnTo>
                    <a:pt x="674" y="442"/>
                  </a:lnTo>
                  <a:lnTo>
                    <a:pt x="656" y="428"/>
                  </a:lnTo>
                  <a:lnTo>
                    <a:pt x="637" y="433"/>
                  </a:lnTo>
                  <a:lnTo>
                    <a:pt x="619" y="423"/>
                  </a:lnTo>
                  <a:lnTo>
                    <a:pt x="579" y="425"/>
                  </a:lnTo>
                  <a:lnTo>
                    <a:pt x="567" y="435"/>
                  </a:lnTo>
                  <a:lnTo>
                    <a:pt x="574" y="455"/>
                  </a:lnTo>
                  <a:lnTo>
                    <a:pt x="555" y="455"/>
                  </a:lnTo>
                  <a:lnTo>
                    <a:pt x="535" y="450"/>
                  </a:lnTo>
                  <a:lnTo>
                    <a:pt x="532" y="425"/>
                  </a:lnTo>
                  <a:lnTo>
                    <a:pt x="520" y="433"/>
                  </a:lnTo>
                  <a:lnTo>
                    <a:pt x="515" y="450"/>
                  </a:lnTo>
                  <a:lnTo>
                    <a:pt x="505" y="447"/>
                  </a:lnTo>
                  <a:lnTo>
                    <a:pt x="492" y="433"/>
                  </a:lnTo>
                  <a:lnTo>
                    <a:pt x="480" y="440"/>
                  </a:lnTo>
                  <a:lnTo>
                    <a:pt x="470" y="450"/>
                  </a:lnTo>
                  <a:lnTo>
                    <a:pt x="458" y="467"/>
                  </a:lnTo>
                  <a:lnTo>
                    <a:pt x="448" y="480"/>
                  </a:lnTo>
                  <a:lnTo>
                    <a:pt x="428" y="487"/>
                  </a:lnTo>
                  <a:lnTo>
                    <a:pt x="420" y="517"/>
                  </a:lnTo>
                  <a:lnTo>
                    <a:pt x="395" y="517"/>
                  </a:lnTo>
                  <a:lnTo>
                    <a:pt x="390" y="492"/>
                  </a:lnTo>
                  <a:lnTo>
                    <a:pt x="376" y="485"/>
                  </a:lnTo>
                  <a:lnTo>
                    <a:pt x="371" y="460"/>
                  </a:lnTo>
                  <a:lnTo>
                    <a:pt x="361" y="445"/>
                  </a:lnTo>
                  <a:lnTo>
                    <a:pt x="341" y="433"/>
                  </a:lnTo>
                  <a:lnTo>
                    <a:pt x="336" y="455"/>
                  </a:lnTo>
                  <a:lnTo>
                    <a:pt x="318" y="455"/>
                  </a:lnTo>
                  <a:lnTo>
                    <a:pt x="308" y="425"/>
                  </a:lnTo>
                  <a:lnTo>
                    <a:pt x="298" y="423"/>
                  </a:lnTo>
                  <a:lnTo>
                    <a:pt x="296" y="408"/>
                  </a:lnTo>
                  <a:lnTo>
                    <a:pt x="281" y="403"/>
                  </a:lnTo>
                  <a:lnTo>
                    <a:pt x="276" y="385"/>
                  </a:lnTo>
                  <a:lnTo>
                    <a:pt x="264" y="395"/>
                  </a:lnTo>
                  <a:lnTo>
                    <a:pt x="249" y="395"/>
                  </a:lnTo>
                  <a:lnTo>
                    <a:pt x="246" y="408"/>
                  </a:lnTo>
                  <a:lnTo>
                    <a:pt x="219" y="408"/>
                  </a:lnTo>
                  <a:lnTo>
                    <a:pt x="199" y="415"/>
                  </a:lnTo>
                  <a:lnTo>
                    <a:pt x="172" y="408"/>
                  </a:lnTo>
                  <a:lnTo>
                    <a:pt x="152" y="390"/>
                  </a:lnTo>
                  <a:lnTo>
                    <a:pt x="137" y="383"/>
                  </a:lnTo>
                  <a:lnTo>
                    <a:pt x="132" y="373"/>
                  </a:lnTo>
                  <a:lnTo>
                    <a:pt x="95" y="370"/>
                  </a:lnTo>
                  <a:lnTo>
                    <a:pt x="97" y="355"/>
                  </a:lnTo>
                  <a:lnTo>
                    <a:pt x="72" y="348"/>
                  </a:lnTo>
                  <a:lnTo>
                    <a:pt x="57" y="336"/>
                  </a:lnTo>
                  <a:lnTo>
                    <a:pt x="42" y="328"/>
                  </a:lnTo>
                  <a:lnTo>
                    <a:pt x="45" y="303"/>
                  </a:lnTo>
                  <a:lnTo>
                    <a:pt x="23" y="298"/>
                  </a:lnTo>
                  <a:lnTo>
                    <a:pt x="25" y="286"/>
                  </a:lnTo>
                  <a:lnTo>
                    <a:pt x="30" y="268"/>
                  </a:lnTo>
                  <a:lnTo>
                    <a:pt x="20" y="254"/>
                  </a:lnTo>
                  <a:lnTo>
                    <a:pt x="5" y="239"/>
                  </a:lnTo>
                  <a:lnTo>
                    <a:pt x="0" y="186"/>
                  </a:lnTo>
                  <a:lnTo>
                    <a:pt x="13" y="179"/>
                  </a:lnTo>
                  <a:lnTo>
                    <a:pt x="5" y="169"/>
                  </a:lnTo>
                  <a:lnTo>
                    <a:pt x="3" y="162"/>
                  </a:lnTo>
                  <a:lnTo>
                    <a:pt x="8" y="152"/>
                  </a:lnTo>
                  <a:lnTo>
                    <a:pt x="10" y="132"/>
                  </a:lnTo>
                  <a:lnTo>
                    <a:pt x="20" y="127"/>
                  </a:lnTo>
                  <a:lnTo>
                    <a:pt x="20" y="94"/>
                  </a:lnTo>
                  <a:lnTo>
                    <a:pt x="28" y="87"/>
                  </a:lnTo>
                  <a:lnTo>
                    <a:pt x="35" y="52"/>
                  </a:lnTo>
                  <a:lnTo>
                    <a:pt x="45" y="50"/>
                  </a:lnTo>
                  <a:lnTo>
                    <a:pt x="32" y="32"/>
                  </a:lnTo>
                  <a:lnTo>
                    <a:pt x="32" y="17"/>
                  </a:lnTo>
                  <a:lnTo>
                    <a:pt x="50" y="15"/>
                  </a:lnTo>
                  <a:lnTo>
                    <a:pt x="60" y="27"/>
                  </a:lnTo>
                  <a:lnTo>
                    <a:pt x="67" y="37"/>
                  </a:lnTo>
                  <a:lnTo>
                    <a:pt x="7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027805" y="1983203"/>
              <a:ext cx="1931454" cy="1148510"/>
            </a:xfrm>
            <a:custGeom>
              <a:avLst/>
              <a:gdLst>
                <a:gd name="T0" fmla="*/ 1252 w 1342"/>
                <a:gd name="T1" fmla="*/ 368 h 798"/>
                <a:gd name="T2" fmla="*/ 1257 w 1342"/>
                <a:gd name="T3" fmla="*/ 418 h 798"/>
                <a:gd name="T4" fmla="*/ 1302 w 1342"/>
                <a:gd name="T5" fmla="*/ 457 h 798"/>
                <a:gd name="T6" fmla="*/ 1300 w 1342"/>
                <a:gd name="T7" fmla="*/ 497 h 798"/>
                <a:gd name="T8" fmla="*/ 1322 w 1342"/>
                <a:gd name="T9" fmla="*/ 495 h 798"/>
                <a:gd name="T10" fmla="*/ 1342 w 1342"/>
                <a:gd name="T11" fmla="*/ 544 h 798"/>
                <a:gd name="T12" fmla="*/ 1277 w 1342"/>
                <a:gd name="T13" fmla="*/ 579 h 798"/>
                <a:gd name="T14" fmla="*/ 1155 w 1342"/>
                <a:gd name="T15" fmla="*/ 597 h 798"/>
                <a:gd name="T16" fmla="*/ 1168 w 1342"/>
                <a:gd name="T17" fmla="*/ 607 h 798"/>
                <a:gd name="T18" fmla="*/ 1245 w 1342"/>
                <a:gd name="T19" fmla="*/ 689 h 798"/>
                <a:gd name="T20" fmla="*/ 1200 w 1342"/>
                <a:gd name="T21" fmla="*/ 681 h 798"/>
                <a:gd name="T22" fmla="*/ 1126 w 1342"/>
                <a:gd name="T23" fmla="*/ 706 h 798"/>
                <a:gd name="T24" fmla="*/ 1078 w 1342"/>
                <a:gd name="T25" fmla="*/ 699 h 798"/>
                <a:gd name="T26" fmla="*/ 972 w 1342"/>
                <a:gd name="T27" fmla="*/ 751 h 798"/>
                <a:gd name="T28" fmla="*/ 852 w 1342"/>
                <a:gd name="T29" fmla="*/ 786 h 798"/>
                <a:gd name="T30" fmla="*/ 847 w 1342"/>
                <a:gd name="T31" fmla="*/ 671 h 798"/>
                <a:gd name="T32" fmla="*/ 713 w 1342"/>
                <a:gd name="T33" fmla="*/ 631 h 798"/>
                <a:gd name="T34" fmla="*/ 193 w 1342"/>
                <a:gd name="T35" fmla="*/ 592 h 798"/>
                <a:gd name="T36" fmla="*/ 149 w 1342"/>
                <a:gd name="T37" fmla="*/ 507 h 798"/>
                <a:gd name="T38" fmla="*/ 121 w 1342"/>
                <a:gd name="T39" fmla="*/ 462 h 798"/>
                <a:gd name="T40" fmla="*/ 111 w 1342"/>
                <a:gd name="T41" fmla="*/ 400 h 798"/>
                <a:gd name="T42" fmla="*/ 62 w 1342"/>
                <a:gd name="T43" fmla="*/ 343 h 798"/>
                <a:gd name="T44" fmla="*/ 27 w 1342"/>
                <a:gd name="T45" fmla="*/ 356 h 798"/>
                <a:gd name="T46" fmla="*/ 79 w 1342"/>
                <a:gd name="T47" fmla="*/ 62 h 798"/>
                <a:gd name="T48" fmla="*/ 196 w 1342"/>
                <a:gd name="T49" fmla="*/ 77 h 798"/>
                <a:gd name="T50" fmla="*/ 236 w 1342"/>
                <a:gd name="T51" fmla="*/ 65 h 798"/>
                <a:gd name="T52" fmla="*/ 298 w 1342"/>
                <a:gd name="T53" fmla="*/ 32 h 798"/>
                <a:gd name="T54" fmla="*/ 355 w 1342"/>
                <a:gd name="T55" fmla="*/ 67 h 798"/>
                <a:gd name="T56" fmla="*/ 509 w 1342"/>
                <a:gd name="T57" fmla="*/ 95 h 798"/>
                <a:gd name="T58" fmla="*/ 596 w 1342"/>
                <a:gd name="T59" fmla="*/ 132 h 798"/>
                <a:gd name="T60" fmla="*/ 723 w 1342"/>
                <a:gd name="T61" fmla="*/ 117 h 798"/>
                <a:gd name="T62" fmla="*/ 790 w 1342"/>
                <a:gd name="T63" fmla="*/ 104 h 798"/>
                <a:gd name="T64" fmla="*/ 793 w 1342"/>
                <a:gd name="T65" fmla="*/ 30 h 798"/>
                <a:gd name="T66" fmla="*/ 842 w 1342"/>
                <a:gd name="T67" fmla="*/ 40 h 798"/>
                <a:gd name="T68" fmla="*/ 889 w 1342"/>
                <a:gd name="T69" fmla="*/ 72 h 798"/>
                <a:gd name="T70" fmla="*/ 919 w 1342"/>
                <a:gd name="T71" fmla="*/ 109 h 798"/>
                <a:gd name="T72" fmla="*/ 999 w 1342"/>
                <a:gd name="T73" fmla="*/ 90 h 798"/>
                <a:gd name="T74" fmla="*/ 934 w 1342"/>
                <a:gd name="T75" fmla="*/ 149 h 798"/>
                <a:gd name="T76" fmla="*/ 865 w 1342"/>
                <a:gd name="T77" fmla="*/ 162 h 798"/>
                <a:gd name="T78" fmla="*/ 875 w 1342"/>
                <a:gd name="T79" fmla="*/ 214 h 798"/>
                <a:gd name="T80" fmla="*/ 788 w 1342"/>
                <a:gd name="T81" fmla="*/ 276 h 798"/>
                <a:gd name="T82" fmla="*/ 758 w 1342"/>
                <a:gd name="T83" fmla="*/ 365 h 798"/>
                <a:gd name="T84" fmla="*/ 865 w 1342"/>
                <a:gd name="T85" fmla="*/ 447 h 798"/>
                <a:gd name="T86" fmla="*/ 909 w 1342"/>
                <a:gd name="T87" fmla="*/ 537 h 798"/>
                <a:gd name="T88" fmla="*/ 959 w 1342"/>
                <a:gd name="T89" fmla="*/ 562 h 798"/>
                <a:gd name="T90" fmla="*/ 974 w 1342"/>
                <a:gd name="T91" fmla="*/ 467 h 798"/>
                <a:gd name="T92" fmla="*/ 1004 w 1342"/>
                <a:gd name="T93" fmla="*/ 398 h 798"/>
                <a:gd name="T94" fmla="*/ 991 w 1342"/>
                <a:gd name="T95" fmla="*/ 365 h 798"/>
                <a:gd name="T96" fmla="*/ 1014 w 1342"/>
                <a:gd name="T97" fmla="*/ 281 h 798"/>
                <a:gd name="T98" fmla="*/ 1116 w 1342"/>
                <a:gd name="T99" fmla="*/ 286 h 798"/>
                <a:gd name="T100" fmla="*/ 1146 w 1342"/>
                <a:gd name="T101" fmla="*/ 373 h 798"/>
                <a:gd name="T102" fmla="*/ 1225 w 1342"/>
                <a:gd name="T103" fmla="*/ 331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2" h="798">
                  <a:moveTo>
                    <a:pt x="1225" y="331"/>
                  </a:moveTo>
                  <a:lnTo>
                    <a:pt x="1235" y="343"/>
                  </a:lnTo>
                  <a:lnTo>
                    <a:pt x="1240" y="368"/>
                  </a:lnTo>
                  <a:lnTo>
                    <a:pt x="1252" y="368"/>
                  </a:lnTo>
                  <a:lnTo>
                    <a:pt x="1257" y="400"/>
                  </a:lnTo>
                  <a:lnTo>
                    <a:pt x="1267" y="398"/>
                  </a:lnTo>
                  <a:lnTo>
                    <a:pt x="1267" y="410"/>
                  </a:lnTo>
                  <a:lnTo>
                    <a:pt x="1257" y="418"/>
                  </a:lnTo>
                  <a:lnTo>
                    <a:pt x="1260" y="430"/>
                  </a:lnTo>
                  <a:lnTo>
                    <a:pt x="1272" y="433"/>
                  </a:lnTo>
                  <a:lnTo>
                    <a:pt x="1277" y="462"/>
                  </a:lnTo>
                  <a:lnTo>
                    <a:pt x="1302" y="457"/>
                  </a:lnTo>
                  <a:lnTo>
                    <a:pt x="1297" y="470"/>
                  </a:lnTo>
                  <a:lnTo>
                    <a:pt x="1317" y="467"/>
                  </a:lnTo>
                  <a:lnTo>
                    <a:pt x="1305" y="485"/>
                  </a:lnTo>
                  <a:lnTo>
                    <a:pt x="1300" y="497"/>
                  </a:lnTo>
                  <a:lnTo>
                    <a:pt x="1275" y="502"/>
                  </a:lnTo>
                  <a:lnTo>
                    <a:pt x="1285" y="510"/>
                  </a:lnTo>
                  <a:lnTo>
                    <a:pt x="1305" y="502"/>
                  </a:lnTo>
                  <a:lnTo>
                    <a:pt x="1322" y="495"/>
                  </a:lnTo>
                  <a:lnTo>
                    <a:pt x="1337" y="495"/>
                  </a:lnTo>
                  <a:lnTo>
                    <a:pt x="1342" y="510"/>
                  </a:lnTo>
                  <a:lnTo>
                    <a:pt x="1342" y="532"/>
                  </a:lnTo>
                  <a:lnTo>
                    <a:pt x="1342" y="544"/>
                  </a:lnTo>
                  <a:lnTo>
                    <a:pt x="1342" y="554"/>
                  </a:lnTo>
                  <a:lnTo>
                    <a:pt x="1320" y="559"/>
                  </a:lnTo>
                  <a:lnTo>
                    <a:pt x="1302" y="559"/>
                  </a:lnTo>
                  <a:lnTo>
                    <a:pt x="1277" y="579"/>
                  </a:lnTo>
                  <a:lnTo>
                    <a:pt x="1235" y="584"/>
                  </a:lnTo>
                  <a:lnTo>
                    <a:pt x="1193" y="584"/>
                  </a:lnTo>
                  <a:lnTo>
                    <a:pt x="1170" y="582"/>
                  </a:lnTo>
                  <a:lnTo>
                    <a:pt x="1155" y="597"/>
                  </a:lnTo>
                  <a:lnTo>
                    <a:pt x="1131" y="607"/>
                  </a:lnTo>
                  <a:lnTo>
                    <a:pt x="1111" y="634"/>
                  </a:lnTo>
                  <a:lnTo>
                    <a:pt x="1148" y="619"/>
                  </a:lnTo>
                  <a:lnTo>
                    <a:pt x="1168" y="607"/>
                  </a:lnTo>
                  <a:lnTo>
                    <a:pt x="1190" y="619"/>
                  </a:lnTo>
                  <a:lnTo>
                    <a:pt x="1175" y="641"/>
                  </a:lnTo>
                  <a:lnTo>
                    <a:pt x="1198" y="664"/>
                  </a:lnTo>
                  <a:lnTo>
                    <a:pt x="1245" y="689"/>
                  </a:lnTo>
                  <a:lnTo>
                    <a:pt x="1200" y="713"/>
                  </a:lnTo>
                  <a:lnTo>
                    <a:pt x="1158" y="741"/>
                  </a:lnTo>
                  <a:lnTo>
                    <a:pt x="1148" y="731"/>
                  </a:lnTo>
                  <a:lnTo>
                    <a:pt x="1200" y="681"/>
                  </a:lnTo>
                  <a:lnTo>
                    <a:pt x="1198" y="674"/>
                  </a:lnTo>
                  <a:lnTo>
                    <a:pt x="1183" y="674"/>
                  </a:lnTo>
                  <a:lnTo>
                    <a:pt x="1138" y="713"/>
                  </a:lnTo>
                  <a:lnTo>
                    <a:pt x="1126" y="706"/>
                  </a:lnTo>
                  <a:lnTo>
                    <a:pt x="1123" y="656"/>
                  </a:lnTo>
                  <a:lnTo>
                    <a:pt x="1098" y="651"/>
                  </a:lnTo>
                  <a:lnTo>
                    <a:pt x="1088" y="681"/>
                  </a:lnTo>
                  <a:lnTo>
                    <a:pt x="1078" y="699"/>
                  </a:lnTo>
                  <a:lnTo>
                    <a:pt x="1066" y="716"/>
                  </a:lnTo>
                  <a:lnTo>
                    <a:pt x="994" y="711"/>
                  </a:lnTo>
                  <a:lnTo>
                    <a:pt x="979" y="723"/>
                  </a:lnTo>
                  <a:lnTo>
                    <a:pt x="972" y="751"/>
                  </a:lnTo>
                  <a:lnTo>
                    <a:pt x="932" y="748"/>
                  </a:lnTo>
                  <a:lnTo>
                    <a:pt x="917" y="763"/>
                  </a:lnTo>
                  <a:lnTo>
                    <a:pt x="880" y="798"/>
                  </a:lnTo>
                  <a:lnTo>
                    <a:pt x="852" y="786"/>
                  </a:lnTo>
                  <a:lnTo>
                    <a:pt x="862" y="771"/>
                  </a:lnTo>
                  <a:lnTo>
                    <a:pt x="882" y="741"/>
                  </a:lnTo>
                  <a:lnTo>
                    <a:pt x="865" y="706"/>
                  </a:lnTo>
                  <a:lnTo>
                    <a:pt x="847" y="671"/>
                  </a:lnTo>
                  <a:lnTo>
                    <a:pt x="817" y="656"/>
                  </a:lnTo>
                  <a:lnTo>
                    <a:pt x="793" y="636"/>
                  </a:lnTo>
                  <a:lnTo>
                    <a:pt x="763" y="636"/>
                  </a:lnTo>
                  <a:lnTo>
                    <a:pt x="713" y="631"/>
                  </a:lnTo>
                  <a:lnTo>
                    <a:pt x="681" y="631"/>
                  </a:lnTo>
                  <a:lnTo>
                    <a:pt x="683" y="619"/>
                  </a:lnTo>
                  <a:lnTo>
                    <a:pt x="216" y="621"/>
                  </a:lnTo>
                  <a:lnTo>
                    <a:pt x="193" y="592"/>
                  </a:lnTo>
                  <a:lnTo>
                    <a:pt x="171" y="577"/>
                  </a:lnTo>
                  <a:lnTo>
                    <a:pt x="151" y="557"/>
                  </a:lnTo>
                  <a:lnTo>
                    <a:pt x="151" y="530"/>
                  </a:lnTo>
                  <a:lnTo>
                    <a:pt x="149" y="507"/>
                  </a:lnTo>
                  <a:lnTo>
                    <a:pt x="131" y="510"/>
                  </a:lnTo>
                  <a:lnTo>
                    <a:pt x="129" y="492"/>
                  </a:lnTo>
                  <a:lnTo>
                    <a:pt x="119" y="487"/>
                  </a:lnTo>
                  <a:lnTo>
                    <a:pt x="121" y="462"/>
                  </a:lnTo>
                  <a:lnTo>
                    <a:pt x="129" y="447"/>
                  </a:lnTo>
                  <a:lnTo>
                    <a:pt x="141" y="435"/>
                  </a:lnTo>
                  <a:lnTo>
                    <a:pt x="119" y="430"/>
                  </a:lnTo>
                  <a:lnTo>
                    <a:pt x="111" y="400"/>
                  </a:lnTo>
                  <a:lnTo>
                    <a:pt x="101" y="395"/>
                  </a:lnTo>
                  <a:lnTo>
                    <a:pt x="96" y="375"/>
                  </a:lnTo>
                  <a:lnTo>
                    <a:pt x="72" y="346"/>
                  </a:lnTo>
                  <a:lnTo>
                    <a:pt x="62" y="343"/>
                  </a:lnTo>
                  <a:lnTo>
                    <a:pt x="57" y="356"/>
                  </a:lnTo>
                  <a:lnTo>
                    <a:pt x="47" y="356"/>
                  </a:lnTo>
                  <a:lnTo>
                    <a:pt x="42" y="365"/>
                  </a:lnTo>
                  <a:lnTo>
                    <a:pt x="27" y="356"/>
                  </a:lnTo>
                  <a:lnTo>
                    <a:pt x="22" y="333"/>
                  </a:lnTo>
                  <a:lnTo>
                    <a:pt x="14" y="326"/>
                  </a:lnTo>
                  <a:lnTo>
                    <a:pt x="0" y="333"/>
                  </a:lnTo>
                  <a:lnTo>
                    <a:pt x="79" y="62"/>
                  </a:lnTo>
                  <a:lnTo>
                    <a:pt x="129" y="72"/>
                  </a:lnTo>
                  <a:lnTo>
                    <a:pt x="174" y="95"/>
                  </a:lnTo>
                  <a:lnTo>
                    <a:pt x="193" y="95"/>
                  </a:lnTo>
                  <a:lnTo>
                    <a:pt x="196" y="77"/>
                  </a:lnTo>
                  <a:lnTo>
                    <a:pt x="211" y="65"/>
                  </a:lnTo>
                  <a:lnTo>
                    <a:pt x="253" y="35"/>
                  </a:lnTo>
                  <a:lnTo>
                    <a:pt x="268" y="42"/>
                  </a:lnTo>
                  <a:lnTo>
                    <a:pt x="236" y="65"/>
                  </a:lnTo>
                  <a:lnTo>
                    <a:pt x="268" y="62"/>
                  </a:lnTo>
                  <a:lnTo>
                    <a:pt x="280" y="50"/>
                  </a:lnTo>
                  <a:lnTo>
                    <a:pt x="288" y="35"/>
                  </a:lnTo>
                  <a:lnTo>
                    <a:pt x="298" y="32"/>
                  </a:lnTo>
                  <a:lnTo>
                    <a:pt x="315" y="57"/>
                  </a:lnTo>
                  <a:lnTo>
                    <a:pt x="335" y="60"/>
                  </a:lnTo>
                  <a:lnTo>
                    <a:pt x="345" y="50"/>
                  </a:lnTo>
                  <a:lnTo>
                    <a:pt x="355" y="67"/>
                  </a:lnTo>
                  <a:lnTo>
                    <a:pt x="370" y="57"/>
                  </a:lnTo>
                  <a:lnTo>
                    <a:pt x="437" y="77"/>
                  </a:lnTo>
                  <a:lnTo>
                    <a:pt x="479" y="80"/>
                  </a:lnTo>
                  <a:lnTo>
                    <a:pt x="509" y="95"/>
                  </a:lnTo>
                  <a:lnTo>
                    <a:pt x="504" y="117"/>
                  </a:lnTo>
                  <a:lnTo>
                    <a:pt x="544" y="104"/>
                  </a:lnTo>
                  <a:lnTo>
                    <a:pt x="574" y="134"/>
                  </a:lnTo>
                  <a:lnTo>
                    <a:pt x="596" y="132"/>
                  </a:lnTo>
                  <a:lnTo>
                    <a:pt x="594" y="117"/>
                  </a:lnTo>
                  <a:lnTo>
                    <a:pt x="619" y="92"/>
                  </a:lnTo>
                  <a:lnTo>
                    <a:pt x="643" y="112"/>
                  </a:lnTo>
                  <a:lnTo>
                    <a:pt x="723" y="117"/>
                  </a:lnTo>
                  <a:lnTo>
                    <a:pt x="735" y="99"/>
                  </a:lnTo>
                  <a:lnTo>
                    <a:pt x="758" y="97"/>
                  </a:lnTo>
                  <a:lnTo>
                    <a:pt x="770" y="114"/>
                  </a:lnTo>
                  <a:lnTo>
                    <a:pt x="790" y="104"/>
                  </a:lnTo>
                  <a:lnTo>
                    <a:pt x="807" y="92"/>
                  </a:lnTo>
                  <a:lnTo>
                    <a:pt x="798" y="57"/>
                  </a:lnTo>
                  <a:lnTo>
                    <a:pt x="775" y="40"/>
                  </a:lnTo>
                  <a:lnTo>
                    <a:pt x="793" y="30"/>
                  </a:lnTo>
                  <a:lnTo>
                    <a:pt x="802" y="15"/>
                  </a:lnTo>
                  <a:lnTo>
                    <a:pt x="825" y="0"/>
                  </a:lnTo>
                  <a:lnTo>
                    <a:pt x="850" y="20"/>
                  </a:lnTo>
                  <a:lnTo>
                    <a:pt x="842" y="40"/>
                  </a:lnTo>
                  <a:lnTo>
                    <a:pt x="847" y="57"/>
                  </a:lnTo>
                  <a:lnTo>
                    <a:pt x="862" y="72"/>
                  </a:lnTo>
                  <a:lnTo>
                    <a:pt x="870" y="97"/>
                  </a:lnTo>
                  <a:lnTo>
                    <a:pt x="889" y="72"/>
                  </a:lnTo>
                  <a:lnTo>
                    <a:pt x="899" y="95"/>
                  </a:lnTo>
                  <a:lnTo>
                    <a:pt x="899" y="127"/>
                  </a:lnTo>
                  <a:lnTo>
                    <a:pt x="914" y="127"/>
                  </a:lnTo>
                  <a:lnTo>
                    <a:pt x="919" y="109"/>
                  </a:lnTo>
                  <a:lnTo>
                    <a:pt x="942" y="87"/>
                  </a:lnTo>
                  <a:lnTo>
                    <a:pt x="952" y="57"/>
                  </a:lnTo>
                  <a:lnTo>
                    <a:pt x="989" y="62"/>
                  </a:lnTo>
                  <a:lnTo>
                    <a:pt x="999" y="90"/>
                  </a:lnTo>
                  <a:lnTo>
                    <a:pt x="984" y="99"/>
                  </a:lnTo>
                  <a:lnTo>
                    <a:pt x="991" y="134"/>
                  </a:lnTo>
                  <a:lnTo>
                    <a:pt x="942" y="159"/>
                  </a:lnTo>
                  <a:lnTo>
                    <a:pt x="934" y="149"/>
                  </a:lnTo>
                  <a:lnTo>
                    <a:pt x="909" y="149"/>
                  </a:lnTo>
                  <a:lnTo>
                    <a:pt x="904" y="172"/>
                  </a:lnTo>
                  <a:lnTo>
                    <a:pt x="875" y="172"/>
                  </a:lnTo>
                  <a:lnTo>
                    <a:pt x="865" y="162"/>
                  </a:lnTo>
                  <a:lnTo>
                    <a:pt x="852" y="164"/>
                  </a:lnTo>
                  <a:lnTo>
                    <a:pt x="855" y="177"/>
                  </a:lnTo>
                  <a:lnTo>
                    <a:pt x="882" y="186"/>
                  </a:lnTo>
                  <a:lnTo>
                    <a:pt x="875" y="214"/>
                  </a:lnTo>
                  <a:lnTo>
                    <a:pt x="860" y="226"/>
                  </a:lnTo>
                  <a:lnTo>
                    <a:pt x="835" y="229"/>
                  </a:lnTo>
                  <a:lnTo>
                    <a:pt x="822" y="251"/>
                  </a:lnTo>
                  <a:lnTo>
                    <a:pt x="788" y="276"/>
                  </a:lnTo>
                  <a:lnTo>
                    <a:pt x="760" y="301"/>
                  </a:lnTo>
                  <a:lnTo>
                    <a:pt x="738" y="336"/>
                  </a:lnTo>
                  <a:lnTo>
                    <a:pt x="735" y="363"/>
                  </a:lnTo>
                  <a:lnTo>
                    <a:pt x="758" y="365"/>
                  </a:lnTo>
                  <a:lnTo>
                    <a:pt x="768" y="410"/>
                  </a:lnTo>
                  <a:lnTo>
                    <a:pt x="815" y="415"/>
                  </a:lnTo>
                  <a:lnTo>
                    <a:pt x="847" y="445"/>
                  </a:lnTo>
                  <a:lnTo>
                    <a:pt x="865" y="447"/>
                  </a:lnTo>
                  <a:lnTo>
                    <a:pt x="882" y="467"/>
                  </a:lnTo>
                  <a:lnTo>
                    <a:pt x="917" y="465"/>
                  </a:lnTo>
                  <a:lnTo>
                    <a:pt x="912" y="502"/>
                  </a:lnTo>
                  <a:lnTo>
                    <a:pt x="909" y="537"/>
                  </a:lnTo>
                  <a:lnTo>
                    <a:pt x="922" y="562"/>
                  </a:lnTo>
                  <a:lnTo>
                    <a:pt x="934" y="564"/>
                  </a:lnTo>
                  <a:lnTo>
                    <a:pt x="947" y="549"/>
                  </a:lnTo>
                  <a:lnTo>
                    <a:pt x="959" y="562"/>
                  </a:lnTo>
                  <a:lnTo>
                    <a:pt x="967" y="547"/>
                  </a:lnTo>
                  <a:lnTo>
                    <a:pt x="974" y="510"/>
                  </a:lnTo>
                  <a:lnTo>
                    <a:pt x="972" y="495"/>
                  </a:lnTo>
                  <a:lnTo>
                    <a:pt x="974" y="467"/>
                  </a:lnTo>
                  <a:lnTo>
                    <a:pt x="1001" y="455"/>
                  </a:lnTo>
                  <a:lnTo>
                    <a:pt x="1004" y="443"/>
                  </a:lnTo>
                  <a:lnTo>
                    <a:pt x="1006" y="413"/>
                  </a:lnTo>
                  <a:lnTo>
                    <a:pt x="1004" y="398"/>
                  </a:lnTo>
                  <a:lnTo>
                    <a:pt x="1004" y="383"/>
                  </a:lnTo>
                  <a:lnTo>
                    <a:pt x="999" y="373"/>
                  </a:lnTo>
                  <a:lnTo>
                    <a:pt x="996" y="368"/>
                  </a:lnTo>
                  <a:lnTo>
                    <a:pt x="991" y="365"/>
                  </a:lnTo>
                  <a:lnTo>
                    <a:pt x="1009" y="358"/>
                  </a:lnTo>
                  <a:lnTo>
                    <a:pt x="1014" y="323"/>
                  </a:lnTo>
                  <a:lnTo>
                    <a:pt x="1011" y="308"/>
                  </a:lnTo>
                  <a:lnTo>
                    <a:pt x="1014" y="281"/>
                  </a:lnTo>
                  <a:lnTo>
                    <a:pt x="1034" y="254"/>
                  </a:lnTo>
                  <a:lnTo>
                    <a:pt x="1061" y="269"/>
                  </a:lnTo>
                  <a:lnTo>
                    <a:pt x="1098" y="269"/>
                  </a:lnTo>
                  <a:lnTo>
                    <a:pt x="1116" y="286"/>
                  </a:lnTo>
                  <a:lnTo>
                    <a:pt x="1131" y="301"/>
                  </a:lnTo>
                  <a:lnTo>
                    <a:pt x="1155" y="311"/>
                  </a:lnTo>
                  <a:lnTo>
                    <a:pt x="1146" y="326"/>
                  </a:lnTo>
                  <a:lnTo>
                    <a:pt x="1146" y="373"/>
                  </a:lnTo>
                  <a:lnTo>
                    <a:pt x="1173" y="380"/>
                  </a:lnTo>
                  <a:lnTo>
                    <a:pt x="1200" y="370"/>
                  </a:lnTo>
                  <a:lnTo>
                    <a:pt x="1210" y="356"/>
                  </a:lnTo>
                  <a:lnTo>
                    <a:pt x="1225" y="33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665118" y="2563214"/>
              <a:ext cx="47494" cy="50374"/>
            </a:xfrm>
            <a:custGeom>
              <a:avLst/>
              <a:gdLst>
                <a:gd name="T0" fmla="*/ 10 w 33"/>
                <a:gd name="T1" fmla="*/ 10 h 35"/>
                <a:gd name="T2" fmla="*/ 15 w 33"/>
                <a:gd name="T3" fmla="*/ 0 h 35"/>
                <a:gd name="T4" fmla="*/ 33 w 33"/>
                <a:gd name="T5" fmla="*/ 0 h 35"/>
                <a:gd name="T6" fmla="*/ 33 w 33"/>
                <a:gd name="T7" fmla="*/ 15 h 35"/>
                <a:gd name="T8" fmla="*/ 13 w 33"/>
                <a:gd name="T9" fmla="*/ 35 h 35"/>
                <a:gd name="T10" fmla="*/ 0 w 33"/>
                <a:gd name="T11" fmla="*/ 20 h 35"/>
                <a:gd name="T12" fmla="*/ 10 w 3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10" y="10"/>
                  </a:moveTo>
                  <a:lnTo>
                    <a:pt x="15" y="0"/>
                  </a:lnTo>
                  <a:lnTo>
                    <a:pt x="33" y="0"/>
                  </a:lnTo>
                  <a:lnTo>
                    <a:pt x="33" y="15"/>
                  </a:lnTo>
                  <a:lnTo>
                    <a:pt x="13" y="35"/>
                  </a:lnTo>
                  <a:lnTo>
                    <a:pt x="0" y="2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8" name="Freeform 106"/>
            <p:cNvSpPr>
              <a:spLocks/>
            </p:cNvSpPr>
            <p:nvPr/>
          </p:nvSpPr>
          <p:spPr bwMode="auto">
            <a:xfrm>
              <a:off x="2990922" y="2917266"/>
              <a:ext cx="21588" cy="38860"/>
            </a:xfrm>
            <a:custGeom>
              <a:avLst/>
              <a:gdLst>
                <a:gd name="T0" fmla="*/ 15 w 15"/>
                <a:gd name="T1" fmla="*/ 0 h 27"/>
                <a:gd name="T2" fmla="*/ 15 w 15"/>
                <a:gd name="T3" fmla="*/ 10 h 27"/>
                <a:gd name="T4" fmla="*/ 13 w 15"/>
                <a:gd name="T5" fmla="*/ 25 h 27"/>
                <a:gd name="T6" fmla="*/ 0 w 15"/>
                <a:gd name="T7" fmla="*/ 27 h 27"/>
                <a:gd name="T8" fmla="*/ 15 w 15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15" y="0"/>
                  </a:moveTo>
                  <a:lnTo>
                    <a:pt x="15" y="10"/>
                  </a:lnTo>
                  <a:lnTo>
                    <a:pt x="13" y="25"/>
                  </a:lnTo>
                  <a:lnTo>
                    <a:pt x="0" y="2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99" name="Freeform 107"/>
            <p:cNvSpPr>
              <a:spLocks/>
            </p:cNvSpPr>
            <p:nvPr/>
          </p:nvSpPr>
          <p:spPr bwMode="auto">
            <a:xfrm>
              <a:off x="1521462" y="1826326"/>
              <a:ext cx="246110" cy="171269"/>
            </a:xfrm>
            <a:custGeom>
              <a:avLst/>
              <a:gdLst>
                <a:gd name="T0" fmla="*/ 54 w 171"/>
                <a:gd name="T1" fmla="*/ 5 h 119"/>
                <a:gd name="T2" fmla="*/ 32 w 171"/>
                <a:gd name="T3" fmla="*/ 39 h 119"/>
                <a:gd name="T4" fmla="*/ 19 w 171"/>
                <a:gd name="T5" fmla="*/ 62 h 119"/>
                <a:gd name="T6" fmla="*/ 0 w 171"/>
                <a:gd name="T7" fmla="*/ 87 h 119"/>
                <a:gd name="T8" fmla="*/ 14 w 171"/>
                <a:gd name="T9" fmla="*/ 104 h 119"/>
                <a:gd name="T10" fmla="*/ 39 w 171"/>
                <a:gd name="T11" fmla="*/ 119 h 119"/>
                <a:gd name="T12" fmla="*/ 87 w 171"/>
                <a:gd name="T13" fmla="*/ 97 h 119"/>
                <a:gd name="T14" fmla="*/ 109 w 171"/>
                <a:gd name="T15" fmla="*/ 79 h 119"/>
                <a:gd name="T16" fmla="*/ 146 w 171"/>
                <a:gd name="T17" fmla="*/ 69 h 119"/>
                <a:gd name="T18" fmla="*/ 171 w 171"/>
                <a:gd name="T19" fmla="*/ 52 h 119"/>
                <a:gd name="T20" fmla="*/ 141 w 171"/>
                <a:gd name="T21" fmla="*/ 25 h 119"/>
                <a:gd name="T22" fmla="*/ 101 w 171"/>
                <a:gd name="T23" fmla="*/ 15 h 119"/>
                <a:gd name="T24" fmla="*/ 87 w 171"/>
                <a:gd name="T25" fmla="*/ 0 h 119"/>
                <a:gd name="T26" fmla="*/ 67 w 171"/>
                <a:gd name="T27" fmla="*/ 20 h 119"/>
                <a:gd name="T28" fmla="*/ 54 w 171"/>
                <a:gd name="T29" fmla="*/ 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19">
                  <a:moveTo>
                    <a:pt x="54" y="5"/>
                  </a:moveTo>
                  <a:lnTo>
                    <a:pt x="32" y="39"/>
                  </a:lnTo>
                  <a:lnTo>
                    <a:pt x="19" y="62"/>
                  </a:lnTo>
                  <a:lnTo>
                    <a:pt x="0" y="87"/>
                  </a:lnTo>
                  <a:lnTo>
                    <a:pt x="14" y="104"/>
                  </a:lnTo>
                  <a:lnTo>
                    <a:pt x="39" y="119"/>
                  </a:lnTo>
                  <a:lnTo>
                    <a:pt x="87" y="97"/>
                  </a:lnTo>
                  <a:lnTo>
                    <a:pt x="109" y="79"/>
                  </a:lnTo>
                  <a:lnTo>
                    <a:pt x="146" y="69"/>
                  </a:lnTo>
                  <a:lnTo>
                    <a:pt x="171" y="52"/>
                  </a:lnTo>
                  <a:lnTo>
                    <a:pt x="141" y="25"/>
                  </a:lnTo>
                  <a:lnTo>
                    <a:pt x="101" y="15"/>
                  </a:lnTo>
                  <a:lnTo>
                    <a:pt x="87" y="0"/>
                  </a:lnTo>
                  <a:lnTo>
                    <a:pt x="67" y="20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1678340" y="1901166"/>
              <a:ext cx="361248" cy="189979"/>
            </a:xfrm>
            <a:custGeom>
              <a:avLst/>
              <a:gdLst>
                <a:gd name="T0" fmla="*/ 77 w 251"/>
                <a:gd name="T1" fmla="*/ 12 h 132"/>
                <a:gd name="T2" fmla="*/ 45 w 251"/>
                <a:gd name="T3" fmla="*/ 30 h 132"/>
                <a:gd name="T4" fmla="*/ 45 w 251"/>
                <a:gd name="T5" fmla="*/ 47 h 132"/>
                <a:gd name="T6" fmla="*/ 5 w 251"/>
                <a:gd name="T7" fmla="*/ 50 h 132"/>
                <a:gd name="T8" fmla="*/ 0 w 251"/>
                <a:gd name="T9" fmla="*/ 65 h 132"/>
                <a:gd name="T10" fmla="*/ 65 w 251"/>
                <a:gd name="T11" fmla="*/ 77 h 132"/>
                <a:gd name="T12" fmla="*/ 17 w 251"/>
                <a:gd name="T13" fmla="*/ 89 h 132"/>
                <a:gd name="T14" fmla="*/ 7 w 251"/>
                <a:gd name="T15" fmla="*/ 99 h 132"/>
                <a:gd name="T16" fmla="*/ 42 w 251"/>
                <a:gd name="T17" fmla="*/ 117 h 132"/>
                <a:gd name="T18" fmla="*/ 72 w 251"/>
                <a:gd name="T19" fmla="*/ 132 h 132"/>
                <a:gd name="T20" fmla="*/ 114 w 251"/>
                <a:gd name="T21" fmla="*/ 132 h 132"/>
                <a:gd name="T22" fmla="*/ 189 w 251"/>
                <a:gd name="T23" fmla="*/ 129 h 132"/>
                <a:gd name="T24" fmla="*/ 234 w 251"/>
                <a:gd name="T25" fmla="*/ 119 h 132"/>
                <a:gd name="T26" fmla="*/ 221 w 251"/>
                <a:gd name="T27" fmla="*/ 89 h 132"/>
                <a:gd name="T28" fmla="*/ 251 w 251"/>
                <a:gd name="T29" fmla="*/ 84 h 132"/>
                <a:gd name="T30" fmla="*/ 219 w 251"/>
                <a:gd name="T31" fmla="*/ 65 h 132"/>
                <a:gd name="T32" fmla="*/ 201 w 251"/>
                <a:gd name="T33" fmla="*/ 27 h 132"/>
                <a:gd name="T34" fmla="*/ 209 w 251"/>
                <a:gd name="T35" fmla="*/ 7 h 132"/>
                <a:gd name="T36" fmla="*/ 174 w 251"/>
                <a:gd name="T37" fmla="*/ 0 h 132"/>
                <a:gd name="T38" fmla="*/ 164 w 251"/>
                <a:gd name="T39" fmla="*/ 40 h 132"/>
                <a:gd name="T40" fmla="*/ 144 w 251"/>
                <a:gd name="T41" fmla="*/ 17 h 132"/>
                <a:gd name="T42" fmla="*/ 129 w 251"/>
                <a:gd name="T43" fmla="*/ 7 h 132"/>
                <a:gd name="T44" fmla="*/ 117 w 251"/>
                <a:gd name="T45" fmla="*/ 27 h 132"/>
                <a:gd name="T46" fmla="*/ 104 w 251"/>
                <a:gd name="T47" fmla="*/ 2 h 132"/>
                <a:gd name="T48" fmla="*/ 77 w 251"/>
                <a:gd name="T4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1" h="132">
                  <a:moveTo>
                    <a:pt x="77" y="12"/>
                  </a:moveTo>
                  <a:lnTo>
                    <a:pt x="45" y="30"/>
                  </a:lnTo>
                  <a:lnTo>
                    <a:pt x="45" y="47"/>
                  </a:lnTo>
                  <a:lnTo>
                    <a:pt x="5" y="50"/>
                  </a:lnTo>
                  <a:lnTo>
                    <a:pt x="0" y="65"/>
                  </a:lnTo>
                  <a:lnTo>
                    <a:pt x="65" y="77"/>
                  </a:lnTo>
                  <a:lnTo>
                    <a:pt x="17" y="89"/>
                  </a:lnTo>
                  <a:lnTo>
                    <a:pt x="7" y="99"/>
                  </a:lnTo>
                  <a:lnTo>
                    <a:pt x="42" y="117"/>
                  </a:lnTo>
                  <a:lnTo>
                    <a:pt x="72" y="132"/>
                  </a:lnTo>
                  <a:lnTo>
                    <a:pt x="114" y="132"/>
                  </a:lnTo>
                  <a:lnTo>
                    <a:pt x="189" y="129"/>
                  </a:lnTo>
                  <a:lnTo>
                    <a:pt x="234" y="119"/>
                  </a:lnTo>
                  <a:lnTo>
                    <a:pt x="221" y="89"/>
                  </a:lnTo>
                  <a:lnTo>
                    <a:pt x="251" y="84"/>
                  </a:lnTo>
                  <a:lnTo>
                    <a:pt x="219" y="65"/>
                  </a:lnTo>
                  <a:lnTo>
                    <a:pt x="201" y="27"/>
                  </a:lnTo>
                  <a:lnTo>
                    <a:pt x="209" y="7"/>
                  </a:lnTo>
                  <a:lnTo>
                    <a:pt x="174" y="0"/>
                  </a:lnTo>
                  <a:lnTo>
                    <a:pt x="164" y="40"/>
                  </a:lnTo>
                  <a:lnTo>
                    <a:pt x="144" y="17"/>
                  </a:lnTo>
                  <a:lnTo>
                    <a:pt x="129" y="7"/>
                  </a:lnTo>
                  <a:lnTo>
                    <a:pt x="117" y="27"/>
                  </a:lnTo>
                  <a:lnTo>
                    <a:pt x="104" y="2"/>
                  </a:lnTo>
                  <a:lnTo>
                    <a:pt x="77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5 w 35"/>
                <a:gd name="T33" fmla="*/ 17 h 17"/>
                <a:gd name="T34" fmla="*/ 17 w 35"/>
                <a:gd name="T3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5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2" name="Freeform 110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7 w 35"/>
                <a:gd name="T3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3" name="Freeform 111"/>
            <p:cNvSpPr>
              <a:spLocks/>
            </p:cNvSpPr>
            <p:nvPr/>
          </p:nvSpPr>
          <p:spPr bwMode="auto">
            <a:xfrm>
              <a:off x="1653872" y="1693916"/>
              <a:ext cx="149680" cy="92111"/>
            </a:xfrm>
            <a:custGeom>
              <a:avLst/>
              <a:gdLst>
                <a:gd name="T0" fmla="*/ 104 w 104"/>
                <a:gd name="T1" fmla="*/ 0 h 64"/>
                <a:gd name="T2" fmla="*/ 77 w 104"/>
                <a:gd name="T3" fmla="*/ 10 h 64"/>
                <a:gd name="T4" fmla="*/ 37 w 104"/>
                <a:gd name="T5" fmla="*/ 27 h 64"/>
                <a:gd name="T6" fmla="*/ 2 w 104"/>
                <a:gd name="T7" fmla="*/ 37 h 64"/>
                <a:gd name="T8" fmla="*/ 0 w 104"/>
                <a:gd name="T9" fmla="*/ 57 h 64"/>
                <a:gd name="T10" fmla="*/ 44 w 104"/>
                <a:gd name="T11" fmla="*/ 64 h 64"/>
                <a:gd name="T12" fmla="*/ 77 w 104"/>
                <a:gd name="T13" fmla="*/ 35 h 64"/>
                <a:gd name="T14" fmla="*/ 104 w 104"/>
                <a:gd name="T15" fmla="*/ 35 h 64"/>
                <a:gd name="T16" fmla="*/ 104 w 104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64">
                  <a:moveTo>
                    <a:pt x="104" y="0"/>
                  </a:moveTo>
                  <a:lnTo>
                    <a:pt x="77" y="10"/>
                  </a:lnTo>
                  <a:lnTo>
                    <a:pt x="37" y="27"/>
                  </a:lnTo>
                  <a:lnTo>
                    <a:pt x="2" y="37"/>
                  </a:lnTo>
                  <a:lnTo>
                    <a:pt x="0" y="57"/>
                  </a:lnTo>
                  <a:lnTo>
                    <a:pt x="44" y="64"/>
                  </a:lnTo>
                  <a:lnTo>
                    <a:pt x="77" y="35"/>
                  </a:lnTo>
                  <a:lnTo>
                    <a:pt x="104" y="35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4" name="Freeform 112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3 w 18"/>
                <a:gd name="T25" fmla="*/ 30 h 30"/>
                <a:gd name="T26" fmla="*/ 10 w 18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5" name="Freeform 113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0 w 18"/>
                <a:gd name="T2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6" name="Freeform 114"/>
            <p:cNvSpPr>
              <a:spLocks/>
            </p:cNvSpPr>
            <p:nvPr/>
          </p:nvSpPr>
          <p:spPr bwMode="auto">
            <a:xfrm>
              <a:off x="1799235" y="1737093"/>
              <a:ext cx="230278" cy="110822"/>
            </a:xfrm>
            <a:custGeom>
              <a:avLst/>
              <a:gdLst>
                <a:gd name="T0" fmla="*/ 55 w 160"/>
                <a:gd name="T1" fmla="*/ 24 h 77"/>
                <a:gd name="T2" fmla="*/ 40 w 160"/>
                <a:gd name="T3" fmla="*/ 42 h 77"/>
                <a:gd name="T4" fmla="*/ 5 w 160"/>
                <a:gd name="T5" fmla="*/ 42 h 77"/>
                <a:gd name="T6" fmla="*/ 0 w 160"/>
                <a:gd name="T7" fmla="*/ 67 h 77"/>
                <a:gd name="T8" fmla="*/ 38 w 160"/>
                <a:gd name="T9" fmla="*/ 77 h 77"/>
                <a:gd name="T10" fmla="*/ 68 w 160"/>
                <a:gd name="T11" fmla="*/ 72 h 77"/>
                <a:gd name="T12" fmla="*/ 95 w 160"/>
                <a:gd name="T13" fmla="*/ 62 h 77"/>
                <a:gd name="T14" fmla="*/ 130 w 160"/>
                <a:gd name="T15" fmla="*/ 57 h 77"/>
                <a:gd name="T16" fmla="*/ 160 w 160"/>
                <a:gd name="T17" fmla="*/ 64 h 77"/>
                <a:gd name="T18" fmla="*/ 145 w 160"/>
                <a:gd name="T19" fmla="*/ 32 h 77"/>
                <a:gd name="T20" fmla="*/ 110 w 160"/>
                <a:gd name="T21" fmla="*/ 22 h 77"/>
                <a:gd name="T22" fmla="*/ 105 w 160"/>
                <a:gd name="T23" fmla="*/ 0 h 77"/>
                <a:gd name="T24" fmla="*/ 78 w 160"/>
                <a:gd name="T25" fmla="*/ 5 h 77"/>
                <a:gd name="T26" fmla="*/ 75 w 160"/>
                <a:gd name="T27" fmla="*/ 22 h 77"/>
                <a:gd name="T28" fmla="*/ 55 w 160"/>
                <a:gd name="T29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77">
                  <a:moveTo>
                    <a:pt x="55" y="24"/>
                  </a:moveTo>
                  <a:lnTo>
                    <a:pt x="40" y="42"/>
                  </a:lnTo>
                  <a:lnTo>
                    <a:pt x="5" y="42"/>
                  </a:lnTo>
                  <a:lnTo>
                    <a:pt x="0" y="67"/>
                  </a:lnTo>
                  <a:lnTo>
                    <a:pt x="38" y="77"/>
                  </a:lnTo>
                  <a:lnTo>
                    <a:pt x="68" y="72"/>
                  </a:lnTo>
                  <a:lnTo>
                    <a:pt x="95" y="62"/>
                  </a:lnTo>
                  <a:lnTo>
                    <a:pt x="130" y="57"/>
                  </a:lnTo>
                  <a:lnTo>
                    <a:pt x="160" y="64"/>
                  </a:lnTo>
                  <a:lnTo>
                    <a:pt x="145" y="32"/>
                  </a:lnTo>
                  <a:lnTo>
                    <a:pt x="110" y="22"/>
                  </a:lnTo>
                  <a:lnTo>
                    <a:pt x="105" y="0"/>
                  </a:lnTo>
                  <a:lnTo>
                    <a:pt x="78" y="5"/>
                  </a:lnTo>
                  <a:lnTo>
                    <a:pt x="75" y="22"/>
                  </a:lnTo>
                  <a:lnTo>
                    <a:pt x="55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7" name="Freeform 115"/>
            <p:cNvSpPr>
              <a:spLocks/>
            </p:cNvSpPr>
            <p:nvPr/>
          </p:nvSpPr>
          <p:spPr bwMode="auto">
            <a:xfrm>
              <a:off x="1875514" y="1675207"/>
              <a:ext cx="67645" cy="54691"/>
            </a:xfrm>
            <a:custGeom>
              <a:avLst/>
              <a:gdLst>
                <a:gd name="T0" fmla="*/ 30 w 47"/>
                <a:gd name="T1" fmla="*/ 3 h 38"/>
                <a:gd name="T2" fmla="*/ 7 w 47"/>
                <a:gd name="T3" fmla="*/ 3 h 38"/>
                <a:gd name="T4" fmla="*/ 0 w 47"/>
                <a:gd name="T5" fmla="*/ 23 h 38"/>
                <a:gd name="T6" fmla="*/ 0 w 47"/>
                <a:gd name="T7" fmla="*/ 38 h 38"/>
                <a:gd name="T8" fmla="*/ 22 w 47"/>
                <a:gd name="T9" fmla="*/ 25 h 38"/>
                <a:gd name="T10" fmla="*/ 44 w 47"/>
                <a:gd name="T11" fmla="*/ 18 h 38"/>
                <a:gd name="T12" fmla="*/ 47 w 47"/>
                <a:gd name="T13" fmla="*/ 0 h 38"/>
                <a:gd name="T14" fmla="*/ 30 w 47"/>
                <a:gd name="T1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8">
                  <a:moveTo>
                    <a:pt x="30" y="3"/>
                  </a:moveTo>
                  <a:lnTo>
                    <a:pt x="7" y="3"/>
                  </a:lnTo>
                  <a:lnTo>
                    <a:pt x="0" y="23"/>
                  </a:lnTo>
                  <a:lnTo>
                    <a:pt x="0" y="38"/>
                  </a:lnTo>
                  <a:lnTo>
                    <a:pt x="22" y="25"/>
                  </a:lnTo>
                  <a:lnTo>
                    <a:pt x="44" y="18"/>
                  </a:lnTo>
                  <a:lnTo>
                    <a:pt x="47" y="0"/>
                  </a:lnTo>
                  <a:lnTo>
                    <a:pt x="3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1871197" y="1614759"/>
              <a:ext cx="86354" cy="43177"/>
            </a:xfrm>
            <a:custGeom>
              <a:avLst/>
              <a:gdLst>
                <a:gd name="T0" fmla="*/ 15 w 60"/>
                <a:gd name="T1" fmla="*/ 10 h 30"/>
                <a:gd name="T2" fmla="*/ 30 w 60"/>
                <a:gd name="T3" fmla="*/ 0 h 30"/>
                <a:gd name="T4" fmla="*/ 50 w 60"/>
                <a:gd name="T5" fmla="*/ 3 h 30"/>
                <a:gd name="T6" fmla="*/ 60 w 60"/>
                <a:gd name="T7" fmla="*/ 17 h 30"/>
                <a:gd name="T8" fmla="*/ 33 w 60"/>
                <a:gd name="T9" fmla="*/ 27 h 30"/>
                <a:gd name="T10" fmla="*/ 0 w 60"/>
                <a:gd name="T11" fmla="*/ 30 h 30"/>
                <a:gd name="T12" fmla="*/ 15 w 60"/>
                <a:gd name="T13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0">
                  <a:moveTo>
                    <a:pt x="15" y="10"/>
                  </a:moveTo>
                  <a:lnTo>
                    <a:pt x="30" y="0"/>
                  </a:lnTo>
                  <a:lnTo>
                    <a:pt x="50" y="3"/>
                  </a:lnTo>
                  <a:lnTo>
                    <a:pt x="60" y="17"/>
                  </a:lnTo>
                  <a:lnTo>
                    <a:pt x="33" y="27"/>
                  </a:lnTo>
                  <a:lnTo>
                    <a:pt x="0" y="30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09" name="Freeform 117"/>
            <p:cNvSpPr>
              <a:spLocks/>
            </p:cNvSpPr>
            <p:nvPr/>
          </p:nvSpPr>
          <p:spPr bwMode="auto">
            <a:xfrm>
              <a:off x="2043905" y="1614759"/>
              <a:ext cx="118017" cy="79157"/>
            </a:xfrm>
            <a:custGeom>
              <a:avLst/>
              <a:gdLst>
                <a:gd name="T0" fmla="*/ 14 w 82"/>
                <a:gd name="T1" fmla="*/ 0 h 55"/>
                <a:gd name="T2" fmla="*/ 37 w 82"/>
                <a:gd name="T3" fmla="*/ 3 h 55"/>
                <a:gd name="T4" fmla="*/ 57 w 82"/>
                <a:gd name="T5" fmla="*/ 10 h 55"/>
                <a:gd name="T6" fmla="*/ 77 w 82"/>
                <a:gd name="T7" fmla="*/ 30 h 55"/>
                <a:gd name="T8" fmla="*/ 82 w 82"/>
                <a:gd name="T9" fmla="*/ 50 h 55"/>
                <a:gd name="T10" fmla="*/ 44 w 82"/>
                <a:gd name="T11" fmla="*/ 55 h 55"/>
                <a:gd name="T12" fmla="*/ 37 w 82"/>
                <a:gd name="T13" fmla="*/ 35 h 55"/>
                <a:gd name="T14" fmla="*/ 14 w 82"/>
                <a:gd name="T15" fmla="*/ 32 h 55"/>
                <a:gd name="T16" fmla="*/ 0 w 82"/>
                <a:gd name="T17" fmla="*/ 12 h 55"/>
                <a:gd name="T18" fmla="*/ 14 w 82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5">
                  <a:moveTo>
                    <a:pt x="14" y="0"/>
                  </a:moveTo>
                  <a:lnTo>
                    <a:pt x="37" y="3"/>
                  </a:lnTo>
                  <a:lnTo>
                    <a:pt x="57" y="10"/>
                  </a:lnTo>
                  <a:lnTo>
                    <a:pt x="77" y="30"/>
                  </a:lnTo>
                  <a:lnTo>
                    <a:pt x="82" y="50"/>
                  </a:lnTo>
                  <a:lnTo>
                    <a:pt x="44" y="55"/>
                  </a:lnTo>
                  <a:lnTo>
                    <a:pt x="37" y="35"/>
                  </a:lnTo>
                  <a:lnTo>
                    <a:pt x="14" y="32"/>
                  </a:lnTo>
                  <a:lnTo>
                    <a:pt x="0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0" name="Freeform 118"/>
            <p:cNvSpPr>
              <a:spLocks/>
            </p:cNvSpPr>
            <p:nvPr/>
          </p:nvSpPr>
          <p:spPr bwMode="auto">
            <a:xfrm>
              <a:off x="2043905" y="1862307"/>
              <a:ext cx="113699" cy="118017"/>
            </a:xfrm>
            <a:custGeom>
              <a:avLst/>
              <a:gdLst>
                <a:gd name="T0" fmla="*/ 27 w 79"/>
                <a:gd name="T1" fmla="*/ 5 h 82"/>
                <a:gd name="T2" fmla="*/ 32 w 79"/>
                <a:gd name="T3" fmla="*/ 24 h 82"/>
                <a:gd name="T4" fmla="*/ 29 w 79"/>
                <a:gd name="T5" fmla="*/ 44 h 82"/>
                <a:gd name="T6" fmla="*/ 2 w 79"/>
                <a:gd name="T7" fmla="*/ 29 h 82"/>
                <a:gd name="T8" fmla="*/ 0 w 79"/>
                <a:gd name="T9" fmla="*/ 49 h 82"/>
                <a:gd name="T10" fmla="*/ 24 w 79"/>
                <a:gd name="T11" fmla="*/ 64 h 82"/>
                <a:gd name="T12" fmla="*/ 37 w 79"/>
                <a:gd name="T13" fmla="*/ 79 h 82"/>
                <a:gd name="T14" fmla="*/ 64 w 79"/>
                <a:gd name="T15" fmla="*/ 82 h 82"/>
                <a:gd name="T16" fmla="*/ 79 w 79"/>
                <a:gd name="T17" fmla="*/ 54 h 82"/>
                <a:gd name="T18" fmla="*/ 69 w 79"/>
                <a:gd name="T19" fmla="*/ 34 h 82"/>
                <a:gd name="T20" fmla="*/ 72 w 79"/>
                <a:gd name="T21" fmla="*/ 0 h 82"/>
                <a:gd name="T22" fmla="*/ 27 w 79"/>
                <a:gd name="T23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82">
                  <a:moveTo>
                    <a:pt x="27" y="5"/>
                  </a:moveTo>
                  <a:lnTo>
                    <a:pt x="32" y="24"/>
                  </a:lnTo>
                  <a:lnTo>
                    <a:pt x="29" y="44"/>
                  </a:lnTo>
                  <a:lnTo>
                    <a:pt x="2" y="29"/>
                  </a:lnTo>
                  <a:lnTo>
                    <a:pt x="0" y="49"/>
                  </a:lnTo>
                  <a:lnTo>
                    <a:pt x="24" y="64"/>
                  </a:lnTo>
                  <a:lnTo>
                    <a:pt x="37" y="79"/>
                  </a:lnTo>
                  <a:lnTo>
                    <a:pt x="64" y="82"/>
                  </a:lnTo>
                  <a:lnTo>
                    <a:pt x="79" y="54"/>
                  </a:lnTo>
                  <a:lnTo>
                    <a:pt x="69" y="34"/>
                  </a:lnTo>
                  <a:lnTo>
                    <a:pt x="72" y="0"/>
                  </a:lnTo>
                  <a:lnTo>
                    <a:pt x="2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1" name="Freeform 119"/>
            <p:cNvSpPr>
              <a:spLocks/>
            </p:cNvSpPr>
            <p:nvPr/>
          </p:nvSpPr>
          <p:spPr bwMode="auto">
            <a:xfrm>
              <a:off x="2068372" y="2036454"/>
              <a:ext cx="71962" cy="54691"/>
            </a:xfrm>
            <a:custGeom>
              <a:avLst/>
              <a:gdLst>
                <a:gd name="T0" fmla="*/ 25 w 50"/>
                <a:gd name="T1" fmla="*/ 0 h 38"/>
                <a:gd name="T2" fmla="*/ 7 w 50"/>
                <a:gd name="T3" fmla="*/ 13 h 38"/>
                <a:gd name="T4" fmla="*/ 0 w 50"/>
                <a:gd name="T5" fmla="*/ 35 h 38"/>
                <a:gd name="T6" fmla="*/ 30 w 50"/>
                <a:gd name="T7" fmla="*/ 38 h 38"/>
                <a:gd name="T8" fmla="*/ 50 w 50"/>
                <a:gd name="T9" fmla="*/ 25 h 38"/>
                <a:gd name="T10" fmla="*/ 25 w 50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38">
                  <a:moveTo>
                    <a:pt x="25" y="0"/>
                  </a:moveTo>
                  <a:lnTo>
                    <a:pt x="7" y="13"/>
                  </a:lnTo>
                  <a:lnTo>
                    <a:pt x="0" y="35"/>
                  </a:lnTo>
                  <a:lnTo>
                    <a:pt x="30" y="38"/>
                  </a:lnTo>
                  <a:lnTo>
                    <a:pt x="50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2193586" y="1857989"/>
              <a:ext cx="118017" cy="93551"/>
            </a:xfrm>
            <a:custGeom>
              <a:avLst/>
              <a:gdLst>
                <a:gd name="T0" fmla="*/ 0 w 82"/>
                <a:gd name="T1" fmla="*/ 65 h 65"/>
                <a:gd name="T2" fmla="*/ 2 w 82"/>
                <a:gd name="T3" fmla="*/ 37 h 65"/>
                <a:gd name="T4" fmla="*/ 12 w 82"/>
                <a:gd name="T5" fmla="*/ 12 h 65"/>
                <a:gd name="T6" fmla="*/ 40 w 82"/>
                <a:gd name="T7" fmla="*/ 0 h 65"/>
                <a:gd name="T8" fmla="*/ 65 w 82"/>
                <a:gd name="T9" fmla="*/ 3 h 65"/>
                <a:gd name="T10" fmla="*/ 82 w 82"/>
                <a:gd name="T11" fmla="*/ 8 h 65"/>
                <a:gd name="T12" fmla="*/ 67 w 82"/>
                <a:gd name="T13" fmla="*/ 27 h 65"/>
                <a:gd name="T14" fmla="*/ 42 w 82"/>
                <a:gd name="T15" fmla="*/ 45 h 65"/>
                <a:gd name="T16" fmla="*/ 25 w 82"/>
                <a:gd name="T17" fmla="*/ 45 h 65"/>
                <a:gd name="T18" fmla="*/ 17 w 82"/>
                <a:gd name="T19" fmla="*/ 65 h 65"/>
                <a:gd name="T20" fmla="*/ 0 w 82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5">
                  <a:moveTo>
                    <a:pt x="0" y="65"/>
                  </a:moveTo>
                  <a:lnTo>
                    <a:pt x="2" y="37"/>
                  </a:lnTo>
                  <a:lnTo>
                    <a:pt x="12" y="12"/>
                  </a:lnTo>
                  <a:lnTo>
                    <a:pt x="40" y="0"/>
                  </a:lnTo>
                  <a:lnTo>
                    <a:pt x="65" y="3"/>
                  </a:lnTo>
                  <a:lnTo>
                    <a:pt x="82" y="8"/>
                  </a:lnTo>
                  <a:lnTo>
                    <a:pt x="67" y="27"/>
                  </a:lnTo>
                  <a:lnTo>
                    <a:pt x="42" y="45"/>
                  </a:lnTo>
                  <a:lnTo>
                    <a:pt x="25" y="45"/>
                  </a:lnTo>
                  <a:lnTo>
                    <a:pt x="17" y="65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3" name="Freeform 121"/>
            <p:cNvSpPr>
              <a:spLocks/>
            </p:cNvSpPr>
            <p:nvPr/>
          </p:nvSpPr>
          <p:spPr bwMode="auto">
            <a:xfrm>
              <a:off x="2321677" y="1865186"/>
              <a:ext cx="569937" cy="515246"/>
            </a:xfrm>
            <a:custGeom>
              <a:avLst/>
              <a:gdLst>
                <a:gd name="T0" fmla="*/ 58 w 396"/>
                <a:gd name="T1" fmla="*/ 0 h 358"/>
                <a:gd name="T2" fmla="*/ 20 w 396"/>
                <a:gd name="T3" fmla="*/ 12 h 358"/>
                <a:gd name="T4" fmla="*/ 0 w 396"/>
                <a:gd name="T5" fmla="*/ 50 h 358"/>
                <a:gd name="T6" fmla="*/ 3 w 396"/>
                <a:gd name="T7" fmla="*/ 85 h 358"/>
                <a:gd name="T8" fmla="*/ 30 w 396"/>
                <a:gd name="T9" fmla="*/ 94 h 358"/>
                <a:gd name="T10" fmla="*/ 18 w 396"/>
                <a:gd name="T11" fmla="*/ 109 h 358"/>
                <a:gd name="T12" fmla="*/ 25 w 396"/>
                <a:gd name="T13" fmla="*/ 119 h 358"/>
                <a:gd name="T14" fmla="*/ 82 w 396"/>
                <a:gd name="T15" fmla="*/ 112 h 358"/>
                <a:gd name="T16" fmla="*/ 120 w 396"/>
                <a:gd name="T17" fmla="*/ 129 h 358"/>
                <a:gd name="T18" fmla="*/ 147 w 396"/>
                <a:gd name="T19" fmla="*/ 112 h 358"/>
                <a:gd name="T20" fmla="*/ 182 w 396"/>
                <a:gd name="T21" fmla="*/ 142 h 358"/>
                <a:gd name="T22" fmla="*/ 177 w 396"/>
                <a:gd name="T23" fmla="*/ 164 h 358"/>
                <a:gd name="T24" fmla="*/ 209 w 396"/>
                <a:gd name="T25" fmla="*/ 164 h 358"/>
                <a:gd name="T26" fmla="*/ 227 w 396"/>
                <a:gd name="T27" fmla="*/ 179 h 358"/>
                <a:gd name="T28" fmla="*/ 229 w 396"/>
                <a:gd name="T29" fmla="*/ 211 h 358"/>
                <a:gd name="T30" fmla="*/ 197 w 396"/>
                <a:gd name="T31" fmla="*/ 249 h 358"/>
                <a:gd name="T32" fmla="*/ 142 w 396"/>
                <a:gd name="T33" fmla="*/ 261 h 358"/>
                <a:gd name="T34" fmla="*/ 130 w 396"/>
                <a:gd name="T35" fmla="*/ 281 h 358"/>
                <a:gd name="T36" fmla="*/ 150 w 396"/>
                <a:gd name="T37" fmla="*/ 301 h 358"/>
                <a:gd name="T38" fmla="*/ 197 w 396"/>
                <a:gd name="T39" fmla="*/ 291 h 358"/>
                <a:gd name="T40" fmla="*/ 242 w 396"/>
                <a:gd name="T41" fmla="*/ 326 h 358"/>
                <a:gd name="T42" fmla="*/ 304 w 396"/>
                <a:gd name="T43" fmla="*/ 358 h 358"/>
                <a:gd name="T44" fmla="*/ 284 w 396"/>
                <a:gd name="T45" fmla="*/ 308 h 358"/>
                <a:gd name="T46" fmla="*/ 326 w 396"/>
                <a:gd name="T47" fmla="*/ 336 h 358"/>
                <a:gd name="T48" fmla="*/ 339 w 396"/>
                <a:gd name="T49" fmla="*/ 306 h 358"/>
                <a:gd name="T50" fmla="*/ 329 w 396"/>
                <a:gd name="T51" fmla="*/ 268 h 358"/>
                <a:gd name="T52" fmla="*/ 299 w 396"/>
                <a:gd name="T53" fmla="*/ 261 h 358"/>
                <a:gd name="T54" fmla="*/ 301 w 396"/>
                <a:gd name="T55" fmla="*/ 226 h 358"/>
                <a:gd name="T56" fmla="*/ 316 w 396"/>
                <a:gd name="T57" fmla="*/ 221 h 358"/>
                <a:gd name="T58" fmla="*/ 366 w 396"/>
                <a:gd name="T59" fmla="*/ 271 h 358"/>
                <a:gd name="T60" fmla="*/ 383 w 396"/>
                <a:gd name="T61" fmla="*/ 241 h 358"/>
                <a:gd name="T62" fmla="*/ 396 w 396"/>
                <a:gd name="T63" fmla="*/ 219 h 358"/>
                <a:gd name="T64" fmla="*/ 366 w 396"/>
                <a:gd name="T65" fmla="*/ 196 h 358"/>
                <a:gd name="T66" fmla="*/ 331 w 396"/>
                <a:gd name="T67" fmla="*/ 189 h 358"/>
                <a:gd name="T68" fmla="*/ 306 w 396"/>
                <a:gd name="T69" fmla="*/ 154 h 358"/>
                <a:gd name="T70" fmla="*/ 326 w 396"/>
                <a:gd name="T71" fmla="*/ 132 h 358"/>
                <a:gd name="T72" fmla="*/ 309 w 396"/>
                <a:gd name="T73" fmla="*/ 104 h 358"/>
                <a:gd name="T74" fmla="*/ 261 w 396"/>
                <a:gd name="T75" fmla="*/ 85 h 358"/>
                <a:gd name="T76" fmla="*/ 229 w 396"/>
                <a:gd name="T77" fmla="*/ 70 h 358"/>
                <a:gd name="T78" fmla="*/ 207 w 396"/>
                <a:gd name="T79" fmla="*/ 27 h 358"/>
                <a:gd name="T80" fmla="*/ 145 w 396"/>
                <a:gd name="T81" fmla="*/ 35 h 358"/>
                <a:gd name="T82" fmla="*/ 125 w 396"/>
                <a:gd name="T83" fmla="*/ 60 h 358"/>
                <a:gd name="T84" fmla="*/ 135 w 396"/>
                <a:gd name="T85" fmla="*/ 3 h 358"/>
                <a:gd name="T86" fmla="*/ 92 w 396"/>
                <a:gd name="T87" fmla="*/ 0 h 358"/>
                <a:gd name="T88" fmla="*/ 70 w 396"/>
                <a:gd name="T89" fmla="*/ 27 h 358"/>
                <a:gd name="T90" fmla="*/ 68 w 396"/>
                <a:gd name="T91" fmla="*/ 50 h 358"/>
                <a:gd name="T92" fmla="*/ 45 w 396"/>
                <a:gd name="T93" fmla="*/ 47 h 358"/>
                <a:gd name="T94" fmla="*/ 58 w 396"/>
                <a:gd name="T9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6" h="358">
                  <a:moveTo>
                    <a:pt x="58" y="0"/>
                  </a:moveTo>
                  <a:lnTo>
                    <a:pt x="20" y="12"/>
                  </a:lnTo>
                  <a:lnTo>
                    <a:pt x="0" y="50"/>
                  </a:lnTo>
                  <a:lnTo>
                    <a:pt x="3" y="85"/>
                  </a:lnTo>
                  <a:lnTo>
                    <a:pt x="30" y="94"/>
                  </a:lnTo>
                  <a:lnTo>
                    <a:pt x="18" y="109"/>
                  </a:lnTo>
                  <a:lnTo>
                    <a:pt x="25" y="119"/>
                  </a:lnTo>
                  <a:lnTo>
                    <a:pt x="82" y="112"/>
                  </a:lnTo>
                  <a:lnTo>
                    <a:pt x="120" y="129"/>
                  </a:lnTo>
                  <a:lnTo>
                    <a:pt x="147" y="112"/>
                  </a:lnTo>
                  <a:lnTo>
                    <a:pt x="182" y="142"/>
                  </a:lnTo>
                  <a:lnTo>
                    <a:pt x="177" y="164"/>
                  </a:lnTo>
                  <a:lnTo>
                    <a:pt x="209" y="164"/>
                  </a:lnTo>
                  <a:lnTo>
                    <a:pt x="227" y="179"/>
                  </a:lnTo>
                  <a:lnTo>
                    <a:pt x="229" y="211"/>
                  </a:lnTo>
                  <a:lnTo>
                    <a:pt x="197" y="249"/>
                  </a:lnTo>
                  <a:lnTo>
                    <a:pt x="142" y="261"/>
                  </a:lnTo>
                  <a:lnTo>
                    <a:pt x="130" y="281"/>
                  </a:lnTo>
                  <a:lnTo>
                    <a:pt x="150" y="301"/>
                  </a:lnTo>
                  <a:lnTo>
                    <a:pt x="197" y="291"/>
                  </a:lnTo>
                  <a:lnTo>
                    <a:pt x="242" y="326"/>
                  </a:lnTo>
                  <a:lnTo>
                    <a:pt x="304" y="358"/>
                  </a:lnTo>
                  <a:lnTo>
                    <a:pt x="284" y="308"/>
                  </a:lnTo>
                  <a:lnTo>
                    <a:pt x="326" y="336"/>
                  </a:lnTo>
                  <a:lnTo>
                    <a:pt x="339" y="306"/>
                  </a:lnTo>
                  <a:lnTo>
                    <a:pt x="329" y="268"/>
                  </a:lnTo>
                  <a:lnTo>
                    <a:pt x="299" y="261"/>
                  </a:lnTo>
                  <a:lnTo>
                    <a:pt x="301" y="226"/>
                  </a:lnTo>
                  <a:lnTo>
                    <a:pt x="316" y="221"/>
                  </a:lnTo>
                  <a:lnTo>
                    <a:pt x="366" y="271"/>
                  </a:lnTo>
                  <a:lnTo>
                    <a:pt x="383" y="241"/>
                  </a:lnTo>
                  <a:lnTo>
                    <a:pt x="396" y="219"/>
                  </a:lnTo>
                  <a:lnTo>
                    <a:pt x="366" y="196"/>
                  </a:lnTo>
                  <a:lnTo>
                    <a:pt x="331" y="189"/>
                  </a:lnTo>
                  <a:lnTo>
                    <a:pt x="306" y="154"/>
                  </a:lnTo>
                  <a:lnTo>
                    <a:pt x="326" y="132"/>
                  </a:lnTo>
                  <a:lnTo>
                    <a:pt x="309" y="104"/>
                  </a:lnTo>
                  <a:lnTo>
                    <a:pt x="261" y="85"/>
                  </a:lnTo>
                  <a:lnTo>
                    <a:pt x="229" y="70"/>
                  </a:lnTo>
                  <a:lnTo>
                    <a:pt x="207" y="27"/>
                  </a:lnTo>
                  <a:lnTo>
                    <a:pt x="145" y="35"/>
                  </a:lnTo>
                  <a:lnTo>
                    <a:pt x="125" y="60"/>
                  </a:lnTo>
                  <a:lnTo>
                    <a:pt x="135" y="3"/>
                  </a:lnTo>
                  <a:lnTo>
                    <a:pt x="92" y="0"/>
                  </a:lnTo>
                  <a:lnTo>
                    <a:pt x="70" y="27"/>
                  </a:lnTo>
                  <a:lnTo>
                    <a:pt x="68" y="50"/>
                  </a:lnTo>
                  <a:lnTo>
                    <a:pt x="45" y="47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5 w 32"/>
                <a:gd name="T35" fmla="*/ 38 h 38"/>
                <a:gd name="T36" fmla="*/ 3 w 32"/>
                <a:gd name="T3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5" y="38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3 w 32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6" name="Freeform 124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10 w 17"/>
                <a:gd name="T25" fmla="*/ 35 h 35"/>
                <a:gd name="T26" fmla="*/ 7 w 1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10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7" name="Freeform 125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7 w 1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8" name="Freeform 126"/>
            <p:cNvSpPr>
              <a:spLocks/>
            </p:cNvSpPr>
            <p:nvPr/>
          </p:nvSpPr>
          <p:spPr bwMode="auto">
            <a:xfrm>
              <a:off x="2311603" y="2250901"/>
              <a:ext cx="103625" cy="90671"/>
            </a:xfrm>
            <a:custGeom>
              <a:avLst/>
              <a:gdLst>
                <a:gd name="T0" fmla="*/ 32 w 72"/>
                <a:gd name="T1" fmla="*/ 0 h 63"/>
                <a:gd name="T2" fmla="*/ 62 w 72"/>
                <a:gd name="T3" fmla="*/ 8 h 63"/>
                <a:gd name="T4" fmla="*/ 72 w 72"/>
                <a:gd name="T5" fmla="*/ 28 h 63"/>
                <a:gd name="T6" fmla="*/ 47 w 72"/>
                <a:gd name="T7" fmla="*/ 38 h 63"/>
                <a:gd name="T8" fmla="*/ 17 w 72"/>
                <a:gd name="T9" fmla="*/ 63 h 63"/>
                <a:gd name="T10" fmla="*/ 0 w 72"/>
                <a:gd name="T11" fmla="*/ 38 h 63"/>
                <a:gd name="T12" fmla="*/ 2 w 72"/>
                <a:gd name="T13" fmla="*/ 13 h 63"/>
                <a:gd name="T14" fmla="*/ 32 w 72"/>
                <a:gd name="T1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63">
                  <a:moveTo>
                    <a:pt x="32" y="0"/>
                  </a:moveTo>
                  <a:lnTo>
                    <a:pt x="62" y="8"/>
                  </a:lnTo>
                  <a:lnTo>
                    <a:pt x="72" y="28"/>
                  </a:lnTo>
                  <a:lnTo>
                    <a:pt x="47" y="38"/>
                  </a:lnTo>
                  <a:lnTo>
                    <a:pt x="17" y="63"/>
                  </a:lnTo>
                  <a:lnTo>
                    <a:pt x="0" y="38"/>
                  </a:lnTo>
                  <a:lnTo>
                    <a:pt x="2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19" name="Freeform 127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0" name="Freeform 128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1" name="Freeform 129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2" name="Freeform 130"/>
            <p:cNvSpPr>
              <a:spLocks/>
            </p:cNvSpPr>
            <p:nvPr/>
          </p:nvSpPr>
          <p:spPr bwMode="auto">
            <a:xfrm>
              <a:off x="2203660" y="1629151"/>
              <a:ext cx="64766" cy="64765"/>
            </a:xfrm>
            <a:custGeom>
              <a:avLst/>
              <a:gdLst>
                <a:gd name="T0" fmla="*/ 0 w 45"/>
                <a:gd name="T1" fmla="*/ 7 h 45"/>
                <a:gd name="T2" fmla="*/ 0 w 45"/>
                <a:gd name="T3" fmla="*/ 30 h 45"/>
                <a:gd name="T4" fmla="*/ 18 w 45"/>
                <a:gd name="T5" fmla="*/ 45 h 45"/>
                <a:gd name="T6" fmla="*/ 35 w 45"/>
                <a:gd name="T7" fmla="*/ 42 h 45"/>
                <a:gd name="T8" fmla="*/ 45 w 45"/>
                <a:gd name="T9" fmla="*/ 20 h 45"/>
                <a:gd name="T10" fmla="*/ 30 w 45"/>
                <a:gd name="T11" fmla="*/ 0 h 45"/>
                <a:gd name="T12" fmla="*/ 0 w 4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0" y="7"/>
                  </a:moveTo>
                  <a:lnTo>
                    <a:pt x="0" y="30"/>
                  </a:lnTo>
                  <a:lnTo>
                    <a:pt x="18" y="45"/>
                  </a:lnTo>
                  <a:lnTo>
                    <a:pt x="35" y="42"/>
                  </a:lnTo>
                  <a:lnTo>
                    <a:pt x="45" y="20"/>
                  </a:lnTo>
                  <a:lnTo>
                    <a:pt x="3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3" name="Freeform 131"/>
            <p:cNvSpPr>
              <a:spLocks/>
            </p:cNvSpPr>
            <p:nvPr/>
          </p:nvSpPr>
          <p:spPr bwMode="auto">
            <a:xfrm>
              <a:off x="2193586" y="1561507"/>
              <a:ext cx="43177" cy="35981"/>
            </a:xfrm>
            <a:custGeom>
              <a:avLst/>
              <a:gdLst>
                <a:gd name="T0" fmla="*/ 2 w 30"/>
                <a:gd name="T1" fmla="*/ 0 h 25"/>
                <a:gd name="T2" fmla="*/ 0 w 30"/>
                <a:gd name="T3" fmla="*/ 25 h 25"/>
                <a:gd name="T4" fmla="*/ 25 w 30"/>
                <a:gd name="T5" fmla="*/ 25 h 25"/>
                <a:gd name="T6" fmla="*/ 30 w 30"/>
                <a:gd name="T7" fmla="*/ 7 h 25"/>
                <a:gd name="T8" fmla="*/ 2 w 30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5">
                  <a:moveTo>
                    <a:pt x="2" y="0"/>
                  </a:moveTo>
                  <a:lnTo>
                    <a:pt x="0" y="25"/>
                  </a:lnTo>
                  <a:lnTo>
                    <a:pt x="25" y="25"/>
                  </a:lnTo>
                  <a:lnTo>
                    <a:pt x="30" y="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4" name="Freeform 132"/>
            <p:cNvSpPr>
              <a:spLocks/>
            </p:cNvSpPr>
            <p:nvPr/>
          </p:nvSpPr>
          <p:spPr bwMode="auto">
            <a:xfrm>
              <a:off x="2287136" y="1503937"/>
              <a:ext cx="142485" cy="153999"/>
            </a:xfrm>
            <a:custGeom>
              <a:avLst/>
              <a:gdLst>
                <a:gd name="T0" fmla="*/ 32 w 99"/>
                <a:gd name="T1" fmla="*/ 0 h 107"/>
                <a:gd name="T2" fmla="*/ 17 w 99"/>
                <a:gd name="T3" fmla="*/ 22 h 107"/>
                <a:gd name="T4" fmla="*/ 0 w 99"/>
                <a:gd name="T5" fmla="*/ 42 h 107"/>
                <a:gd name="T6" fmla="*/ 2 w 99"/>
                <a:gd name="T7" fmla="*/ 67 h 107"/>
                <a:gd name="T8" fmla="*/ 24 w 99"/>
                <a:gd name="T9" fmla="*/ 67 h 107"/>
                <a:gd name="T10" fmla="*/ 19 w 99"/>
                <a:gd name="T11" fmla="*/ 82 h 107"/>
                <a:gd name="T12" fmla="*/ 27 w 99"/>
                <a:gd name="T13" fmla="*/ 102 h 107"/>
                <a:gd name="T14" fmla="*/ 82 w 99"/>
                <a:gd name="T15" fmla="*/ 107 h 107"/>
                <a:gd name="T16" fmla="*/ 97 w 99"/>
                <a:gd name="T17" fmla="*/ 87 h 107"/>
                <a:gd name="T18" fmla="*/ 99 w 99"/>
                <a:gd name="T19" fmla="*/ 52 h 107"/>
                <a:gd name="T20" fmla="*/ 79 w 99"/>
                <a:gd name="T21" fmla="*/ 25 h 107"/>
                <a:gd name="T22" fmla="*/ 32 w 99"/>
                <a:gd name="T2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07">
                  <a:moveTo>
                    <a:pt x="32" y="0"/>
                  </a:moveTo>
                  <a:lnTo>
                    <a:pt x="17" y="22"/>
                  </a:lnTo>
                  <a:lnTo>
                    <a:pt x="0" y="42"/>
                  </a:lnTo>
                  <a:lnTo>
                    <a:pt x="2" y="67"/>
                  </a:lnTo>
                  <a:lnTo>
                    <a:pt x="24" y="67"/>
                  </a:lnTo>
                  <a:lnTo>
                    <a:pt x="19" y="82"/>
                  </a:lnTo>
                  <a:lnTo>
                    <a:pt x="27" y="102"/>
                  </a:lnTo>
                  <a:lnTo>
                    <a:pt x="82" y="107"/>
                  </a:lnTo>
                  <a:lnTo>
                    <a:pt x="97" y="87"/>
                  </a:lnTo>
                  <a:lnTo>
                    <a:pt x="99" y="52"/>
                  </a:lnTo>
                  <a:lnTo>
                    <a:pt x="79" y="25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5" name="Freeform 133"/>
            <p:cNvSpPr>
              <a:spLocks/>
            </p:cNvSpPr>
            <p:nvPr/>
          </p:nvSpPr>
          <p:spPr bwMode="auto">
            <a:xfrm>
              <a:off x="2369173" y="1414705"/>
              <a:ext cx="621750" cy="354052"/>
            </a:xfrm>
            <a:custGeom>
              <a:avLst/>
              <a:gdLst>
                <a:gd name="T0" fmla="*/ 35 w 432"/>
                <a:gd name="T1" fmla="*/ 47 h 246"/>
                <a:gd name="T2" fmla="*/ 42 w 432"/>
                <a:gd name="T3" fmla="*/ 64 h 246"/>
                <a:gd name="T4" fmla="*/ 59 w 432"/>
                <a:gd name="T5" fmla="*/ 84 h 246"/>
                <a:gd name="T6" fmla="*/ 74 w 432"/>
                <a:gd name="T7" fmla="*/ 89 h 246"/>
                <a:gd name="T8" fmla="*/ 104 w 432"/>
                <a:gd name="T9" fmla="*/ 99 h 246"/>
                <a:gd name="T10" fmla="*/ 131 w 432"/>
                <a:gd name="T11" fmla="*/ 87 h 246"/>
                <a:gd name="T12" fmla="*/ 169 w 432"/>
                <a:gd name="T13" fmla="*/ 77 h 246"/>
                <a:gd name="T14" fmla="*/ 181 w 432"/>
                <a:gd name="T15" fmla="*/ 72 h 246"/>
                <a:gd name="T16" fmla="*/ 181 w 432"/>
                <a:gd name="T17" fmla="*/ 92 h 246"/>
                <a:gd name="T18" fmla="*/ 141 w 432"/>
                <a:gd name="T19" fmla="*/ 102 h 246"/>
                <a:gd name="T20" fmla="*/ 117 w 432"/>
                <a:gd name="T21" fmla="*/ 114 h 246"/>
                <a:gd name="T22" fmla="*/ 139 w 432"/>
                <a:gd name="T23" fmla="*/ 124 h 246"/>
                <a:gd name="T24" fmla="*/ 99 w 432"/>
                <a:gd name="T25" fmla="*/ 124 h 246"/>
                <a:gd name="T26" fmla="*/ 79 w 432"/>
                <a:gd name="T27" fmla="*/ 112 h 246"/>
                <a:gd name="T28" fmla="*/ 77 w 432"/>
                <a:gd name="T29" fmla="*/ 134 h 246"/>
                <a:gd name="T30" fmla="*/ 92 w 432"/>
                <a:gd name="T31" fmla="*/ 156 h 246"/>
                <a:gd name="T32" fmla="*/ 74 w 432"/>
                <a:gd name="T33" fmla="*/ 171 h 246"/>
                <a:gd name="T34" fmla="*/ 59 w 432"/>
                <a:gd name="T35" fmla="*/ 184 h 246"/>
                <a:gd name="T36" fmla="*/ 40 w 432"/>
                <a:gd name="T37" fmla="*/ 196 h 246"/>
                <a:gd name="T38" fmla="*/ 32 w 432"/>
                <a:gd name="T39" fmla="*/ 211 h 246"/>
                <a:gd name="T40" fmla="*/ 0 w 432"/>
                <a:gd name="T41" fmla="*/ 206 h 246"/>
                <a:gd name="T42" fmla="*/ 15 w 432"/>
                <a:gd name="T43" fmla="*/ 233 h 246"/>
                <a:gd name="T44" fmla="*/ 102 w 432"/>
                <a:gd name="T45" fmla="*/ 246 h 246"/>
                <a:gd name="T46" fmla="*/ 151 w 432"/>
                <a:gd name="T47" fmla="*/ 236 h 246"/>
                <a:gd name="T48" fmla="*/ 174 w 432"/>
                <a:gd name="T49" fmla="*/ 211 h 246"/>
                <a:gd name="T50" fmla="*/ 154 w 432"/>
                <a:gd name="T51" fmla="*/ 189 h 246"/>
                <a:gd name="T52" fmla="*/ 174 w 432"/>
                <a:gd name="T53" fmla="*/ 181 h 246"/>
                <a:gd name="T54" fmla="*/ 194 w 432"/>
                <a:gd name="T55" fmla="*/ 174 h 246"/>
                <a:gd name="T56" fmla="*/ 226 w 432"/>
                <a:gd name="T57" fmla="*/ 144 h 246"/>
                <a:gd name="T58" fmla="*/ 233 w 432"/>
                <a:gd name="T59" fmla="*/ 129 h 246"/>
                <a:gd name="T60" fmla="*/ 258 w 432"/>
                <a:gd name="T61" fmla="*/ 114 h 246"/>
                <a:gd name="T62" fmla="*/ 293 w 432"/>
                <a:gd name="T63" fmla="*/ 124 h 246"/>
                <a:gd name="T64" fmla="*/ 353 w 432"/>
                <a:gd name="T65" fmla="*/ 72 h 246"/>
                <a:gd name="T66" fmla="*/ 340 w 432"/>
                <a:gd name="T67" fmla="*/ 50 h 246"/>
                <a:gd name="T68" fmla="*/ 397 w 432"/>
                <a:gd name="T69" fmla="*/ 40 h 246"/>
                <a:gd name="T70" fmla="*/ 432 w 432"/>
                <a:gd name="T71" fmla="*/ 25 h 246"/>
                <a:gd name="T72" fmla="*/ 412 w 432"/>
                <a:gd name="T73" fmla="*/ 2 h 246"/>
                <a:gd name="T74" fmla="*/ 375 w 432"/>
                <a:gd name="T75" fmla="*/ 2 h 246"/>
                <a:gd name="T76" fmla="*/ 283 w 432"/>
                <a:gd name="T77" fmla="*/ 0 h 246"/>
                <a:gd name="T78" fmla="*/ 253 w 432"/>
                <a:gd name="T79" fmla="*/ 25 h 246"/>
                <a:gd name="T80" fmla="*/ 226 w 432"/>
                <a:gd name="T81" fmla="*/ 0 h 246"/>
                <a:gd name="T82" fmla="*/ 221 w 432"/>
                <a:gd name="T83" fmla="*/ 12 h 246"/>
                <a:gd name="T84" fmla="*/ 169 w 432"/>
                <a:gd name="T85" fmla="*/ 10 h 246"/>
                <a:gd name="T86" fmla="*/ 144 w 432"/>
                <a:gd name="T87" fmla="*/ 37 h 246"/>
                <a:gd name="T88" fmla="*/ 119 w 432"/>
                <a:gd name="T89" fmla="*/ 37 h 246"/>
                <a:gd name="T90" fmla="*/ 109 w 432"/>
                <a:gd name="T91" fmla="*/ 22 h 246"/>
                <a:gd name="T92" fmla="*/ 79 w 432"/>
                <a:gd name="T93" fmla="*/ 27 h 246"/>
                <a:gd name="T94" fmla="*/ 74 w 432"/>
                <a:gd name="T95" fmla="*/ 40 h 246"/>
                <a:gd name="T96" fmla="*/ 35 w 432"/>
                <a:gd name="T97" fmla="*/ 4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2" h="246">
                  <a:moveTo>
                    <a:pt x="35" y="47"/>
                  </a:moveTo>
                  <a:lnTo>
                    <a:pt x="42" y="64"/>
                  </a:lnTo>
                  <a:lnTo>
                    <a:pt x="59" y="84"/>
                  </a:lnTo>
                  <a:lnTo>
                    <a:pt x="74" y="89"/>
                  </a:lnTo>
                  <a:lnTo>
                    <a:pt x="104" y="99"/>
                  </a:lnTo>
                  <a:lnTo>
                    <a:pt x="131" y="87"/>
                  </a:lnTo>
                  <a:lnTo>
                    <a:pt x="169" y="77"/>
                  </a:lnTo>
                  <a:lnTo>
                    <a:pt x="181" y="72"/>
                  </a:lnTo>
                  <a:lnTo>
                    <a:pt x="181" y="92"/>
                  </a:lnTo>
                  <a:lnTo>
                    <a:pt x="141" y="102"/>
                  </a:lnTo>
                  <a:lnTo>
                    <a:pt x="117" y="114"/>
                  </a:lnTo>
                  <a:lnTo>
                    <a:pt x="139" y="124"/>
                  </a:lnTo>
                  <a:lnTo>
                    <a:pt x="99" y="124"/>
                  </a:lnTo>
                  <a:lnTo>
                    <a:pt x="79" y="112"/>
                  </a:lnTo>
                  <a:lnTo>
                    <a:pt x="77" y="134"/>
                  </a:lnTo>
                  <a:lnTo>
                    <a:pt x="92" y="156"/>
                  </a:lnTo>
                  <a:lnTo>
                    <a:pt x="74" y="171"/>
                  </a:lnTo>
                  <a:lnTo>
                    <a:pt x="59" y="184"/>
                  </a:lnTo>
                  <a:lnTo>
                    <a:pt x="40" y="196"/>
                  </a:lnTo>
                  <a:lnTo>
                    <a:pt x="32" y="211"/>
                  </a:lnTo>
                  <a:lnTo>
                    <a:pt x="0" y="206"/>
                  </a:lnTo>
                  <a:lnTo>
                    <a:pt x="15" y="233"/>
                  </a:lnTo>
                  <a:lnTo>
                    <a:pt x="102" y="246"/>
                  </a:lnTo>
                  <a:lnTo>
                    <a:pt x="151" y="236"/>
                  </a:lnTo>
                  <a:lnTo>
                    <a:pt x="174" y="211"/>
                  </a:lnTo>
                  <a:lnTo>
                    <a:pt x="154" y="189"/>
                  </a:lnTo>
                  <a:lnTo>
                    <a:pt x="174" y="181"/>
                  </a:lnTo>
                  <a:lnTo>
                    <a:pt x="194" y="174"/>
                  </a:lnTo>
                  <a:lnTo>
                    <a:pt x="226" y="144"/>
                  </a:lnTo>
                  <a:lnTo>
                    <a:pt x="233" y="129"/>
                  </a:lnTo>
                  <a:lnTo>
                    <a:pt x="258" y="114"/>
                  </a:lnTo>
                  <a:lnTo>
                    <a:pt x="293" y="124"/>
                  </a:lnTo>
                  <a:lnTo>
                    <a:pt x="353" y="72"/>
                  </a:lnTo>
                  <a:lnTo>
                    <a:pt x="340" y="50"/>
                  </a:lnTo>
                  <a:lnTo>
                    <a:pt x="397" y="40"/>
                  </a:lnTo>
                  <a:lnTo>
                    <a:pt x="432" y="25"/>
                  </a:lnTo>
                  <a:lnTo>
                    <a:pt x="412" y="2"/>
                  </a:lnTo>
                  <a:lnTo>
                    <a:pt x="375" y="2"/>
                  </a:lnTo>
                  <a:lnTo>
                    <a:pt x="283" y="0"/>
                  </a:lnTo>
                  <a:lnTo>
                    <a:pt x="253" y="25"/>
                  </a:lnTo>
                  <a:lnTo>
                    <a:pt x="226" y="0"/>
                  </a:lnTo>
                  <a:lnTo>
                    <a:pt x="221" y="12"/>
                  </a:lnTo>
                  <a:lnTo>
                    <a:pt x="169" y="10"/>
                  </a:lnTo>
                  <a:lnTo>
                    <a:pt x="144" y="37"/>
                  </a:lnTo>
                  <a:lnTo>
                    <a:pt x="119" y="37"/>
                  </a:lnTo>
                  <a:lnTo>
                    <a:pt x="109" y="22"/>
                  </a:lnTo>
                  <a:lnTo>
                    <a:pt x="79" y="27"/>
                  </a:lnTo>
                  <a:lnTo>
                    <a:pt x="74" y="40"/>
                  </a:lnTo>
                  <a:lnTo>
                    <a:pt x="35" y="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6" name="Freeform 134"/>
            <p:cNvSpPr>
              <a:spLocks/>
            </p:cNvSpPr>
            <p:nvPr/>
          </p:nvSpPr>
          <p:spPr bwMode="auto">
            <a:xfrm>
              <a:off x="2265548" y="1715505"/>
              <a:ext cx="282090" cy="128091"/>
            </a:xfrm>
            <a:custGeom>
              <a:avLst/>
              <a:gdLst>
                <a:gd name="T0" fmla="*/ 25 w 196"/>
                <a:gd name="T1" fmla="*/ 0 h 89"/>
                <a:gd name="T2" fmla="*/ 0 w 196"/>
                <a:gd name="T3" fmla="*/ 22 h 89"/>
                <a:gd name="T4" fmla="*/ 15 w 196"/>
                <a:gd name="T5" fmla="*/ 42 h 89"/>
                <a:gd name="T6" fmla="*/ 42 w 196"/>
                <a:gd name="T7" fmla="*/ 74 h 89"/>
                <a:gd name="T8" fmla="*/ 69 w 196"/>
                <a:gd name="T9" fmla="*/ 87 h 89"/>
                <a:gd name="T10" fmla="*/ 149 w 196"/>
                <a:gd name="T11" fmla="*/ 77 h 89"/>
                <a:gd name="T12" fmla="*/ 196 w 196"/>
                <a:gd name="T13" fmla="*/ 89 h 89"/>
                <a:gd name="T14" fmla="*/ 189 w 196"/>
                <a:gd name="T15" fmla="*/ 57 h 89"/>
                <a:gd name="T16" fmla="*/ 124 w 196"/>
                <a:gd name="T17" fmla="*/ 52 h 89"/>
                <a:gd name="T18" fmla="*/ 67 w 196"/>
                <a:gd name="T19" fmla="*/ 37 h 89"/>
                <a:gd name="T20" fmla="*/ 57 w 196"/>
                <a:gd name="T21" fmla="*/ 2 h 89"/>
                <a:gd name="T22" fmla="*/ 25 w 196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89">
                  <a:moveTo>
                    <a:pt x="25" y="0"/>
                  </a:moveTo>
                  <a:lnTo>
                    <a:pt x="0" y="22"/>
                  </a:lnTo>
                  <a:lnTo>
                    <a:pt x="15" y="42"/>
                  </a:lnTo>
                  <a:lnTo>
                    <a:pt x="42" y="74"/>
                  </a:lnTo>
                  <a:lnTo>
                    <a:pt x="69" y="87"/>
                  </a:lnTo>
                  <a:lnTo>
                    <a:pt x="149" y="77"/>
                  </a:lnTo>
                  <a:lnTo>
                    <a:pt x="196" y="89"/>
                  </a:lnTo>
                  <a:lnTo>
                    <a:pt x="189" y="57"/>
                  </a:lnTo>
                  <a:lnTo>
                    <a:pt x="124" y="52"/>
                  </a:lnTo>
                  <a:lnTo>
                    <a:pt x="67" y="37"/>
                  </a:lnTo>
                  <a:lnTo>
                    <a:pt x="57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7" name="Freeform 135"/>
            <p:cNvSpPr>
              <a:spLocks/>
            </p:cNvSpPr>
            <p:nvPr/>
          </p:nvSpPr>
          <p:spPr bwMode="auto">
            <a:xfrm>
              <a:off x="2200782" y="1790345"/>
              <a:ext cx="57569" cy="38859"/>
            </a:xfrm>
            <a:custGeom>
              <a:avLst/>
              <a:gdLst>
                <a:gd name="T0" fmla="*/ 15 w 40"/>
                <a:gd name="T1" fmla="*/ 0 h 27"/>
                <a:gd name="T2" fmla="*/ 0 w 40"/>
                <a:gd name="T3" fmla="*/ 20 h 27"/>
                <a:gd name="T4" fmla="*/ 22 w 40"/>
                <a:gd name="T5" fmla="*/ 27 h 27"/>
                <a:gd name="T6" fmla="*/ 40 w 40"/>
                <a:gd name="T7" fmla="*/ 20 h 27"/>
                <a:gd name="T8" fmla="*/ 37 w 40"/>
                <a:gd name="T9" fmla="*/ 5 h 27"/>
                <a:gd name="T10" fmla="*/ 15 w 4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7">
                  <a:moveTo>
                    <a:pt x="15" y="0"/>
                  </a:moveTo>
                  <a:lnTo>
                    <a:pt x="0" y="20"/>
                  </a:lnTo>
                  <a:lnTo>
                    <a:pt x="22" y="27"/>
                  </a:lnTo>
                  <a:lnTo>
                    <a:pt x="40" y="20"/>
                  </a:lnTo>
                  <a:lnTo>
                    <a:pt x="37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8" name="Freeform 136"/>
            <p:cNvSpPr>
              <a:spLocks/>
            </p:cNvSpPr>
            <p:nvPr/>
          </p:nvSpPr>
          <p:spPr bwMode="auto">
            <a:xfrm>
              <a:off x="2744813" y="1374406"/>
              <a:ext cx="1269406" cy="1077988"/>
            </a:xfrm>
            <a:custGeom>
              <a:avLst/>
              <a:gdLst>
                <a:gd name="T0" fmla="*/ 169 w 882"/>
                <a:gd name="T1" fmla="*/ 102 h 749"/>
                <a:gd name="T2" fmla="*/ 114 w 882"/>
                <a:gd name="T3" fmla="*/ 152 h 749"/>
                <a:gd name="T4" fmla="*/ 37 w 882"/>
                <a:gd name="T5" fmla="*/ 192 h 749"/>
                <a:gd name="T6" fmla="*/ 5 w 882"/>
                <a:gd name="T7" fmla="*/ 217 h 749"/>
                <a:gd name="T8" fmla="*/ 79 w 882"/>
                <a:gd name="T9" fmla="*/ 232 h 749"/>
                <a:gd name="T10" fmla="*/ 25 w 882"/>
                <a:gd name="T11" fmla="*/ 239 h 749"/>
                <a:gd name="T12" fmla="*/ 176 w 882"/>
                <a:gd name="T13" fmla="*/ 271 h 749"/>
                <a:gd name="T14" fmla="*/ 221 w 882"/>
                <a:gd name="T15" fmla="*/ 351 h 749"/>
                <a:gd name="T16" fmla="*/ 233 w 882"/>
                <a:gd name="T17" fmla="*/ 421 h 749"/>
                <a:gd name="T18" fmla="*/ 268 w 882"/>
                <a:gd name="T19" fmla="*/ 435 h 749"/>
                <a:gd name="T20" fmla="*/ 281 w 882"/>
                <a:gd name="T21" fmla="*/ 465 h 749"/>
                <a:gd name="T22" fmla="*/ 241 w 882"/>
                <a:gd name="T23" fmla="*/ 520 h 749"/>
                <a:gd name="T24" fmla="*/ 246 w 882"/>
                <a:gd name="T25" fmla="*/ 602 h 749"/>
                <a:gd name="T26" fmla="*/ 296 w 882"/>
                <a:gd name="T27" fmla="*/ 716 h 749"/>
                <a:gd name="T28" fmla="*/ 343 w 882"/>
                <a:gd name="T29" fmla="*/ 749 h 749"/>
                <a:gd name="T30" fmla="*/ 400 w 882"/>
                <a:gd name="T31" fmla="*/ 664 h 749"/>
                <a:gd name="T32" fmla="*/ 425 w 882"/>
                <a:gd name="T33" fmla="*/ 597 h 749"/>
                <a:gd name="T34" fmla="*/ 532 w 882"/>
                <a:gd name="T35" fmla="*/ 572 h 749"/>
                <a:gd name="T36" fmla="*/ 626 w 882"/>
                <a:gd name="T37" fmla="*/ 522 h 749"/>
                <a:gd name="T38" fmla="*/ 713 w 882"/>
                <a:gd name="T39" fmla="*/ 453 h 749"/>
                <a:gd name="T40" fmla="*/ 646 w 882"/>
                <a:gd name="T41" fmla="*/ 435 h 749"/>
                <a:gd name="T42" fmla="*/ 673 w 882"/>
                <a:gd name="T43" fmla="*/ 411 h 749"/>
                <a:gd name="T44" fmla="*/ 723 w 882"/>
                <a:gd name="T45" fmla="*/ 440 h 749"/>
                <a:gd name="T46" fmla="*/ 721 w 882"/>
                <a:gd name="T47" fmla="*/ 391 h 749"/>
                <a:gd name="T48" fmla="*/ 688 w 882"/>
                <a:gd name="T49" fmla="*/ 356 h 749"/>
                <a:gd name="T50" fmla="*/ 723 w 882"/>
                <a:gd name="T51" fmla="*/ 366 h 749"/>
                <a:gd name="T52" fmla="*/ 758 w 882"/>
                <a:gd name="T53" fmla="*/ 344 h 749"/>
                <a:gd name="T54" fmla="*/ 768 w 882"/>
                <a:gd name="T55" fmla="*/ 329 h 749"/>
                <a:gd name="T56" fmla="*/ 793 w 882"/>
                <a:gd name="T57" fmla="*/ 294 h 749"/>
                <a:gd name="T58" fmla="*/ 763 w 882"/>
                <a:gd name="T59" fmla="*/ 259 h 749"/>
                <a:gd name="T60" fmla="*/ 790 w 882"/>
                <a:gd name="T61" fmla="*/ 239 h 749"/>
                <a:gd name="T62" fmla="*/ 736 w 882"/>
                <a:gd name="T63" fmla="*/ 207 h 749"/>
                <a:gd name="T64" fmla="*/ 775 w 882"/>
                <a:gd name="T65" fmla="*/ 157 h 749"/>
                <a:gd name="T66" fmla="*/ 760 w 882"/>
                <a:gd name="T67" fmla="*/ 130 h 749"/>
                <a:gd name="T68" fmla="*/ 800 w 882"/>
                <a:gd name="T69" fmla="*/ 117 h 749"/>
                <a:gd name="T70" fmla="*/ 882 w 882"/>
                <a:gd name="T71" fmla="*/ 78 h 749"/>
                <a:gd name="T72" fmla="*/ 765 w 882"/>
                <a:gd name="T73" fmla="*/ 83 h 749"/>
                <a:gd name="T74" fmla="*/ 738 w 882"/>
                <a:gd name="T75" fmla="*/ 63 h 749"/>
                <a:gd name="T76" fmla="*/ 681 w 882"/>
                <a:gd name="T77" fmla="*/ 55 h 749"/>
                <a:gd name="T78" fmla="*/ 636 w 882"/>
                <a:gd name="T79" fmla="*/ 45 h 749"/>
                <a:gd name="T80" fmla="*/ 736 w 882"/>
                <a:gd name="T81" fmla="*/ 28 h 749"/>
                <a:gd name="T82" fmla="*/ 579 w 882"/>
                <a:gd name="T83" fmla="*/ 25 h 749"/>
                <a:gd name="T84" fmla="*/ 507 w 882"/>
                <a:gd name="T85" fmla="*/ 3 h 749"/>
                <a:gd name="T86" fmla="*/ 420 w 882"/>
                <a:gd name="T87" fmla="*/ 18 h 749"/>
                <a:gd name="T88" fmla="*/ 410 w 882"/>
                <a:gd name="T89" fmla="*/ 70 h 749"/>
                <a:gd name="T90" fmla="*/ 373 w 882"/>
                <a:gd name="T91" fmla="*/ 50 h 749"/>
                <a:gd name="T92" fmla="*/ 348 w 882"/>
                <a:gd name="T93" fmla="*/ 80 h 749"/>
                <a:gd name="T94" fmla="*/ 318 w 882"/>
                <a:gd name="T95" fmla="*/ 55 h 749"/>
                <a:gd name="T96" fmla="*/ 296 w 882"/>
                <a:gd name="T97" fmla="*/ 68 h 749"/>
                <a:gd name="T98" fmla="*/ 226 w 882"/>
                <a:gd name="T99" fmla="*/ 63 h 749"/>
                <a:gd name="T100" fmla="*/ 186 w 882"/>
                <a:gd name="T101" fmla="*/ 8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2" h="749">
                  <a:moveTo>
                    <a:pt x="186" y="80"/>
                  </a:moveTo>
                  <a:lnTo>
                    <a:pt x="169" y="102"/>
                  </a:lnTo>
                  <a:lnTo>
                    <a:pt x="117" y="115"/>
                  </a:lnTo>
                  <a:lnTo>
                    <a:pt x="114" y="152"/>
                  </a:lnTo>
                  <a:lnTo>
                    <a:pt x="74" y="162"/>
                  </a:lnTo>
                  <a:lnTo>
                    <a:pt x="37" y="192"/>
                  </a:lnTo>
                  <a:lnTo>
                    <a:pt x="0" y="202"/>
                  </a:lnTo>
                  <a:lnTo>
                    <a:pt x="5" y="217"/>
                  </a:lnTo>
                  <a:lnTo>
                    <a:pt x="69" y="212"/>
                  </a:lnTo>
                  <a:lnTo>
                    <a:pt x="79" y="232"/>
                  </a:lnTo>
                  <a:lnTo>
                    <a:pt x="52" y="237"/>
                  </a:lnTo>
                  <a:lnTo>
                    <a:pt x="25" y="239"/>
                  </a:lnTo>
                  <a:lnTo>
                    <a:pt x="69" y="271"/>
                  </a:lnTo>
                  <a:lnTo>
                    <a:pt x="176" y="271"/>
                  </a:lnTo>
                  <a:lnTo>
                    <a:pt x="204" y="301"/>
                  </a:lnTo>
                  <a:lnTo>
                    <a:pt x="221" y="351"/>
                  </a:lnTo>
                  <a:lnTo>
                    <a:pt x="231" y="401"/>
                  </a:lnTo>
                  <a:lnTo>
                    <a:pt x="233" y="421"/>
                  </a:lnTo>
                  <a:lnTo>
                    <a:pt x="258" y="411"/>
                  </a:lnTo>
                  <a:lnTo>
                    <a:pt x="268" y="435"/>
                  </a:lnTo>
                  <a:lnTo>
                    <a:pt x="238" y="448"/>
                  </a:lnTo>
                  <a:lnTo>
                    <a:pt x="281" y="465"/>
                  </a:lnTo>
                  <a:lnTo>
                    <a:pt x="273" y="500"/>
                  </a:lnTo>
                  <a:lnTo>
                    <a:pt x="241" y="520"/>
                  </a:lnTo>
                  <a:lnTo>
                    <a:pt x="231" y="547"/>
                  </a:lnTo>
                  <a:lnTo>
                    <a:pt x="246" y="602"/>
                  </a:lnTo>
                  <a:lnTo>
                    <a:pt x="268" y="662"/>
                  </a:lnTo>
                  <a:lnTo>
                    <a:pt x="296" y="716"/>
                  </a:lnTo>
                  <a:lnTo>
                    <a:pt x="325" y="724"/>
                  </a:lnTo>
                  <a:lnTo>
                    <a:pt x="343" y="749"/>
                  </a:lnTo>
                  <a:lnTo>
                    <a:pt x="370" y="741"/>
                  </a:lnTo>
                  <a:lnTo>
                    <a:pt x="400" y="664"/>
                  </a:lnTo>
                  <a:lnTo>
                    <a:pt x="422" y="637"/>
                  </a:lnTo>
                  <a:lnTo>
                    <a:pt x="425" y="597"/>
                  </a:lnTo>
                  <a:lnTo>
                    <a:pt x="477" y="585"/>
                  </a:lnTo>
                  <a:lnTo>
                    <a:pt x="532" y="572"/>
                  </a:lnTo>
                  <a:lnTo>
                    <a:pt x="562" y="518"/>
                  </a:lnTo>
                  <a:lnTo>
                    <a:pt x="626" y="522"/>
                  </a:lnTo>
                  <a:lnTo>
                    <a:pt x="686" y="483"/>
                  </a:lnTo>
                  <a:lnTo>
                    <a:pt x="713" y="453"/>
                  </a:lnTo>
                  <a:lnTo>
                    <a:pt x="683" y="443"/>
                  </a:lnTo>
                  <a:lnTo>
                    <a:pt x="646" y="435"/>
                  </a:lnTo>
                  <a:lnTo>
                    <a:pt x="651" y="416"/>
                  </a:lnTo>
                  <a:lnTo>
                    <a:pt x="673" y="411"/>
                  </a:lnTo>
                  <a:lnTo>
                    <a:pt x="698" y="428"/>
                  </a:lnTo>
                  <a:lnTo>
                    <a:pt x="723" y="440"/>
                  </a:lnTo>
                  <a:lnTo>
                    <a:pt x="736" y="421"/>
                  </a:lnTo>
                  <a:lnTo>
                    <a:pt x="721" y="391"/>
                  </a:lnTo>
                  <a:lnTo>
                    <a:pt x="686" y="378"/>
                  </a:lnTo>
                  <a:lnTo>
                    <a:pt x="688" y="356"/>
                  </a:lnTo>
                  <a:lnTo>
                    <a:pt x="713" y="356"/>
                  </a:lnTo>
                  <a:lnTo>
                    <a:pt x="723" y="366"/>
                  </a:lnTo>
                  <a:lnTo>
                    <a:pt x="733" y="351"/>
                  </a:lnTo>
                  <a:lnTo>
                    <a:pt x="758" y="344"/>
                  </a:lnTo>
                  <a:lnTo>
                    <a:pt x="748" y="329"/>
                  </a:lnTo>
                  <a:lnTo>
                    <a:pt x="768" y="329"/>
                  </a:lnTo>
                  <a:lnTo>
                    <a:pt x="788" y="311"/>
                  </a:lnTo>
                  <a:lnTo>
                    <a:pt x="793" y="294"/>
                  </a:lnTo>
                  <a:lnTo>
                    <a:pt x="765" y="279"/>
                  </a:lnTo>
                  <a:lnTo>
                    <a:pt x="763" y="259"/>
                  </a:lnTo>
                  <a:lnTo>
                    <a:pt x="775" y="244"/>
                  </a:lnTo>
                  <a:lnTo>
                    <a:pt x="790" y="239"/>
                  </a:lnTo>
                  <a:lnTo>
                    <a:pt x="788" y="212"/>
                  </a:lnTo>
                  <a:lnTo>
                    <a:pt x="736" y="207"/>
                  </a:lnTo>
                  <a:lnTo>
                    <a:pt x="748" y="177"/>
                  </a:lnTo>
                  <a:lnTo>
                    <a:pt x="775" y="157"/>
                  </a:lnTo>
                  <a:lnTo>
                    <a:pt x="790" y="145"/>
                  </a:lnTo>
                  <a:lnTo>
                    <a:pt x="760" y="130"/>
                  </a:lnTo>
                  <a:lnTo>
                    <a:pt x="780" y="120"/>
                  </a:lnTo>
                  <a:lnTo>
                    <a:pt x="800" y="117"/>
                  </a:lnTo>
                  <a:lnTo>
                    <a:pt x="843" y="105"/>
                  </a:lnTo>
                  <a:lnTo>
                    <a:pt x="882" y="78"/>
                  </a:lnTo>
                  <a:lnTo>
                    <a:pt x="805" y="70"/>
                  </a:lnTo>
                  <a:lnTo>
                    <a:pt x="765" y="83"/>
                  </a:lnTo>
                  <a:lnTo>
                    <a:pt x="711" y="112"/>
                  </a:lnTo>
                  <a:lnTo>
                    <a:pt x="738" y="63"/>
                  </a:lnTo>
                  <a:lnTo>
                    <a:pt x="676" y="83"/>
                  </a:lnTo>
                  <a:lnTo>
                    <a:pt x="681" y="55"/>
                  </a:lnTo>
                  <a:lnTo>
                    <a:pt x="579" y="65"/>
                  </a:lnTo>
                  <a:lnTo>
                    <a:pt x="636" y="45"/>
                  </a:lnTo>
                  <a:lnTo>
                    <a:pt x="711" y="35"/>
                  </a:lnTo>
                  <a:lnTo>
                    <a:pt x="736" y="28"/>
                  </a:lnTo>
                  <a:lnTo>
                    <a:pt x="686" y="10"/>
                  </a:lnTo>
                  <a:lnTo>
                    <a:pt x="579" y="25"/>
                  </a:lnTo>
                  <a:lnTo>
                    <a:pt x="636" y="0"/>
                  </a:lnTo>
                  <a:lnTo>
                    <a:pt x="507" y="3"/>
                  </a:lnTo>
                  <a:lnTo>
                    <a:pt x="470" y="38"/>
                  </a:lnTo>
                  <a:lnTo>
                    <a:pt x="420" y="18"/>
                  </a:lnTo>
                  <a:lnTo>
                    <a:pt x="420" y="43"/>
                  </a:lnTo>
                  <a:lnTo>
                    <a:pt x="410" y="70"/>
                  </a:lnTo>
                  <a:lnTo>
                    <a:pt x="390" y="50"/>
                  </a:lnTo>
                  <a:lnTo>
                    <a:pt x="373" y="50"/>
                  </a:lnTo>
                  <a:lnTo>
                    <a:pt x="348" y="50"/>
                  </a:lnTo>
                  <a:lnTo>
                    <a:pt x="348" y="80"/>
                  </a:lnTo>
                  <a:lnTo>
                    <a:pt x="320" y="80"/>
                  </a:lnTo>
                  <a:lnTo>
                    <a:pt x="318" y="55"/>
                  </a:lnTo>
                  <a:lnTo>
                    <a:pt x="288" y="53"/>
                  </a:lnTo>
                  <a:lnTo>
                    <a:pt x="296" y="68"/>
                  </a:lnTo>
                  <a:lnTo>
                    <a:pt x="246" y="50"/>
                  </a:lnTo>
                  <a:lnTo>
                    <a:pt x="226" y="63"/>
                  </a:lnTo>
                  <a:lnTo>
                    <a:pt x="206" y="63"/>
                  </a:lnTo>
                  <a:lnTo>
                    <a:pt x="186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29" name="Freeform 137"/>
            <p:cNvSpPr>
              <a:spLocks/>
            </p:cNvSpPr>
            <p:nvPr/>
          </p:nvSpPr>
          <p:spPr bwMode="auto">
            <a:xfrm>
              <a:off x="4057395" y="1983203"/>
              <a:ext cx="38860" cy="50373"/>
            </a:xfrm>
            <a:custGeom>
              <a:avLst/>
              <a:gdLst>
                <a:gd name="T0" fmla="*/ 10 w 27"/>
                <a:gd name="T1" fmla="*/ 0 h 35"/>
                <a:gd name="T2" fmla="*/ 0 w 27"/>
                <a:gd name="T3" fmla="*/ 35 h 35"/>
                <a:gd name="T4" fmla="*/ 27 w 27"/>
                <a:gd name="T5" fmla="*/ 12 h 35"/>
                <a:gd name="T6" fmla="*/ 10 w 2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5">
                  <a:moveTo>
                    <a:pt x="10" y="0"/>
                  </a:moveTo>
                  <a:lnTo>
                    <a:pt x="0" y="35"/>
                  </a:lnTo>
                  <a:lnTo>
                    <a:pt x="27" y="1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0" name="Freeform 138"/>
            <p:cNvSpPr>
              <a:spLocks/>
            </p:cNvSpPr>
            <p:nvPr/>
          </p:nvSpPr>
          <p:spPr bwMode="auto">
            <a:xfrm>
              <a:off x="7091304" y="4165084"/>
              <a:ext cx="225960" cy="172708"/>
            </a:xfrm>
            <a:custGeom>
              <a:avLst/>
              <a:gdLst>
                <a:gd name="T0" fmla="*/ 115 w 157"/>
                <a:gd name="T1" fmla="*/ 55 h 120"/>
                <a:gd name="T2" fmla="*/ 102 w 157"/>
                <a:gd name="T3" fmla="*/ 53 h 120"/>
                <a:gd name="T4" fmla="*/ 92 w 157"/>
                <a:gd name="T5" fmla="*/ 65 h 120"/>
                <a:gd name="T6" fmla="*/ 82 w 157"/>
                <a:gd name="T7" fmla="*/ 85 h 120"/>
                <a:gd name="T8" fmla="*/ 77 w 157"/>
                <a:gd name="T9" fmla="*/ 102 h 120"/>
                <a:gd name="T10" fmla="*/ 75 w 157"/>
                <a:gd name="T11" fmla="*/ 117 h 120"/>
                <a:gd name="T12" fmla="*/ 52 w 157"/>
                <a:gd name="T13" fmla="*/ 120 h 120"/>
                <a:gd name="T14" fmla="*/ 40 w 157"/>
                <a:gd name="T15" fmla="*/ 110 h 120"/>
                <a:gd name="T16" fmla="*/ 33 w 157"/>
                <a:gd name="T17" fmla="*/ 120 h 120"/>
                <a:gd name="T18" fmla="*/ 8 w 157"/>
                <a:gd name="T19" fmla="*/ 117 h 120"/>
                <a:gd name="T20" fmla="*/ 0 w 157"/>
                <a:gd name="T21" fmla="*/ 110 h 120"/>
                <a:gd name="T22" fmla="*/ 8 w 157"/>
                <a:gd name="T23" fmla="*/ 100 h 120"/>
                <a:gd name="T24" fmla="*/ 10 w 157"/>
                <a:gd name="T25" fmla="*/ 82 h 120"/>
                <a:gd name="T26" fmla="*/ 33 w 157"/>
                <a:gd name="T27" fmla="*/ 85 h 120"/>
                <a:gd name="T28" fmla="*/ 42 w 157"/>
                <a:gd name="T29" fmla="*/ 65 h 120"/>
                <a:gd name="T30" fmla="*/ 60 w 157"/>
                <a:gd name="T31" fmla="*/ 53 h 120"/>
                <a:gd name="T32" fmla="*/ 75 w 157"/>
                <a:gd name="T33" fmla="*/ 45 h 120"/>
                <a:gd name="T34" fmla="*/ 80 w 157"/>
                <a:gd name="T35" fmla="*/ 25 h 120"/>
                <a:gd name="T36" fmla="*/ 92 w 157"/>
                <a:gd name="T37" fmla="*/ 18 h 120"/>
                <a:gd name="T38" fmla="*/ 95 w 157"/>
                <a:gd name="T39" fmla="*/ 0 h 120"/>
                <a:gd name="T40" fmla="*/ 117 w 157"/>
                <a:gd name="T41" fmla="*/ 13 h 120"/>
                <a:gd name="T42" fmla="*/ 129 w 157"/>
                <a:gd name="T43" fmla="*/ 15 h 120"/>
                <a:gd name="T44" fmla="*/ 152 w 157"/>
                <a:gd name="T45" fmla="*/ 20 h 120"/>
                <a:gd name="T46" fmla="*/ 157 w 157"/>
                <a:gd name="T47" fmla="*/ 40 h 120"/>
                <a:gd name="T48" fmla="*/ 139 w 157"/>
                <a:gd name="T49" fmla="*/ 53 h 120"/>
                <a:gd name="T50" fmla="*/ 125 w 157"/>
                <a:gd name="T51" fmla="*/ 65 h 120"/>
                <a:gd name="T52" fmla="*/ 115 w 157"/>
                <a:gd name="T53" fmla="*/ 5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7" h="120">
                  <a:moveTo>
                    <a:pt x="115" y="55"/>
                  </a:moveTo>
                  <a:lnTo>
                    <a:pt x="102" y="53"/>
                  </a:lnTo>
                  <a:lnTo>
                    <a:pt x="92" y="65"/>
                  </a:lnTo>
                  <a:lnTo>
                    <a:pt x="82" y="85"/>
                  </a:lnTo>
                  <a:lnTo>
                    <a:pt x="77" y="102"/>
                  </a:lnTo>
                  <a:lnTo>
                    <a:pt x="75" y="117"/>
                  </a:lnTo>
                  <a:lnTo>
                    <a:pt x="52" y="120"/>
                  </a:lnTo>
                  <a:lnTo>
                    <a:pt x="40" y="110"/>
                  </a:lnTo>
                  <a:lnTo>
                    <a:pt x="33" y="120"/>
                  </a:lnTo>
                  <a:lnTo>
                    <a:pt x="8" y="117"/>
                  </a:lnTo>
                  <a:lnTo>
                    <a:pt x="0" y="110"/>
                  </a:lnTo>
                  <a:lnTo>
                    <a:pt x="8" y="100"/>
                  </a:lnTo>
                  <a:lnTo>
                    <a:pt x="10" y="82"/>
                  </a:lnTo>
                  <a:lnTo>
                    <a:pt x="33" y="85"/>
                  </a:lnTo>
                  <a:lnTo>
                    <a:pt x="42" y="65"/>
                  </a:lnTo>
                  <a:lnTo>
                    <a:pt x="60" y="53"/>
                  </a:lnTo>
                  <a:lnTo>
                    <a:pt x="75" y="45"/>
                  </a:lnTo>
                  <a:lnTo>
                    <a:pt x="80" y="25"/>
                  </a:lnTo>
                  <a:lnTo>
                    <a:pt x="92" y="18"/>
                  </a:lnTo>
                  <a:lnTo>
                    <a:pt x="95" y="0"/>
                  </a:lnTo>
                  <a:lnTo>
                    <a:pt x="117" y="13"/>
                  </a:lnTo>
                  <a:lnTo>
                    <a:pt x="129" y="15"/>
                  </a:lnTo>
                  <a:lnTo>
                    <a:pt x="152" y="20"/>
                  </a:lnTo>
                  <a:lnTo>
                    <a:pt x="157" y="40"/>
                  </a:lnTo>
                  <a:lnTo>
                    <a:pt x="139" y="53"/>
                  </a:lnTo>
                  <a:lnTo>
                    <a:pt x="125" y="65"/>
                  </a:lnTo>
                  <a:lnTo>
                    <a:pt x="115" y="5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1" name="Freeform 139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2 w 30"/>
                <a:gd name="T1" fmla="*/ 2 h 15"/>
                <a:gd name="T2" fmla="*/ 30 w 30"/>
                <a:gd name="T3" fmla="*/ 0 h 15"/>
                <a:gd name="T4" fmla="*/ 25 w 30"/>
                <a:gd name="T5" fmla="*/ 12 h 15"/>
                <a:gd name="T6" fmla="*/ 5 w 30"/>
                <a:gd name="T7" fmla="*/ 15 h 15"/>
                <a:gd name="T8" fmla="*/ 0 w 30"/>
                <a:gd name="T9" fmla="*/ 10 h 15"/>
                <a:gd name="T10" fmla="*/ 2 w 30"/>
                <a:gd name="T1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" y="2"/>
                  </a:moveTo>
                  <a:lnTo>
                    <a:pt x="30" y="0"/>
                  </a:lnTo>
                  <a:lnTo>
                    <a:pt x="25" y="12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6068008" y="2702821"/>
              <a:ext cx="1446431" cy="1065034"/>
            </a:xfrm>
            <a:custGeom>
              <a:avLst/>
              <a:gdLst>
                <a:gd name="T0" fmla="*/ 766 w 1005"/>
                <a:gd name="T1" fmla="*/ 355 h 740"/>
                <a:gd name="T2" fmla="*/ 818 w 1005"/>
                <a:gd name="T3" fmla="*/ 358 h 740"/>
                <a:gd name="T4" fmla="*/ 826 w 1005"/>
                <a:gd name="T5" fmla="*/ 392 h 740"/>
                <a:gd name="T6" fmla="*/ 831 w 1005"/>
                <a:gd name="T7" fmla="*/ 465 h 740"/>
                <a:gd name="T8" fmla="*/ 858 w 1005"/>
                <a:gd name="T9" fmla="*/ 529 h 740"/>
                <a:gd name="T10" fmla="*/ 850 w 1005"/>
                <a:gd name="T11" fmla="*/ 599 h 740"/>
                <a:gd name="T12" fmla="*/ 818 w 1005"/>
                <a:gd name="T13" fmla="*/ 651 h 740"/>
                <a:gd name="T14" fmla="*/ 791 w 1005"/>
                <a:gd name="T15" fmla="*/ 676 h 740"/>
                <a:gd name="T16" fmla="*/ 734 w 1005"/>
                <a:gd name="T17" fmla="*/ 698 h 740"/>
                <a:gd name="T18" fmla="*/ 666 w 1005"/>
                <a:gd name="T19" fmla="*/ 740 h 740"/>
                <a:gd name="T20" fmla="*/ 639 w 1005"/>
                <a:gd name="T21" fmla="*/ 731 h 740"/>
                <a:gd name="T22" fmla="*/ 567 w 1005"/>
                <a:gd name="T23" fmla="*/ 683 h 740"/>
                <a:gd name="T24" fmla="*/ 527 w 1005"/>
                <a:gd name="T25" fmla="*/ 723 h 740"/>
                <a:gd name="T26" fmla="*/ 483 w 1005"/>
                <a:gd name="T27" fmla="*/ 711 h 740"/>
                <a:gd name="T28" fmla="*/ 448 w 1005"/>
                <a:gd name="T29" fmla="*/ 658 h 740"/>
                <a:gd name="T30" fmla="*/ 470 w 1005"/>
                <a:gd name="T31" fmla="*/ 619 h 740"/>
                <a:gd name="T32" fmla="*/ 438 w 1005"/>
                <a:gd name="T33" fmla="*/ 591 h 740"/>
                <a:gd name="T34" fmla="*/ 378 w 1005"/>
                <a:gd name="T35" fmla="*/ 564 h 740"/>
                <a:gd name="T36" fmla="*/ 318 w 1005"/>
                <a:gd name="T37" fmla="*/ 589 h 740"/>
                <a:gd name="T38" fmla="*/ 271 w 1005"/>
                <a:gd name="T39" fmla="*/ 591 h 740"/>
                <a:gd name="T40" fmla="*/ 202 w 1005"/>
                <a:gd name="T41" fmla="*/ 571 h 740"/>
                <a:gd name="T42" fmla="*/ 174 w 1005"/>
                <a:gd name="T43" fmla="*/ 554 h 740"/>
                <a:gd name="T44" fmla="*/ 125 w 1005"/>
                <a:gd name="T45" fmla="*/ 524 h 740"/>
                <a:gd name="T46" fmla="*/ 85 w 1005"/>
                <a:gd name="T47" fmla="*/ 474 h 740"/>
                <a:gd name="T48" fmla="*/ 23 w 1005"/>
                <a:gd name="T49" fmla="*/ 477 h 740"/>
                <a:gd name="T50" fmla="*/ 18 w 1005"/>
                <a:gd name="T51" fmla="*/ 422 h 740"/>
                <a:gd name="T52" fmla="*/ 20 w 1005"/>
                <a:gd name="T53" fmla="*/ 380 h 740"/>
                <a:gd name="T54" fmla="*/ 18 w 1005"/>
                <a:gd name="T55" fmla="*/ 330 h 740"/>
                <a:gd name="T56" fmla="*/ 50 w 1005"/>
                <a:gd name="T57" fmla="*/ 328 h 740"/>
                <a:gd name="T58" fmla="*/ 102 w 1005"/>
                <a:gd name="T59" fmla="*/ 303 h 740"/>
                <a:gd name="T60" fmla="*/ 95 w 1005"/>
                <a:gd name="T61" fmla="*/ 236 h 740"/>
                <a:gd name="T62" fmla="*/ 137 w 1005"/>
                <a:gd name="T63" fmla="*/ 199 h 740"/>
                <a:gd name="T64" fmla="*/ 187 w 1005"/>
                <a:gd name="T65" fmla="*/ 154 h 740"/>
                <a:gd name="T66" fmla="*/ 214 w 1005"/>
                <a:gd name="T67" fmla="*/ 129 h 740"/>
                <a:gd name="T68" fmla="*/ 259 w 1005"/>
                <a:gd name="T69" fmla="*/ 149 h 740"/>
                <a:gd name="T70" fmla="*/ 318 w 1005"/>
                <a:gd name="T71" fmla="*/ 206 h 740"/>
                <a:gd name="T72" fmla="*/ 368 w 1005"/>
                <a:gd name="T73" fmla="*/ 243 h 740"/>
                <a:gd name="T74" fmla="*/ 500 w 1005"/>
                <a:gd name="T75" fmla="*/ 268 h 740"/>
                <a:gd name="T76" fmla="*/ 567 w 1005"/>
                <a:gd name="T77" fmla="*/ 263 h 740"/>
                <a:gd name="T78" fmla="*/ 634 w 1005"/>
                <a:gd name="T79" fmla="*/ 223 h 740"/>
                <a:gd name="T80" fmla="*/ 674 w 1005"/>
                <a:gd name="T81" fmla="*/ 194 h 740"/>
                <a:gd name="T82" fmla="*/ 746 w 1005"/>
                <a:gd name="T83" fmla="*/ 151 h 740"/>
                <a:gd name="T84" fmla="*/ 689 w 1005"/>
                <a:gd name="T85" fmla="*/ 141 h 740"/>
                <a:gd name="T86" fmla="*/ 686 w 1005"/>
                <a:gd name="T87" fmla="*/ 79 h 740"/>
                <a:gd name="T88" fmla="*/ 729 w 1005"/>
                <a:gd name="T89" fmla="*/ 59 h 740"/>
                <a:gd name="T90" fmla="*/ 739 w 1005"/>
                <a:gd name="T91" fmla="*/ 0 h 740"/>
                <a:gd name="T92" fmla="*/ 850 w 1005"/>
                <a:gd name="T93" fmla="*/ 34 h 740"/>
                <a:gd name="T94" fmla="*/ 880 w 1005"/>
                <a:gd name="T95" fmla="*/ 89 h 740"/>
                <a:gd name="T96" fmla="*/ 940 w 1005"/>
                <a:gd name="T97" fmla="*/ 119 h 740"/>
                <a:gd name="T98" fmla="*/ 995 w 1005"/>
                <a:gd name="T99" fmla="*/ 124 h 740"/>
                <a:gd name="T100" fmla="*/ 992 w 1005"/>
                <a:gd name="T101" fmla="*/ 159 h 740"/>
                <a:gd name="T102" fmla="*/ 965 w 1005"/>
                <a:gd name="T103" fmla="*/ 218 h 740"/>
                <a:gd name="T104" fmla="*/ 965 w 1005"/>
                <a:gd name="T105" fmla="*/ 256 h 740"/>
                <a:gd name="T106" fmla="*/ 913 w 1005"/>
                <a:gd name="T107" fmla="*/ 283 h 740"/>
                <a:gd name="T108" fmla="*/ 870 w 1005"/>
                <a:gd name="T109" fmla="*/ 315 h 740"/>
                <a:gd name="T110" fmla="*/ 823 w 1005"/>
                <a:gd name="T111" fmla="*/ 315 h 740"/>
                <a:gd name="T112" fmla="*/ 798 w 1005"/>
                <a:gd name="T113" fmla="*/ 305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5" h="740">
                  <a:moveTo>
                    <a:pt x="791" y="318"/>
                  </a:moveTo>
                  <a:lnTo>
                    <a:pt x="766" y="338"/>
                  </a:lnTo>
                  <a:lnTo>
                    <a:pt x="766" y="355"/>
                  </a:lnTo>
                  <a:lnTo>
                    <a:pt x="786" y="370"/>
                  </a:lnTo>
                  <a:lnTo>
                    <a:pt x="803" y="373"/>
                  </a:lnTo>
                  <a:lnTo>
                    <a:pt x="818" y="358"/>
                  </a:lnTo>
                  <a:lnTo>
                    <a:pt x="843" y="363"/>
                  </a:lnTo>
                  <a:lnTo>
                    <a:pt x="850" y="385"/>
                  </a:lnTo>
                  <a:lnTo>
                    <a:pt x="826" y="392"/>
                  </a:lnTo>
                  <a:lnTo>
                    <a:pt x="806" y="410"/>
                  </a:lnTo>
                  <a:lnTo>
                    <a:pt x="816" y="435"/>
                  </a:lnTo>
                  <a:lnTo>
                    <a:pt x="831" y="465"/>
                  </a:lnTo>
                  <a:lnTo>
                    <a:pt x="853" y="487"/>
                  </a:lnTo>
                  <a:lnTo>
                    <a:pt x="853" y="507"/>
                  </a:lnTo>
                  <a:lnTo>
                    <a:pt x="858" y="529"/>
                  </a:lnTo>
                  <a:lnTo>
                    <a:pt x="865" y="579"/>
                  </a:lnTo>
                  <a:lnTo>
                    <a:pt x="855" y="581"/>
                  </a:lnTo>
                  <a:lnTo>
                    <a:pt x="850" y="599"/>
                  </a:lnTo>
                  <a:lnTo>
                    <a:pt x="833" y="614"/>
                  </a:lnTo>
                  <a:lnTo>
                    <a:pt x="836" y="639"/>
                  </a:lnTo>
                  <a:lnTo>
                    <a:pt x="818" y="651"/>
                  </a:lnTo>
                  <a:lnTo>
                    <a:pt x="806" y="651"/>
                  </a:lnTo>
                  <a:lnTo>
                    <a:pt x="803" y="671"/>
                  </a:lnTo>
                  <a:lnTo>
                    <a:pt x="791" y="676"/>
                  </a:lnTo>
                  <a:lnTo>
                    <a:pt x="786" y="691"/>
                  </a:lnTo>
                  <a:lnTo>
                    <a:pt x="756" y="701"/>
                  </a:lnTo>
                  <a:lnTo>
                    <a:pt x="734" y="698"/>
                  </a:lnTo>
                  <a:lnTo>
                    <a:pt x="706" y="708"/>
                  </a:lnTo>
                  <a:lnTo>
                    <a:pt x="676" y="728"/>
                  </a:lnTo>
                  <a:lnTo>
                    <a:pt x="666" y="740"/>
                  </a:lnTo>
                  <a:lnTo>
                    <a:pt x="659" y="716"/>
                  </a:lnTo>
                  <a:lnTo>
                    <a:pt x="647" y="708"/>
                  </a:lnTo>
                  <a:lnTo>
                    <a:pt x="639" y="731"/>
                  </a:lnTo>
                  <a:lnTo>
                    <a:pt x="612" y="691"/>
                  </a:lnTo>
                  <a:lnTo>
                    <a:pt x="584" y="683"/>
                  </a:lnTo>
                  <a:lnTo>
                    <a:pt x="567" y="683"/>
                  </a:lnTo>
                  <a:lnTo>
                    <a:pt x="540" y="698"/>
                  </a:lnTo>
                  <a:lnTo>
                    <a:pt x="525" y="706"/>
                  </a:lnTo>
                  <a:lnTo>
                    <a:pt x="527" y="723"/>
                  </a:lnTo>
                  <a:lnTo>
                    <a:pt x="505" y="726"/>
                  </a:lnTo>
                  <a:lnTo>
                    <a:pt x="500" y="713"/>
                  </a:lnTo>
                  <a:lnTo>
                    <a:pt x="483" y="711"/>
                  </a:lnTo>
                  <a:lnTo>
                    <a:pt x="478" y="681"/>
                  </a:lnTo>
                  <a:lnTo>
                    <a:pt x="468" y="663"/>
                  </a:lnTo>
                  <a:lnTo>
                    <a:pt x="448" y="658"/>
                  </a:lnTo>
                  <a:lnTo>
                    <a:pt x="450" y="643"/>
                  </a:lnTo>
                  <a:lnTo>
                    <a:pt x="463" y="636"/>
                  </a:lnTo>
                  <a:lnTo>
                    <a:pt x="470" y="619"/>
                  </a:lnTo>
                  <a:lnTo>
                    <a:pt x="463" y="599"/>
                  </a:lnTo>
                  <a:lnTo>
                    <a:pt x="458" y="589"/>
                  </a:lnTo>
                  <a:lnTo>
                    <a:pt x="438" y="591"/>
                  </a:lnTo>
                  <a:lnTo>
                    <a:pt x="425" y="574"/>
                  </a:lnTo>
                  <a:lnTo>
                    <a:pt x="405" y="564"/>
                  </a:lnTo>
                  <a:lnTo>
                    <a:pt x="378" y="564"/>
                  </a:lnTo>
                  <a:lnTo>
                    <a:pt x="356" y="574"/>
                  </a:lnTo>
                  <a:lnTo>
                    <a:pt x="346" y="589"/>
                  </a:lnTo>
                  <a:lnTo>
                    <a:pt x="318" y="589"/>
                  </a:lnTo>
                  <a:lnTo>
                    <a:pt x="299" y="579"/>
                  </a:lnTo>
                  <a:lnTo>
                    <a:pt x="289" y="596"/>
                  </a:lnTo>
                  <a:lnTo>
                    <a:pt x="271" y="591"/>
                  </a:lnTo>
                  <a:lnTo>
                    <a:pt x="231" y="589"/>
                  </a:lnTo>
                  <a:lnTo>
                    <a:pt x="214" y="579"/>
                  </a:lnTo>
                  <a:lnTo>
                    <a:pt x="202" y="571"/>
                  </a:lnTo>
                  <a:lnTo>
                    <a:pt x="199" y="552"/>
                  </a:lnTo>
                  <a:lnTo>
                    <a:pt x="194" y="564"/>
                  </a:lnTo>
                  <a:lnTo>
                    <a:pt x="174" y="554"/>
                  </a:lnTo>
                  <a:lnTo>
                    <a:pt x="159" y="539"/>
                  </a:lnTo>
                  <a:lnTo>
                    <a:pt x="139" y="539"/>
                  </a:lnTo>
                  <a:lnTo>
                    <a:pt x="125" y="524"/>
                  </a:lnTo>
                  <a:lnTo>
                    <a:pt x="97" y="519"/>
                  </a:lnTo>
                  <a:lnTo>
                    <a:pt x="97" y="487"/>
                  </a:lnTo>
                  <a:lnTo>
                    <a:pt x="85" y="474"/>
                  </a:lnTo>
                  <a:lnTo>
                    <a:pt x="65" y="474"/>
                  </a:lnTo>
                  <a:lnTo>
                    <a:pt x="40" y="489"/>
                  </a:lnTo>
                  <a:lnTo>
                    <a:pt x="23" y="477"/>
                  </a:lnTo>
                  <a:lnTo>
                    <a:pt x="25" y="452"/>
                  </a:lnTo>
                  <a:lnTo>
                    <a:pt x="15" y="440"/>
                  </a:lnTo>
                  <a:lnTo>
                    <a:pt x="18" y="422"/>
                  </a:lnTo>
                  <a:lnTo>
                    <a:pt x="23" y="395"/>
                  </a:lnTo>
                  <a:lnTo>
                    <a:pt x="23" y="378"/>
                  </a:lnTo>
                  <a:lnTo>
                    <a:pt x="20" y="380"/>
                  </a:lnTo>
                  <a:lnTo>
                    <a:pt x="0" y="368"/>
                  </a:lnTo>
                  <a:lnTo>
                    <a:pt x="3" y="340"/>
                  </a:lnTo>
                  <a:lnTo>
                    <a:pt x="18" y="330"/>
                  </a:lnTo>
                  <a:lnTo>
                    <a:pt x="45" y="348"/>
                  </a:lnTo>
                  <a:lnTo>
                    <a:pt x="52" y="338"/>
                  </a:lnTo>
                  <a:lnTo>
                    <a:pt x="50" y="328"/>
                  </a:lnTo>
                  <a:lnTo>
                    <a:pt x="80" y="320"/>
                  </a:lnTo>
                  <a:lnTo>
                    <a:pt x="87" y="310"/>
                  </a:lnTo>
                  <a:lnTo>
                    <a:pt x="102" y="303"/>
                  </a:lnTo>
                  <a:lnTo>
                    <a:pt x="102" y="256"/>
                  </a:lnTo>
                  <a:lnTo>
                    <a:pt x="90" y="248"/>
                  </a:lnTo>
                  <a:lnTo>
                    <a:pt x="95" y="236"/>
                  </a:lnTo>
                  <a:lnTo>
                    <a:pt x="130" y="231"/>
                  </a:lnTo>
                  <a:lnTo>
                    <a:pt x="137" y="223"/>
                  </a:lnTo>
                  <a:lnTo>
                    <a:pt x="137" y="199"/>
                  </a:lnTo>
                  <a:lnTo>
                    <a:pt x="157" y="189"/>
                  </a:lnTo>
                  <a:lnTo>
                    <a:pt x="179" y="194"/>
                  </a:lnTo>
                  <a:lnTo>
                    <a:pt x="187" y="154"/>
                  </a:lnTo>
                  <a:lnTo>
                    <a:pt x="194" y="146"/>
                  </a:lnTo>
                  <a:lnTo>
                    <a:pt x="209" y="141"/>
                  </a:lnTo>
                  <a:lnTo>
                    <a:pt x="214" y="129"/>
                  </a:lnTo>
                  <a:lnTo>
                    <a:pt x="224" y="121"/>
                  </a:lnTo>
                  <a:lnTo>
                    <a:pt x="234" y="134"/>
                  </a:lnTo>
                  <a:lnTo>
                    <a:pt x="259" y="149"/>
                  </a:lnTo>
                  <a:lnTo>
                    <a:pt x="266" y="169"/>
                  </a:lnTo>
                  <a:lnTo>
                    <a:pt x="279" y="196"/>
                  </a:lnTo>
                  <a:lnTo>
                    <a:pt x="318" y="206"/>
                  </a:lnTo>
                  <a:lnTo>
                    <a:pt x="336" y="208"/>
                  </a:lnTo>
                  <a:lnTo>
                    <a:pt x="356" y="221"/>
                  </a:lnTo>
                  <a:lnTo>
                    <a:pt x="368" y="243"/>
                  </a:lnTo>
                  <a:lnTo>
                    <a:pt x="381" y="253"/>
                  </a:lnTo>
                  <a:lnTo>
                    <a:pt x="480" y="261"/>
                  </a:lnTo>
                  <a:lnTo>
                    <a:pt x="500" y="268"/>
                  </a:lnTo>
                  <a:lnTo>
                    <a:pt x="527" y="283"/>
                  </a:lnTo>
                  <a:lnTo>
                    <a:pt x="552" y="273"/>
                  </a:lnTo>
                  <a:lnTo>
                    <a:pt x="567" y="263"/>
                  </a:lnTo>
                  <a:lnTo>
                    <a:pt x="602" y="268"/>
                  </a:lnTo>
                  <a:lnTo>
                    <a:pt x="629" y="246"/>
                  </a:lnTo>
                  <a:lnTo>
                    <a:pt x="634" y="223"/>
                  </a:lnTo>
                  <a:lnTo>
                    <a:pt x="632" y="204"/>
                  </a:lnTo>
                  <a:lnTo>
                    <a:pt x="657" y="211"/>
                  </a:lnTo>
                  <a:lnTo>
                    <a:pt x="674" y="194"/>
                  </a:lnTo>
                  <a:lnTo>
                    <a:pt x="689" y="181"/>
                  </a:lnTo>
                  <a:lnTo>
                    <a:pt x="714" y="166"/>
                  </a:lnTo>
                  <a:lnTo>
                    <a:pt x="746" y="151"/>
                  </a:lnTo>
                  <a:lnTo>
                    <a:pt x="731" y="134"/>
                  </a:lnTo>
                  <a:lnTo>
                    <a:pt x="704" y="136"/>
                  </a:lnTo>
                  <a:lnTo>
                    <a:pt x="689" y="141"/>
                  </a:lnTo>
                  <a:lnTo>
                    <a:pt x="684" y="134"/>
                  </a:lnTo>
                  <a:lnTo>
                    <a:pt x="681" y="94"/>
                  </a:lnTo>
                  <a:lnTo>
                    <a:pt x="686" y="79"/>
                  </a:lnTo>
                  <a:lnTo>
                    <a:pt x="701" y="94"/>
                  </a:lnTo>
                  <a:lnTo>
                    <a:pt x="724" y="94"/>
                  </a:lnTo>
                  <a:lnTo>
                    <a:pt x="729" y="59"/>
                  </a:lnTo>
                  <a:lnTo>
                    <a:pt x="741" y="47"/>
                  </a:lnTo>
                  <a:lnTo>
                    <a:pt x="729" y="17"/>
                  </a:lnTo>
                  <a:lnTo>
                    <a:pt x="739" y="0"/>
                  </a:lnTo>
                  <a:lnTo>
                    <a:pt x="816" y="0"/>
                  </a:lnTo>
                  <a:lnTo>
                    <a:pt x="833" y="20"/>
                  </a:lnTo>
                  <a:lnTo>
                    <a:pt x="850" y="34"/>
                  </a:lnTo>
                  <a:lnTo>
                    <a:pt x="863" y="52"/>
                  </a:lnTo>
                  <a:lnTo>
                    <a:pt x="865" y="72"/>
                  </a:lnTo>
                  <a:lnTo>
                    <a:pt x="880" y="89"/>
                  </a:lnTo>
                  <a:lnTo>
                    <a:pt x="910" y="97"/>
                  </a:lnTo>
                  <a:lnTo>
                    <a:pt x="925" y="109"/>
                  </a:lnTo>
                  <a:lnTo>
                    <a:pt x="940" y="119"/>
                  </a:lnTo>
                  <a:lnTo>
                    <a:pt x="947" y="129"/>
                  </a:lnTo>
                  <a:lnTo>
                    <a:pt x="965" y="131"/>
                  </a:lnTo>
                  <a:lnTo>
                    <a:pt x="995" y="124"/>
                  </a:lnTo>
                  <a:lnTo>
                    <a:pt x="1002" y="134"/>
                  </a:lnTo>
                  <a:lnTo>
                    <a:pt x="1005" y="149"/>
                  </a:lnTo>
                  <a:lnTo>
                    <a:pt x="992" y="159"/>
                  </a:lnTo>
                  <a:lnTo>
                    <a:pt x="990" y="204"/>
                  </a:lnTo>
                  <a:lnTo>
                    <a:pt x="975" y="201"/>
                  </a:lnTo>
                  <a:lnTo>
                    <a:pt x="965" y="218"/>
                  </a:lnTo>
                  <a:lnTo>
                    <a:pt x="967" y="238"/>
                  </a:lnTo>
                  <a:lnTo>
                    <a:pt x="982" y="243"/>
                  </a:lnTo>
                  <a:lnTo>
                    <a:pt x="965" y="256"/>
                  </a:lnTo>
                  <a:lnTo>
                    <a:pt x="947" y="261"/>
                  </a:lnTo>
                  <a:lnTo>
                    <a:pt x="930" y="283"/>
                  </a:lnTo>
                  <a:lnTo>
                    <a:pt x="913" y="283"/>
                  </a:lnTo>
                  <a:lnTo>
                    <a:pt x="898" y="276"/>
                  </a:lnTo>
                  <a:lnTo>
                    <a:pt x="888" y="305"/>
                  </a:lnTo>
                  <a:lnTo>
                    <a:pt x="870" y="315"/>
                  </a:lnTo>
                  <a:lnTo>
                    <a:pt x="850" y="330"/>
                  </a:lnTo>
                  <a:lnTo>
                    <a:pt x="823" y="338"/>
                  </a:lnTo>
                  <a:lnTo>
                    <a:pt x="823" y="315"/>
                  </a:lnTo>
                  <a:lnTo>
                    <a:pt x="818" y="298"/>
                  </a:lnTo>
                  <a:lnTo>
                    <a:pt x="811" y="295"/>
                  </a:lnTo>
                  <a:lnTo>
                    <a:pt x="798" y="305"/>
                  </a:lnTo>
                  <a:lnTo>
                    <a:pt x="791" y="3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7320142" y="3078461"/>
              <a:ext cx="122335" cy="156877"/>
            </a:xfrm>
            <a:custGeom>
              <a:avLst/>
              <a:gdLst>
                <a:gd name="T0" fmla="*/ 85 w 85"/>
                <a:gd name="T1" fmla="*/ 0 h 109"/>
                <a:gd name="T2" fmla="*/ 85 w 85"/>
                <a:gd name="T3" fmla="*/ 32 h 109"/>
                <a:gd name="T4" fmla="*/ 75 w 85"/>
                <a:gd name="T5" fmla="*/ 37 h 109"/>
                <a:gd name="T6" fmla="*/ 65 w 85"/>
                <a:gd name="T7" fmla="*/ 54 h 109"/>
                <a:gd name="T8" fmla="*/ 48 w 85"/>
                <a:gd name="T9" fmla="*/ 62 h 109"/>
                <a:gd name="T10" fmla="*/ 70 w 85"/>
                <a:gd name="T11" fmla="*/ 82 h 109"/>
                <a:gd name="T12" fmla="*/ 62 w 85"/>
                <a:gd name="T13" fmla="*/ 102 h 109"/>
                <a:gd name="T14" fmla="*/ 38 w 85"/>
                <a:gd name="T15" fmla="*/ 109 h 109"/>
                <a:gd name="T16" fmla="*/ 28 w 85"/>
                <a:gd name="T17" fmla="*/ 99 h 109"/>
                <a:gd name="T18" fmla="*/ 5 w 85"/>
                <a:gd name="T19" fmla="*/ 89 h 109"/>
                <a:gd name="T20" fmla="*/ 20 w 85"/>
                <a:gd name="T21" fmla="*/ 79 h 109"/>
                <a:gd name="T22" fmla="*/ 20 w 85"/>
                <a:gd name="T23" fmla="*/ 59 h 109"/>
                <a:gd name="T24" fmla="*/ 5 w 85"/>
                <a:gd name="T25" fmla="*/ 54 h 109"/>
                <a:gd name="T26" fmla="*/ 0 w 85"/>
                <a:gd name="T27" fmla="*/ 54 h 109"/>
                <a:gd name="T28" fmla="*/ 18 w 85"/>
                <a:gd name="T29" fmla="*/ 44 h 109"/>
                <a:gd name="T30" fmla="*/ 28 w 85"/>
                <a:gd name="T31" fmla="*/ 15 h 109"/>
                <a:gd name="T32" fmla="*/ 43 w 85"/>
                <a:gd name="T33" fmla="*/ 22 h 109"/>
                <a:gd name="T34" fmla="*/ 60 w 85"/>
                <a:gd name="T35" fmla="*/ 22 h 109"/>
                <a:gd name="T36" fmla="*/ 77 w 85"/>
                <a:gd name="T37" fmla="*/ 0 h 109"/>
                <a:gd name="T38" fmla="*/ 85 w 85"/>
                <a:gd name="T3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85" y="0"/>
                  </a:moveTo>
                  <a:lnTo>
                    <a:pt x="85" y="32"/>
                  </a:lnTo>
                  <a:lnTo>
                    <a:pt x="75" y="37"/>
                  </a:lnTo>
                  <a:lnTo>
                    <a:pt x="65" y="54"/>
                  </a:lnTo>
                  <a:lnTo>
                    <a:pt x="48" y="62"/>
                  </a:lnTo>
                  <a:lnTo>
                    <a:pt x="70" y="82"/>
                  </a:lnTo>
                  <a:lnTo>
                    <a:pt x="62" y="102"/>
                  </a:lnTo>
                  <a:lnTo>
                    <a:pt x="38" y="109"/>
                  </a:lnTo>
                  <a:lnTo>
                    <a:pt x="28" y="99"/>
                  </a:lnTo>
                  <a:lnTo>
                    <a:pt x="5" y="89"/>
                  </a:lnTo>
                  <a:lnTo>
                    <a:pt x="20" y="79"/>
                  </a:lnTo>
                  <a:lnTo>
                    <a:pt x="20" y="59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18" y="44"/>
                  </a:lnTo>
                  <a:lnTo>
                    <a:pt x="28" y="15"/>
                  </a:lnTo>
                  <a:lnTo>
                    <a:pt x="43" y="22"/>
                  </a:lnTo>
                  <a:lnTo>
                    <a:pt x="60" y="22"/>
                  </a:lnTo>
                  <a:lnTo>
                    <a:pt x="77" y="0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2 w 20"/>
                <a:gd name="T17" fmla="*/ 10 h 10"/>
                <a:gd name="T18" fmla="*/ 10 w 20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0 w 2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6597646" y="3550530"/>
              <a:ext cx="197175" cy="510929"/>
            </a:xfrm>
            <a:custGeom>
              <a:avLst/>
              <a:gdLst>
                <a:gd name="T0" fmla="*/ 0 w 137"/>
                <a:gd name="T1" fmla="*/ 134 h 355"/>
                <a:gd name="T2" fmla="*/ 8 w 137"/>
                <a:gd name="T3" fmla="*/ 119 h 355"/>
                <a:gd name="T4" fmla="*/ 8 w 137"/>
                <a:gd name="T5" fmla="*/ 84 h 355"/>
                <a:gd name="T6" fmla="*/ 25 w 137"/>
                <a:gd name="T7" fmla="*/ 67 h 355"/>
                <a:gd name="T8" fmla="*/ 32 w 137"/>
                <a:gd name="T9" fmla="*/ 42 h 355"/>
                <a:gd name="T10" fmla="*/ 45 w 137"/>
                <a:gd name="T11" fmla="*/ 25 h 355"/>
                <a:gd name="T12" fmla="*/ 67 w 137"/>
                <a:gd name="T13" fmla="*/ 15 h 355"/>
                <a:gd name="T14" fmla="*/ 70 w 137"/>
                <a:gd name="T15" fmla="*/ 2 h 355"/>
                <a:gd name="T16" fmla="*/ 90 w 137"/>
                <a:gd name="T17" fmla="*/ 0 h 355"/>
                <a:gd name="T18" fmla="*/ 95 w 137"/>
                <a:gd name="T19" fmla="*/ 10 h 355"/>
                <a:gd name="T20" fmla="*/ 102 w 137"/>
                <a:gd name="T21" fmla="*/ 30 h 355"/>
                <a:gd name="T22" fmla="*/ 95 w 137"/>
                <a:gd name="T23" fmla="*/ 47 h 355"/>
                <a:gd name="T24" fmla="*/ 82 w 137"/>
                <a:gd name="T25" fmla="*/ 54 h 355"/>
                <a:gd name="T26" fmla="*/ 80 w 137"/>
                <a:gd name="T27" fmla="*/ 69 h 355"/>
                <a:gd name="T28" fmla="*/ 100 w 137"/>
                <a:gd name="T29" fmla="*/ 74 h 355"/>
                <a:gd name="T30" fmla="*/ 110 w 137"/>
                <a:gd name="T31" fmla="*/ 92 h 355"/>
                <a:gd name="T32" fmla="*/ 115 w 137"/>
                <a:gd name="T33" fmla="*/ 122 h 355"/>
                <a:gd name="T34" fmla="*/ 132 w 137"/>
                <a:gd name="T35" fmla="*/ 124 h 355"/>
                <a:gd name="T36" fmla="*/ 137 w 137"/>
                <a:gd name="T37" fmla="*/ 137 h 355"/>
                <a:gd name="T38" fmla="*/ 127 w 137"/>
                <a:gd name="T39" fmla="*/ 154 h 355"/>
                <a:gd name="T40" fmla="*/ 117 w 137"/>
                <a:gd name="T41" fmla="*/ 164 h 355"/>
                <a:gd name="T42" fmla="*/ 100 w 137"/>
                <a:gd name="T43" fmla="*/ 171 h 355"/>
                <a:gd name="T44" fmla="*/ 97 w 137"/>
                <a:gd name="T45" fmla="*/ 204 h 355"/>
                <a:gd name="T46" fmla="*/ 102 w 137"/>
                <a:gd name="T47" fmla="*/ 216 h 355"/>
                <a:gd name="T48" fmla="*/ 117 w 137"/>
                <a:gd name="T49" fmla="*/ 233 h 355"/>
                <a:gd name="T50" fmla="*/ 112 w 137"/>
                <a:gd name="T51" fmla="*/ 266 h 355"/>
                <a:gd name="T52" fmla="*/ 112 w 137"/>
                <a:gd name="T53" fmla="*/ 281 h 355"/>
                <a:gd name="T54" fmla="*/ 119 w 137"/>
                <a:gd name="T55" fmla="*/ 303 h 355"/>
                <a:gd name="T56" fmla="*/ 134 w 137"/>
                <a:gd name="T57" fmla="*/ 316 h 355"/>
                <a:gd name="T58" fmla="*/ 122 w 137"/>
                <a:gd name="T59" fmla="*/ 343 h 355"/>
                <a:gd name="T60" fmla="*/ 115 w 137"/>
                <a:gd name="T61" fmla="*/ 355 h 355"/>
                <a:gd name="T62" fmla="*/ 107 w 137"/>
                <a:gd name="T63" fmla="*/ 320 h 355"/>
                <a:gd name="T64" fmla="*/ 102 w 137"/>
                <a:gd name="T65" fmla="*/ 298 h 355"/>
                <a:gd name="T66" fmla="*/ 87 w 137"/>
                <a:gd name="T67" fmla="*/ 288 h 355"/>
                <a:gd name="T68" fmla="*/ 95 w 137"/>
                <a:gd name="T69" fmla="*/ 243 h 355"/>
                <a:gd name="T70" fmla="*/ 77 w 137"/>
                <a:gd name="T71" fmla="*/ 216 h 355"/>
                <a:gd name="T72" fmla="*/ 67 w 137"/>
                <a:gd name="T73" fmla="*/ 231 h 355"/>
                <a:gd name="T74" fmla="*/ 55 w 137"/>
                <a:gd name="T75" fmla="*/ 243 h 355"/>
                <a:gd name="T76" fmla="*/ 37 w 137"/>
                <a:gd name="T77" fmla="*/ 236 h 355"/>
                <a:gd name="T78" fmla="*/ 35 w 137"/>
                <a:gd name="T79" fmla="*/ 196 h 355"/>
                <a:gd name="T80" fmla="*/ 30 w 137"/>
                <a:gd name="T81" fmla="*/ 179 h 355"/>
                <a:gd name="T82" fmla="*/ 15 w 137"/>
                <a:gd name="T83" fmla="*/ 159 h 355"/>
                <a:gd name="T84" fmla="*/ 0 w 137"/>
                <a:gd name="T85" fmla="*/ 144 h 355"/>
                <a:gd name="T86" fmla="*/ 0 w 137"/>
                <a:gd name="T87" fmla="*/ 134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355">
                  <a:moveTo>
                    <a:pt x="0" y="134"/>
                  </a:moveTo>
                  <a:lnTo>
                    <a:pt x="8" y="119"/>
                  </a:lnTo>
                  <a:lnTo>
                    <a:pt x="8" y="84"/>
                  </a:lnTo>
                  <a:lnTo>
                    <a:pt x="25" y="67"/>
                  </a:lnTo>
                  <a:lnTo>
                    <a:pt x="32" y="42"/>
                  </a:lnTo>
                  <a:lnTo>
                    <a:pt x="45" y="25"/>
                  </a:lnTo>
                  <a:lnTo>
                    <a:pt x="67" y="15"/>
                  </a:lnTo>
                  <a:lnTo>
                    <a:pt x="70" y="2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102" y="30"/>
                  </a:lnTo>
                  <a:lnTo>
                    <a:pt x="95" y="47"/>
                  </a:lnTo>
                  <a:lnTo>
                    <a:pt x="82" y="54"/>
                  </a:lnTo>
                  <a:lnTo>
                    <a:pt x="80" y="69"/>
                  </a:lnTo>
                  <a:lnTo>
                    <a:pt x="100" y="74"/>
                  </a:lnTo>
                  <a:lnTo>
                    <a:pt x="110" y="92"/>
                  </a:lnTo>
                  <a:lnTo>
                    <a:pt x="115" y="122"/>
                  </a:lnTo>
                  <a:lnTo>
                    <a:pt x="132" y="124"/>
                  </a:lnTo>
                  <a:lnTo>
                    <a:pt x="137" y="137"/>
                  </a:lnTo>
                  <a:lnTo>
                    <a:pt x="127" y="154"/>
                  </a:lnTo>
                  <a:lnTo>
                    <a:pt x="117" y="164"/>
                  </a:lnTo>
                  <a:lnTo>
                    <a:pt x="100" y="171"/>
                  </a:lnTo>
                  <a:lnTo>
                    <a:pt x="97" y="204"/>
                  </a:lnTo>
                  <a:lnTo>
                    <a:pt x="102" y="216"/>
                  </a:lnTo>
                  <a:lnTo>
                    <a:pt x="117" y="233"/>
                  </a:lnTo>
                  <a:lnTo>
                    <a:pt x="112" y="266"/>
                  </a:lnTo>
                  <a:lnTo>
                    <a:pt x="112" y="281"/>
                  </a:lnTo>
                  <a:lnTo>
                    <a:pt x="119" y="303"/>
                  </a:lnTo>
                  <a:lnTo>
                    <a:pt x="134" y="316"/>
                  </a:lnTo>
                  <a:lnTo>
                    <a:pt x="122" y="343"/>
                  </a:lnTo>
                  <a:lnTo>
                    <a:pt x="115" y="355"/>
                  </a:lnTo>
                  <a:lnTo>
                    <a:pt x="107" y="320"/>
                  </a:lnTo>
                  <a:lnTo>
                    <a:pt x="102" y="298"/>
                  </a:lnTo>
                  <a:lnTo>
                    <a:pt x="87" y="288"/>
                  </a:lnTo>
                  <a:lnTo>
                    <a:pt x="95" y="243"/>
                  </a:lnTo>
                  <a:lnTo>
                    <a:pt x="77" y="216"/>
                  </a:lnTo>
                  <a:lnTo>
                    <a:pt x="67" y="231"/>
                  </a:lnTo>
                  <a:lnTo>
                    <a:pt x="55" y="243"/>
                  </a:lnTo>
                  <a:lnTo>
                    <a:pt x="37" y="236"/>
                  </a:lnTo>
                  <a:lnTo>
                    <a:pt x="35" y="196"/>
                  </a:lnTo>
                  <a:lnTo>
                    <a:pt x="30" y="179"/>
                  </a:lnTo>
                  <a:lnTo>
                    <a:pt x="15" y="159"/>
                  </a:lnTo>
                  <a:lnTo>
                    <a:pt x="0" y="144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6672486" y="4212578"/>
              <a:ext cx="300800" cy="328146"/>
            </a:xfrm>
            <a:custGeom>
              <a:avLst/>
              <a:gdLst>
                <a:gd name="T0" fmla="*/ 80 w 209"/>
                <a:gd name="T1" fmla="*/ 34 h 228"/>
                <a:gd name="T2" fmla="*/ 53 w 209"/>
                <a:gd name="T3" fmla="*/ 25 h 228"/>
                <a:gd name="T4" fmla="*/ 30 w 209"/>
                <a:gd name="T5" fmla="*/ 0 h 228"/>
                <a:gd name="T6" fmla="*/ 3 w 209"/>
                <a:gd name="T7" fmla="*/ 2 h 228"/>
                <a:gd name="T8" fmla="*/ 0 w 209"/>
                <a:gd name="T9" fmla="*/ 12 h 228"/>
                <a:gd name="T10" fmla="*/ 33 w 209"/>
                <a:gd name="T11" fmla="*/ 34 h 228"/>
                <a:gd name="T12" fmla="*/ 60 w 209"/>
                <a:gd name="T13" fmla="*/ 59 h 228"/>
                <a:gd name="T14" fmla="*/ 80 w 209"/>
                <a:gd name="T15" fmla="*/ 77 h 228"/>
                <a:gd name="T16" fmla="*/ 85 w 209"/>
                <a:gd name="T17" fmla="*/ 102 h 228"/>
                <a:gd name="T18" fmla="*/ 97 w 209"/>
                <a:gd name="T19" fmla="*/ 126 h 228"/>
                <a:gd name="T20" fmla="*/ 132 w 209"/>
                <a:gd name="T21" fmla="*/ 174 h 228"/>
                <a:gd name="T22" fmla="*/ 164 w 209"/>
                <a:gd name="T23" fmla="*/ 213 h 228"/>
                <a:gd name="T24" fmla="*/ 177 w 209"/>
                <a:gd name="T25" fmla="*/ 228 h 228"/>
                <a:gd name="T26" fmla="*/ 209 w 209"/>
                <a:gd name="T27" fmla="*/ 213 h 228"/>
                <a:gd name="T28" fmla="*/ 204 w 209"/>
                <a:gd name="T29" fmla="*/ 194 h 228"/>
                <a:gd name="T30" fmla="*/ 204 w 209"/>
                <a:gd name="T31" fmla="*/ 169 h 228"/>
                <a:gd name="T32" fmla="*/ 194 w 209"/>
                <a:gd name="T33" fmla="*/ 154 h 228"/>
                <a:gd name="T34" fmla="*/ 167 w 209"/>
                <a:gd name="T35" fmla="*/ 144 h 228"/>
                <a:gd name="T36" fmla="*/ 167 w 209"/>
                <a:gd name="T37" fmla="*/ 134 h 228"/>
                <a:gd name="T38" fmla="*/ 157 w 209"/>
                <a:gd name="T39" fmla="*/ 119 h 228"/>
                <a:gd name="T40" fmla="*/ 154 w 209"/>
                <a:gd name="T41" fmla="*/ 97 h 228"/>
                <a:gd name="T42" fmla="*/ 137 w 209"/>
                <a:gd name="T43" fmla="*/ 79 h 228"/>
                <a:gd name="T44" fmla="*/ 112 w 209"/>
                <a:gd name="T45" fmla="*/ 64 h 228"/>
                <a:gd name="T46" fmla="*/ 80 w 209"/>
                <a:gd name="T47" fmla="*/ 3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228">
                  <a:moveTo>
                    <a:pt x="80" y="34"/>
                  </a:moveTo>
                  <a:lnTo>
                    <a:pt x="53" y="25"/>
                  </a:lnTo>
                  <a:lnTo>
                    <a:pt x="30" y="0"/>
                  </a:lnTo>
                  <a:lnTo>
                    <a:pt x="3" y="2"/>
                  </a:lnTo>
                  <a:lnTo>
                    <a:pt x="0" y="12"/>
                  </a:lnTo>
                  <a:lnTo>
                    <a:pt x="33" y="34"/>
                  </a:lnTo>
                  <a:lnTo>
                    <a:pt x="60" y="59"/>
                  </a:lnTo>
                  <a:lnTo>
                    <a:pt x="80" y="77"/>
                  </a:lnTo>
                  <a:lnTo>
                    <a:pt x="85" y="102"/>
                  </a:lnTo>
                  <a:lnTo>
                    <a:pt x="97" y="126"/>
                  </a:lnTo>
                  <a:lnTo>
                    <a:pt x="132" y="174"/>
                  </a:lnTo>
                  <a:lnTo>
                    <a:pt x="164" y="213"/>
                  </a:lnTo>
                  <a:lnTo>
                    <a:pt x="177" y="228"/>
                  </a:lnTo>
                  <a:lnTo>
                    <a:pt x="209" y="213"/>
                  </a:lnTo>
                  <a:lnTo>
                    <a:pt x="204" y="194"/>
                  </a:lnTo>
                  <a:lnTo>
                    <a:pt x="204" y="169"/>
                  </a:lnTo>
                  <a:lnTo>
                    <a:pt x="194" y="154"/>
                  </a:lnTo>
                  <a:lnTo>
                    <a:pt x="167" y="144"/>
                  </a:lnTo>
                  <a:lnTo>
                    <a:pt x="167" y="134"/>
                  </a:lnTo>
                  <a:lnTo>
                    <a:pt x="157" y="119"/>
                  </a:lnTo>
                  <a:lnTo>
                    <a:pt x="154" y="97"/>
                  </a:lnTo>
                  <a:lnTo>
                    <a:pt x="137" y="79"/>
                  </a:lnTo>
                  <a:lnTo>
                    <a:pt x="112" y="64"/>
                  </a:lnTo>
                  <a:lnTo>
                    <a:pt x="80" y="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0 w 30"/>
                <a:gd name="T13" fmla="*/ 0 h 30"/>
                <a:gd name="T14" fmla="*/ 3 w 3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0" name="Freeform 148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6956015" y="4533528"/>
              <a:ext cx="238913" cy="79157"/>
            </a:xfrm>
            <a:custGeom>
              <a:avLst/>
              <a:gdLst>
                <a:gd name="T0" fmla="*/ 25 w 166"/>
                <a:gd name="T1" fmla="*/ 3 h 55"/>
                <a:gd name="T2" fmla="*/ 10 w 166"/>
                <a:gd name="T3" fmla="*/ 8 h 55"/>
                <a:gd name="T4" fmla="*/ 0 w 166"/>
                <a:gd name="T5" fmla="*/ 20 h 55"/>
                <a:gd name="T6" fmla="*/ 12 w 166"/>
                <a:gd name="T7" fmla="*/ 38 h 55"/>
                <a:gd name="T8" fmla="*/ 45 w 166"/>
                <a:gd name="T9" fmla="*/ 38 h 55"/>
                <a:gd name="T10" fmla="*/ 57 w 166"/>
                <a:gd name="T11" fmla="*/ 45 h 55"/>
                <a:gd name="T12" fmla="*/ 84 w 166"/>
                <a:gd name="T13" fmla="*/ 45 h 55"/>
                <a:gd name="T14" fmla="*/ 87 w 166"/>
                <a:gd name="T15" fmla="*/ 55 h 55"/>
                <a:gd name="T16" fmla="*/ 139 w 166"/>
                <a:gd name="T17" fmla="*/ 55 h 55"/>
                <a:gd name="T18" fmla="*/ 154 w 166"/>
                <a:gd name="T19" fmla="*/ 55 h 55"/>
                <a:gd name="T20" fmla="*/ 166 w 166"/>
                <a:gd name="T21" fmla="*/ 55 h 55"/>
                <a:gd name="T22" fmla="*/ 166 w 166"/>
                <a:gd name="T23" fmla="*/ 43 h 55"/>
                <a:gd name="T24" fmla="*/ 149 w 166"/>
                <a:gd name="T25" fmla="*/ 35 h 55"/>
                <a:gd name="T26" fmla="*/ 154 w 166"/>
                <a:gd name="T27" fmla="*/ 20 h 55"/>
                <a:gd name="T28" fmla="*/ 136 w 166"/>
                <a:gd name="T29" fmla="*/ 23 h 55"/>
                <a:gd name="T30" fmla="*/ 117 w 166"/>
                <a:gd name="T31" fmla="*/ 20 h 55"/>
                <a:gd name="T32" fmla="*/ 102 w 166"/>
                <a:gd name="T33" fmla="*/ 13 h 55"/>
                <a:gd name="T34" fmla="*/ 77 w 166"/>
                <a:gd name="T35" fmla="*/ 10 h 55"/>
                <a:gd name="T36" fmla="*/ 49 w 166"/>
                <a:gd name="T37" fmla="*/ 0 h 55"/>
                <a:gd name="T38" fmla="*/ 25 w 166"/>
                <a:gd name="T3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55">
                  <a:moveTo>
                    <a:pt x="25" y="3"/>
                  </a:moveTo>
                  <a:lnTo>
                    <a:pt x="10" y="8"/>
                  </a:lnTo>
                  <a:lnTo>
                    <a:pt x="0" y="20"/>
                  </a:lnTo>
                  <a:lnTo>
                    <a:pt x="12" y="38"/>
                  </a:lnTo>
                  <a:lnTo>
                    <a:pt x="45" y="38"/>
                  </a:lnTo>
                  <a:lnTo>
                    <a:pt x="57" y="45"/>
                  </a:lnTo>
                  <a:lnTo>
                    <a:pt x="84" y="45"/>
                  </a:lnTo>
                  <a:lnTo>
                    <a:pt x="87" y="55"/>
                  </a:lnTo>
                  <a:lnTo>
                    <a:pt x="139" y="55"/>
                  </a:lnTo>
                  <a:lnTo>
                    <a:pt x="154" y="55"/>
                  </a:lnTo>
                  <a:lnTo>
                    <a:pt x="166" y="55"/>
                  </a:lnTo>
                  <a:lnTo>
                    <a:pt x="166" y="43"/>
                  </a:lnTo>
                  <a:lnTo>
                    <a:pt x="149" y="35"/>
                  </a:lnTo>
                  <a:lnTo>
                    <a:pt x="154" y="20"/>
                  </a:lnTo>
                  <a:lnTo>
                    <a:pt x="136" y="23"/>
                  </a:lnTo>
                  <a:lnTo>
                    <a:pt x="117" y="20"/>
                  </a:lnTo>
                  <a:lnTo>
                    <a:pt x="102" y="13"/>
                  </a:lnTo>
                  <a:lnTo>
                    <a:pt x="77" y="10"/>
                  </a:lnTo>
                  <a:lnTo>
                    <a:pt x="49" y="0"/>
                  </a:lnTo>
                  <a:lnTo>
                    <a:pt x="25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2" name="Freeform 150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5 w 15"/>
                <a:gd name="T17" fmla="*/ 10 h 10"/>
                <a:gd name="T18" fmla="*/ 8 w 15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5" y="10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3" name="Freeform 151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8 w 15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4" name="Freeform 152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7 w 7"/>
                <a:gd name="T17" fmla="*/ 10 h 10"/>
                <a:gd name="T18" fmla="*/ 5 w 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10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5" name="Freeform 153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5 w 7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6" name="Freeform 154"/>
            <p:cNvSpPr>
              <a:spLocks/>
            </p:cNvSpPr>
            <p:nvPr/>
          </p:nvSpPr>
          <p:spPr bwMode="auto">
            <a:xfrm>
              <a:off x="7271208" y="4598293"/>
              <a:ext cx="27345" cy="25906"/>
            </a:xfrm>
            <a:custGeom>
              <a:avLst/>
              <a:gdLst>
                <a:gd name="T0" fmla="*/ 2 w 19"/>
                <a:gd name="T1" fmla="*/ 8 h 18"/>
                <a:gd name="T2" fmla="*/ 12 w 19"/>
                <a:gd name="T3" fmla="*/ 0 h 18"/>
                <a:gd name="T4" fmla="*/ 19 w 19"/>
                <a:gd name="T5" fmla="*/ 8 h 18"/>
                <a:gd name="T6" fmla="*/ 17 w 19"/>
                <a:gd name="T7" fmla="*/ 18 h 18"/>
                <a:gd name="T8" fmla="*/ 0 w 19"/>
                <a:gd name="T9" fmla="*/ 13 h 18"/>
                <a:gd name="T10" fmla="*/ 2 w 19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8">
                  <a:moveTo>
                    <a:pt x="2" y="8"/>
                  </a:moveTo>
                  <a:lnTo>
                    <a:pt x="12" y="0"/>
                  </a:lnTo>
                  <a:lnTo>
                    <a:pt x="19" y="8"/>
                  </a:lnTo>
                  <a:lnTo>
                    <a:pt x="17" y="18"/>
                  </a:lnTo>
                  <a:lnTo>
                    <a:pt x="0" y="13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7" name="Freeform 155"/>
            <p:cNvSpPr>
              <a:spLocks/>
            </p:cNvSpPr>
            <p:nvPr/>
          </p:nvSpPr>
          <p:spPr bwMode="auto">
            <a:xfrm>
              <a:off x="7305750" y="4644349"/>
              <a:ext cx="33102" cy="21589"/>
            </a:xfrm>
            <a:custGeom>
              <a:avLst/>
              <a:gdLst>
                <a:gd name="T0" fmla="*/ 3 w 23"/>
                <a:gd name="T1" fmla="*/ 3 h 15"/>
                <a:gd name="T2" fmla="*/ 0 w 23"/>
                <a:gd name="T3" fmla="*/ 15 h 15"/>
                <a:gd name="T4" fmla="*/ 18 w 23"/>
                <a:gd name="T5" fmla="*/ 8 h 15"/>
                <a:gd name="T6" fmla="*/ 23 w 23"/>
                <a:gd name="T7" fmla="*/ 0 h 15"/>
                <a:gd name="T8" fmla="*/ 3 w 2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3" y="3"/>
                  </a:moveTo>
                  <a:lnTo>
                    <a:pt x="0" y="15"/>
                  </a:lnTo>
                  <a:lnTo>
                    <a:pt x="18" y="8"/>
                  </a:lnTo>
                  <a:lnTo>
                    <a:pt x="2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8" name="Freeform 156"/>
            <p:cNvSpPr>
              <a:spLocks/>
            </p:cNvSpPr>
            <p:nvPr/>
          </p:nvSpPr>
          <p:spPr bwMode="auto">
            <a:xfrm>
              <a:off x="7331656" y="4609807"/>
              <a:ext cx="57569" cy="24467"/>
            </a:xfrm>
            <a:custGeom>
              <a:avLst/>
              <a:gdLst>
                <a:gd name="T0" fmla="*/ 0 w 40"/>
                <a:gd name="T1" fmla="*/ 2 h 17"/>
                <a:gd name="T2" fmla="*/ 20 w 40"/>
                <a:gd name="T3" fmla="*/ 0 h 17"/>
                <a:gd name="T4" fmla="*/ 40 w 40"/>
                <a:gd name="T5" fmla="*/ 7 h 17"/>
                <a:gd name="T6" fmla="*/ 25 w 40"/>
                <a:gd name="T7" fmla="*/ 17 h 17"/>
                <a:gd name="T8" fmla="*/ 2 w 40"/>
                <a:gd name="T9" fmla="*/ 15 h 17"/>
                <a:gd name="T10" fmla="*/ 0 w 40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7">
                  <a:moveTo>
                    <a:pt x="0" y="2"/>
                  </a:moveTo>
                  <a:lnTo>
                    <a:pt x="20" y="0"/>
                  </a:lnTo>
                  <a:lnTo>
                    <a:pt x="40" y="7"/>
                  </a:lnTo>
                  <a:lnTo>
                    <a:pt x="25" y="17"/>
                  </a:lnTo>
                  <a:lnTo>
                    <a:pt x="2" y="1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49" name="Freeform 157"/>
            <p:cNvSpPr>
              <a:spLocks/>
            </p:cNvSpPr>
            <p:nvPr/>
          </p:nvSpPr>
          <p:spPr bwMode="auto">
            <a:xfrm>
              <a:off x="7403618" y="4644349"/>
              <a:ext cx="31663" cy="21589"/>
            </a:xfrm>
            <a:custGeom>
              <a:avLst/>
              <a:gdLst>
                <a:gd name="T0" fmla="*/ 22 w 22"/>
                <a:gd name="T1" fmla="*/ 0 h 15"/>
                <a:gd name="T2" fmla="*/ 7 w 22"/>
                <a:gd name="T3" fmla="*/ 3 h 15"/>
                <a:gd name="T4" fmla="*/ 0 w 22"/>
                <a:gd name="T5" fmla="*/ 15 h 15"/>
                <a:gd name="T6" fmla="*/ 12 w 22"/>
                <a:gd name="T7" fmla="*/ 15 h 15"/>
                <a:gd name="T8" fmla="*/ 22 w 22"/>
                <a:gd name="T9" fmla="*/ 8 h 15"/>
                <a:gd name="T10" fmla="*/ 22 w 2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5">
                  <a:moveTo>
                    <a:pt x="22" y="0"/>
                  </a:moveTo>
                  <a:lnTo>
                    <a:pt x="7" y="3"/>
                  </a:lnTo>
                  <a:lnTo>
                    <a:pt x="0" y="15"/>
                  </a:lnTo>
                  <a:lnTo>
                    <a:pt x="12" y="15"/>
                  </a:lnTo>
                  <a:lnTo>
                    <a:pt x="22" y="8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0" name="Freeform 158"/>
            <p:cNvSpPr>
              <a:spLocks/>
            </p:cNvSpPr>
            <p:nvPr/>
          </p:nvSpPr>
          <p:spPr bwMode="auto">
            <a:xfrm>
              <a:off x="7288479" y="4316203"/>
              <a:ext cx="168390" cy="214447"/>
            </a:xfrm>
            <a:custGeom>
              <a:avLst/>
              <a:gdLst>
                <a:gd name="T0" fmla="*/ 27 w 117"/>
                <a:gd name="T1" fmla="*/ 20 h 149"/>
                <a:gd name="T2" fmla="*/ 25 w 117"/>
                <a:gd name="T3" fmla="*/ 45 h 149"/>
                <a:gd name="T4" fmla="*/ 15 w 117"/>
                <a:gd name="T5" fmla="*/ 54 h 149"/>
                <a:gd name="T6" fmla="*/ 12 w 117"/>
                <a:gd name="T7" fmla="*/ 72 h 149"/>
                <a:gd name="T8" fmla="*/ 0 w 117"/>
                <a:gd name="T9" fmla="*/ 82 h 149"/>
                <a:gd name="T10" fmla="*/ 0 w 117"/>
                <a:gd name="T11" fmla="*/ 114 h 149"/>
                <a:gd name="T12" fmla="*/ 15 w 117"/>
                <a:gd name="T13" fmla="*/ 122 h 149"/>
                <a:gd name="T14" fmla="*/ 17 w 117"/>
                <a:gd name="T15" fmla="*/ 144 h 149"/>
                <a:gd name="T16" fmla="*/ 32 w 117"/>
                <a:gd name="T17" fmla="*/ 146 h 149"/>
                <a:gd name="T18" fmla="*/ 40 w 117"/>
                <a:gd name="T19" fmla="*/ 112 h 149"/>
                <a:gd name="T20" fmla="*/ 50 w 117"/>
                <a:gd name="T21" fmla="*/ 109 h 149"/>
                <a:gd name="T22" fmla="*/ 50 w 117"/>
                <a:gd name="T23" fmla="*/ 136 h 149"/>
                <a:gd name="T24" fmla="*/ 62 w 117"/>
                <a:gd name="T25" fmla="*/ 141 h 149"/>
                <a:gd name="T26" fmla="*/ 67 w 117"/>
                <a:gd name="T27" fmla="*/ 149 h 149"/>
                <a:gd name="T28" fmla="*/ 84 w 117"/>
                <a:gd name="T29" fmla="*/ 146 h 149"/>
                <a:gd name="T30" fmla="*/ 82 w 117"/>
                <a:gd name="T31" fmla="*/ 127 h 149"/>
                <a:gd name="T32" fmla="*/ 60 w 117"/>
                <a:gd name="T33" fmla="*/ 87 h 149"/>
                <a:gd name="T34" fmla="*/ 70 w 117"/>
                <a:gd name="T35" fmla="*/ 79 h 149"/>
                <a:gd name="T36" fmla="*/ 82 w 117"/>
                <a:gd name="T37" fmla="*/ 57 h 149"/>
                <a:gd name="T38" fmla="*/ 75 w 117"/>
                <a:gd name="T39" fmla="*/ 49 h 149"/>
                <a:gd name="T40" fmla="*/ 62 w 117"/>
                <a:gd name="T41" fmla="*/ 57 h 149"/>
                <a:gd name="T42" fmla="*/ 50 w 117"/>
                <a:gd name="T43" fmla="*/ 62 h 149"/>
                <a:gd name="T44" fmla="*/ 42 w 117"/>
                <a:gd name="T45" fmla="*/ 40 h 149"/>
                <a:gd name="T46" fmla="*/ 40 w 117"/>
                <a:gd name="T47" fmla="*/ 17 h 149"/>
                <a:gd name="T48" fmla="*/ 47 w 117"/>
                <a:gd name="T49" fmla="*/ 22 h 149"/>
                <a:gd name="T50" fmla="*/ 60 w 117"/>
                <a:gd name="T51" fmla="*/ 30 h 149"/>
                <a:gd name="T52" fmla="*/ 77 w 117"/>
                <a:gd name="T53" fmla="*/ 25 h 149"/>
                <a:gd name="T54" fmla="*/ 87 w 117"/>
                <a:gd name="T55" fmla="*/ 32 h 149"/>
                <a:gd name="T56" fmla="*/ 107 w 117"/>
                <a:gd name="T57" fmla="*/ 25 h 149"/>
                <a:gd name="T58" fmla="*/ 117 w 117"/>
                <a:gd name="T59" fmla="*/ 20 h 149"/>
                <a:gd name="T60" fmla="*/ 112 w 117"/>
                <a:gd name="T61" fmla="*/ 0 h 149"/>
                <a:gd name="T62" fmla="*/ 102 w 117"/>
                <a:gd name="T63" fmla="*/ 0 h 149"/>
                <a:gd name="T64" fmla="*/ 94 w 117"/>
                <a:gd name="T65" fmla="*/ 15 h 149"/>
                <a:gd name="T66" fmla="*/ 55 w 117"/>
                <a:gd name="T67" fmla="*/ 10 h 149"/>
                <a:gd name="T68" fmla="*/ 30 w 117"/>
                <a:gd name="T69" fmla="*/ 12 h 149"/>
                <a:gd name="T70" fmla="*/ 27 w 117"/>
                <a:gd name="T71" fmla="*/ 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149">
                  <a:moveTo>
                    <a:pt x="27" y="20"/>
                  </a:moveTo>
                  <a:lnTo>
                    <a:pt x="25" y="45"/>
                  </a:lnTo>
                  <a:lnTo>
                    <a:pt x="15" y="54"/>
                  </a:lnTo>
                  <a:lnTo>
                    <a:pt x="12" y="72"/>
                  </a:lnTo>
                  <a:lnTo>
                    <a:pt x="0" y="82"/>
                  </a:lnTo>
                  <a:lnTo>
                    <a:pt x="0" y="114"/>
                  </a:lnTo>
                  <a:lnTo>
                    <a:pt x="15" y="122"/>
                  </a:lnTo>
                  <a:lnTo>
                    <a:pt x="17" y="144"/>
                  </a:lnTo>
                  <a:lnTo>
                    <a:pt x="32" y="146"/>
                  </a:lnTo>
                  <a:lnTo>
                    <a:pt x="40" y="112"/>
                  </a:lnTo>
                  <a:lnTo>
                    <a:pt x="50" y="109"/>
                  </a:lnTo>
                  <a:lnTo>
                    <a:pt x="50" y="136"/>
                  </a:lnTo>
                  <a:lnTo>
                    <a:pt x="62" y="141"/>
                  </a:lnTo>
                  <a:lnTo>
                    <a:pt x="67" y="149"/>
                  </a:lnTo>
                  <a:lnTo>
                    <a:pt x="84" y="146"/>
                  </a:lnTo>
                  <a:lnTo>
                    <a:pt x="82" y="127"/>
                  </a:lnTo>
                  <a:lnTo>
                    <a:pt x="60" y="87"/>
                  </a:lnTo>
                  <a:lnTo>
                    <a:pt x="70" y="79"/>
                  </a:lnTo>
                  <a:lnTo>
                    <a:pt x="82" y="57"/>
                  </a:lnTo>
                  <a:lnTo>
                    <a:pt x="75" y="49"/>
                  </a:lnTo>
                  <a:lnTo>
                    <a:pt x="62" y="57"/>
                  </a:lnTo>
                  <a:lnTo>
                    <a:pt x="50" y="62"/>
                  </a:lnTo>
                  <a:lnTo>
                    <a:pt x="42" y="40"/>
                  </a:lnTo>
                  <a:lnTo>
                    <a:pt x="40" y="17"/>
                  </a:lnTo>
                  <a:lnTo>
                    <a:pt x="47" y="22"/>
                  </a:lnTo>
                  <a:lnTo>
                    <a:pt x="60" y="30"/>
                  </a:lnTo>
                  <a:lnTo>
                    <a:pt x="77" y="25"/>
                  </a:lnTo>
                  <a:lnTo>
                    <a:pt x="87" y="32"/>
                  </a:lnTo>
                  <a:lnTo>
                    <a:pt x="107" y="25"/>
                  </a:lnTo>
                  <a:lnTo>
                    <a:pt x="117" y="20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94" y="15"/>
                  </a:lnTo>
                  <a:lnTo>
                    <a:pt x="55" y="10"/>
                  </a:lnTo>
                  <a:lnTo>
                    <a:pt x="30" y="12"/>
                  </a:lnTo>
                  <a:lnTo>
                    <a:pt x="27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6852390" y="3943442"/>
              <a:ext cx="142485" cy="125213"/>
            </a:xfrm>
            <a:custGeom>
              <a:avLst/>
              <a:gdLst>
                <a:gd name="T0" fmla="*/ 39 w 99"/>
                <a:gd name="T1" fmla="*/ 72 h 87"/>
                <a:gd name="T2" fmla="*/ 17 w 99"/>
                <a:gd name="T3" fmla="*/ 80 h 87"/>
                <a:gd name="T4" fmla="*/ 15 w 99"/>
                <a:gd name="T5" fmla="*/ 50 h 87"/>
                <a:gd name="T6" fmla="*/ 0 w 99"/>
                <a:gd name="T7" fmla="*/ 38 h 87"/>
                <a:gd name="T8" fmla="*/ 7 w 99"/>
                <a:gd name="T9" fmla="*/ 15 h 87"/>
                <a:gd name="T10" fmla="*/ 22 w 99"/>
                <a:gd name="T11" fmla="*/ 0 h 87"/>
                <a:gd name="T12" fmla="*/ 39 w 99"/>
                <a:gd name="T13" fmla="*/ 10 h 87"/>
                <a:gd name="T14" fmla="*/ 59 w 99"/>
                <a:gd name="T15" fmla="*/ 8 h 87"/>
                <a:gd name="T16" fmla="*/ 72 w 99"/>
                <a:gd name="T17" fmla="*/ 20 h 87"/>
                <a:gd name="T18" fmla="*/ 89 w 99"/>
                <a:gd name="T19" fmla="*/ 8 h 87"/>
                <a:gd name="T20" fmla="*/ 97 w 99"/>
                <a:gd name="T21" fmla="*/ 13 h 87"/>
                <a:gd name="T22" fmla="*/ 99 w 99"/>
                <a:gd name="T23" fmla="*/ 47 h 87"/>
                <a:gd name="T24" fmla="*/ 87 w 99"/>
                <a:gd name="T25" fmla="*/ 55 h 87"/>
                <a:gd name="T26" fmla="*/ 69 w 99"/>
                <a:gd name="T27" fmla="*/ 72 h 87"/>
                <a:gd name="T28" fmla="*/ 52 w 99"/>
                <a:gd name="T29" fmla="*/ 87 h 87"/>
                <a:gd name="T30" fmla="*/ 39 w 99"/>
                <a:gd name="T31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87">
                  <a:moveTo>
                    <a:pt x="39" y="72"/>
                  </a:moveTo>
                  <a:lnTo>
                    <a:pt x="17" y="80"/>
                  </a:lnTo>
                  <a:lnTo>
                    <a:pt x="15" y="50"/>
                  </a:lnTo>
                  <a:lnTo>
                    <a:pt x="0" y="38"/>
                  </a:lnTo>
                  <a:lnTo>
                    <a:pt x="7" y="15"/>
                  </a:lnTo>
                  <a:lnTo>
                    <a:pt x="22" y="0"/>
                  </a:lnTo>
                  <a:lnTo>
                    <a:pt x="39" y="10"/>
                  </a:lnTo>
                  <a:lnTo>
                    <a:pt x="59" y="8"/>
                  </a:lnTo>
                  <a:lnTo>
                    <a:pt x="72" y="20"/>
                  </a:lnTo>
                  <a:lnTo>
                    <a:pt x="89" y="8"/>
                  </a:lnTo>
                  <a:lnTo>
                    <a:pt x="97" y="13"/>
                  </a:lnTo>
                  <a:lnTo>
                    <a:pt x="99" y="47"/>
                  </a:lnTo>
                  <a:lnTo>
                    <a:pt x="87" y="55"/>
                  </a:lnTo>
                  <a:lnTo>
                    <a:pt x="69" y="72"/>
                  </a:lnTo>
                  <a:lnTo>
                    <a:pt x="52" y="87"/>
                  </a:lnTo>
                  <a:lnTo>
                    <a:pt x="39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2" name="Freeform 160"/>
            <p:cNvSpPr>
              <a:spLocks/>
            </p:cNvSpPr>
            <p:nvPr/>
          </p:nvSpPr>
          <p:spPr bwMode="auto">
            <a:xfrm>
              <a:off x="6794821" y="3707407"/>
              <a:ext cx="185662" cy="264819"/>
            </a:xfrm>
            <a:custGeom>
              <a:avLst/>
              <a:gdLst>
                <a:gd name="T0" fmla="*/ 0 w 129"/>
                <a:gd name="T1" fmla="*/ 28 h 184"/>
                <a:gd name="T2" fmla="*/ 2 w 129"/>
                <a:gd name="T3" fmla="*/ 42 h 184"/>
                <a:gd name="T4" fmla="*/ 7 w 129"/>
                <a:gd name="T5" fmla="*/ 62 h 184"/>
                <a:gd name="T6" fmla="*/ 15 w 129"/>
                <a:gd name="T7" fmla="*/ 70 h 184"/>
                <a:gd name="T8" fmla="*/ 27 w 129"/>
                <a:gd name="T9" fmla="*/ 75 h 184"/>
                <a:gd name="T10" fmla="*/ 47 w 129"/>
                <a:gd name="T11" fmla="*/ 100 h 184"/>
                <a:gd name="T12" fmla="*/ 60 w 129"/>
                <a:gd name="T13" fmla="*/ 87 h 184"/>
                <a:gd name="T14" fmla="*/ 74 w 129"/>
                <a:gd name="T15" fmla="*/ 102 h 184"/>
                <a:gd name="T16" fmla="*/ 84 w 129"/>
                <a:gd name="T17" fmla="*/ 127 h 184"/>
                <a:gd name="T18" fmla="*/ 89 w 129"/>
                <a:gd name="T19" fmla="*/ 139 h 184"/>
                <a:gd name="T20" fmla="*/ 99 w 129"/>
                <a:gd name="T21" fmla="*/ 142 h 184"/>
                <a:gd name="T22" fmla="*/ 99 w 129"/>
                <a:gd name="T23" fmla="*/ 172 h 184"/>
                <a:gd name="T24" fmla="*/ 112 w 129"/>
                <a:gd name="T25" fmla="*/ 184 h 184"/>
                <a:gd name="T26" fmla="*/ 129 w 129"/>
                <a:gd name="T27" fmla="*/ 172 h 184"/>
                <a:gd name="T28" fmla="*/ 129 w 129"/>
                <a:gd name="T29" fmla="*/ 134 h 184"/>
                <a:gd name="T30" fmla="*/ 114 w 129"/>
                <a:gd name="T31" fmla="*/ 124 h 184"/>
                <a:gd name="T32" fmla="*/ 87 w 129"/>
                <a:gd name="T33" fmla="*/ 85 h 184"/>
                <a:gd name="T34" fmla="*/ 74 w 129"/>
                <a:gd name="T35" fmla="*/ 70 h 184"/>
                <a:gd name="T36" fmla="*/ 79 w 129"/>
                <a:gd name="T37" fmla="*/ 50 h 184"/>
                <a:gd name="T38" fmla="*/ 77 w 129"/>
                <a:gd name="T39" fmla="*/ 37 h 184"/>
                <a:gd name="T40" fmla="*/ 45 w 129"/>
                <a:gd name="T41" fmla="*/ 28 h 184"/>
                <a:gd name="T42" fmla="*/ 35 w 129"/>
                <a:gd name="T43" fmla="*/ 0 h 184"/>
                <a:gd name="T44" fmla="*/ 20 w 129"/>
                <a:gd name="T45" fmla="*/ 8 h 184"/>
                <a:gd name="T46" fmla="*/ 22 w 129"/>
                <a:gd name="T47" fmla="*/ 25 h 184"/>
                <a:gd name="T48" fmla="*/ 0 w 129"/>
                <a:gd name="T49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84">
                  <a:moveTo>
                    <a:pt x="0" y="28"/>
                  </a:moveTo>
                  <a:lnTo>
                    <a:pt x="2" y="42"/>
                  </a:lnTo>
                  <a:lnTo>
                    <a:pt x="7" y="62"/>
                  </a:lnTo>
                  <a:lnTo>
                    <a:pt x="15" y="70"/>
                  </a:lnTo>
                  <a:lnTo>
                    <a:pt x="27" y="75"/>
                  </a:lnTo>
                  <a:lnTo>
                    <a:pt x="47" y="100"/>
                  </a:lnTo>
                  <a:lnTo>
                    <a:pt x="60" y="87"/>
                  </a:lnTo>
                  <a:lnTo>
                    <a:pt x="74" y="102"/>
                  </a:lnTo>
                  <a:lnTo>
                    <a:pt x="84" y="127"/>
                  </a:lnTo>
                  <a:lnTo>
                    <a:pt x="89" y="139"/>
                  </a:lnTo>
                  <a:lnTo>
                    <a:pt x="99" y="142"/>
                  </a:lnTo>
                  <a:lnTo>
                    <a:pt x="99" y="172"/>
                  </a:lnTo>
                  <a:lnTo>
                    <a:pt x="112" y="184"/>
                  </a:lnTo>
                  <a:lnTo>
                    <a:pt x="129" y="172"/>
                  </a:lnTo>
                  <a:lnTo>
                    <a:pt x="129" y="134"/>
                  </a:lnTo>
                  <a:lnTo>
                    <a:pt x="114" y="124"/>
                  </a:lnTo>
                  <a:lnTo>
                    <a:pt x="87" y="85"/>
                  </a:lnTo>
                  <a:lnTo>
                    <a:pt x="74" y="70"/>
                  </a:lnTo>
                  <a:lnTo>
                    <a:pt x="79" y="50"/>
                  </a:lnTo>
                  <a:lnTo>
                    <a:pt x="77" y="37"/>
                  </a:lnTo>
                  <a:lnTo>
                    <a:pt x="45" y="28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22" y="25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3" name="Freeform 161"/>
            <p:cNvSpPr>
              <a:spLocks/>
            </p:cNvSpPr>
            <p:nvPr/>
          </p:nvSpPr>
          <p:spPr bwMode="auto">
            <a:xfrm>
              <a:off x="6845195" y="3685818"/>
              <a:ext cx="192858" cy="440406"/>
            </a:xfrm>
            <a:custGeom>
              <a:avLst/>
              <a:gdLst>
                <a:gd name="T0" fmla="*/ 0 w 134"/>
                <a:gd name="T1" fmla="*/ 15 h 306"/>
                <a:gd name="T2" fmla="*/ 10 w 134"/>
                <a:gd name="T3" fmla="*/ 43 h 306"/>
                <a:gd name="T4" fmla="*/ 42 w 134"/>
                <a:gd name="T5" fmla="*/ 52 h 306"/>
                <a:gd name="T6" fmla="*/ 44 w 134"/>
                <a:gd name="T7" fmla="*/ 65 h 306"/>
                <a:gd name="T8" fmla="*/ 39 w 134"/>
                <a:gd name="T9" fmla="*/ 85 h 306"/>
                <a:gd name="T10" fmla="*/ 52 w 134"/>
                <a:gd name="T11" fmla="*/ 100 h 306"/>
                <a:gd name="T12" fmla="*/ 79 w 134"/>
                <a:gd name="T13" fmla="*/ 139 h 306"/>
                <a:gd name="T14" fmla="*/ 94 w 134"/>
                <a:gd name="T15" fmla="*/ 149 h 306"/>
                <a:gd name="T16" fmla="*/ 94 w 134"/>
                <a:gd name="T17" fmla="*/ 187 h 306"/>
                <a:gd name="T18" fmla="*/ 102 w 134"/>
                <a:gd name="T19" fmla="*/ 192 h 306"/>
                <a:gd name="T20" fmla="*/ 104 w 134"/>
                <a:gd name="T21" fmla="*/ 226 h 306"/>
                <a:gd name="T22" fmla="*/ 92 w 134"/>
                <a:gd name="T23" fmla="*/ 234 h 306"/>
                <a:gd name="T24" fmla="*/ 74 w 134"/>
                <a:gd name="T25" fmla="*/ 251 h 306"/>
                <a:gd name="T26" fmla="*/ 57 w 134"/>
                <a:gd name="T27" fmla="*/ 266 h 306"/>
                <a:gd name="T28" fmla="*/ 64 w 134"/>
                <a:gd name="T29" fmla="*/ 276 h 306"/>
                <a:gd name="T30" fmla="*/ 57 w 134"/>
                <a:gd name="T31" fmla="*/ 289 h 306"/>
                <a:gd name="T32" fmla="*/ 62 w 134"/>
                <a:gd name="T33" fmla="*/ 306 h 306"/>
                <a:gd name="T34" fmla="*/ 94 w 134"/>
                <a:gd name="T35" fmla="*/ 281 h 306"/>
                <a:gd name="T36" fmla="*/ 122 w 134"/>
                <a:gd name="T37" fmla="*/ 259 h 306"/>
                <a:gd name="T38" fmla="*/ 129 w 134"/>
                <a:gd name="T39" fmla="*/ 246 h 306"/>
                <a:gd name="T40" fmla="*/ 134 w 134"/>
                <a:gd name="T41" fmla="*/ 202 h 306"/>
                <a:gd name="T42" fmla="*/ 126 w 134"/>
                <a:gd name="T43" fmla="*/ 162 h 306"/>
                <a:gd name="T44" fmla="*/ 99 w 134"/>
                <a:gd name="T45" fmla="*/ 135 h 306"/>
                <a:gd name="T46" fmla="*/ 69 w 134"/>
                <a:gd name="T47" fmla="*/ 97 h 306"/>
                <a:gd name="T48" fmla="*/ 69 w 134"/>
                <a:gd name="T49" fmla="*/ 72 h 306"/>
                <a:gd name="T50" fmla="*/ 77 w 134"/>
                <a:gd name="T51" fmla="*/ 62 h 306"/>
                <a:gd name="T52" fmla="*/ 99 w 134"/>
                <a:gd name="T53" fmla="*/ 48 h 306"/>
                <a:gd name="T54" fmla="*/ 72 w 134"/>
                <a:gd name="T55" fmla="*/ 8 h 306"/>
                <a:gd name="T56" fmla="*/ 44 w 134"/>
                <a:gd name="T57" fmla="*/ 0 h 306"/>
                <a:gd name="T58" fmla="*/ 27 w 134"/>
                <a:gd name="T59" fmla="*/ 0 h 306"/>
                <a:gd name="T60" fmla="*/ 0 w 134"/>
                <a:gd name="T61" fmla="*/ 1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4" h="306">
                  <a:moveTo>
                    <a:pt x="0" y="15"/>
                  </a:moveTo>
                  <a:lnTo>
                    <a:pt x="10" y="43"/>
                  </a:lnTo>
                  <a:lnTo>
                    <a:pt x="42" y="52"/>
                  </a:lnTo>
                  <a:lnTo>
                    <a:pt x="44" y="65"/>
                  </a:lnTo>
                  <a:lnTo>
                    <a:pt x="39" y="85"/>
                  </a:lnTo>
                  <a:lnTo>
                    <a:pt x="52" y="100"/>
                  </a:lnTo>
                  <a:lnTo>
                    <a:pt x="79" y="139"/>
                  </a:lnTo>
                  <a:lnTo>
                    <a:pt x="94" y="149"/>
                  </a:lnTo>
                  <a:lnTo>
                    <a:pt x="94" y="187"/>
                  </a:lnTo>
                  <a:lnTo>
                    <a:pt x="102" y="192"/>
                  </a:lnTo>
                  <a:lnTo>
                    <a:pt x="104" y="226"/>
                  </a:lnTo>
                  <a:lnTo>
                    <a:pt x="92" y="234"/>
                  </a:lnTo>
                  <a:lnTo>
                    <a:pt x="74" y="251"/>
                  </a:lnTo>
                  <a:lnTo>
                    <a:pt x="57" y="266"/>
                  </a:lnTo>
                  <a:lnTo>
                    <a:pt x="64" y="276"/>
                  </a:lnTo>
                  <a:lnTo>
                    <a:pt x="57" y="289"/>
                  </a:lnTo>
                  <a:lnTo>
                    <a:pt x="62" y="306"/>
                  </a:lnTo>
                  <a:lnTo>
                    <a:pt x="94" y="281"/>
                  </a:lnTo>
                  <a:lnTo>
                    <a:pt x="122" y="259"/>
                  </a:lnTo>
                  <a:lnTo>
                    <a:pt x="129" y="246"/>
                  </a:lnTo>
                  <a:lnTo>
                    <a:pt x="134" y="202"/>
                  </a:lnTo>
                  <a:lnTo>
                    <a:pt x="126" y="162"/>
                  </a:lnTo>
                  <a:lnTo>
                    <a:pt x="99" y="135"/>
                  </a:lnTo>
                  <a:lnTo>
                    <a:pt x="69" y="97"/>
                  </a:lnTo>
                  <a:lnTo>
                    <a:pt x="69" y="72"/>
                  </a:lnTo>
                  <a:lnTo>
                    <a:pt x="77" y="62"/>
                  </a:lnTo>
                  <a:lnTo>
                    <a:pt x="99" y="48"/>
                  </a:lnTo>
                  <a:lnTo>
                    <a:pt x="72" y="8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4" name="Freeform 162"/>
            <p:cNvSpPr>
              <a:spLocks/>
            </p:cNvSpPr>
            <p:nvPr/>
          </p:nvSpPr>
          <p:spPr bwMode="auto">
            <a:xfrm>
              <a:off x="7674194" y="4408314"/>
              <a:ext cx="250427" cy="225960"/>
            </a:xfrm>
            <a:custGeom>
              <a:avLst/>
              <a:gdLst>
                <a:gd name="T0" fmla="*/ 155 w 174"/>
                <a:gd name="T1" fmla="*/ 30 h 157"/>
                <a:gd name="T2" fmla="*/ 135 w 174"/>
                <a:gd name="T3" fmla="*/ 23 h 157"/>
                <a:gd name="T4" fmla="*/ 97 w 174"/>
                <a:gd name="T5" fmla="*/ 8 h 157"/>
                <a:gd name="T6" fmla="*/ 87 w 174"/>
                <a:gd name="T7" fmla="*/ 0 h 157"/>
                <a:gd name="T8" fmla="*/ 68 w 174"/>
                <a:gd name="T9" fmla="*/ 5 h 157"/>
                <a:gd name="T10" fmla="*/ 48 w 174"/>
                <a:gd name="T11" fmla="*/ 25 h 157"/>
                <a:gd name="T12" fmla="*/ 28 w 174"/>
                <a:gd name="T13" fmla="*/ 38 h 157"/>
                <a:gd name="T14" fmla="*/ 8 w 174"/>
                <a:gd name="T15" fmla="*/ 40 h 157"/>
                <a:gd name="T16" fmla="*/ 0 w 174"/>
                <a:gd name="T17" fmla="*/ 43 h 157"/>
                <a:gd name="T18" fmla="*/ 8 w 174"/>
                <a:gd name="T19" fmla="*/ 58 h 157"/>
                <a:gd name="T20" fmla="*/ 25 w 174"/>
                <a:gd name="T21" fmla="*/ 55 h 157"/>
                <a:gd name="T22" fmla="*/ 50 w 174"/>
                <a:gd name="T23" fmla="*/ 68 h 157"/>
                <a:gd name="T24" fmla="*/ 68 w 174"/>
                <a:gd name="T25" fmla="*/ 77 h 157"/>
                <a:gd name="T26" fmla="*/ 85 w 174"/>
                <a:gd name="T27" fmla="*/ 95 h 157"/>
                <a:gd name="T28" fmla="*/ 85 w 174"/>
                <a:gd name="T29" fmla="*/ 115 h 157"/>
                <a:gd name="T30" fmla="*/ 80 w 174"/>
                <a:gd name="T31" fmla="*/ 122 h 157"/>
                <a:gd name="T32" fmla="*/ 65 w 174"/>
                <a:gd name="T33" fmla="*/ 130 h 157"/>
                <a:gd name="T34" fmla="*/ 68 w 174"/>
                <a:gd name="T35" fmla="*/ 145 h 157"/>
                <a:gd name="T36" fmla="*/ 92 w 174"/>
                <a:gd name="T37" fmla="*/ 142 h 157"/>
                <a:gd name="T38" fmla="*/ 115 w 174"/>
                <a:gd name="T39" fmla="*/ 142 h 157"/>
                <a:gd name="T40" fmla="*/ 122 w 174"/>
                <a:gd name="T41" fmla="*/ 152 h 157"/>
                <a:gd name="T42" fmla="*/ 137 w 174"/>
                <a:gd name="T43" fmla="*/ 157 h 157"/>
                <a:gd name="T44" fmla="*/ 157 w 174"/>
                <a:gd name="T45" fmla="*/ 150 h 157"/>
                <a:gd name="T46" fmla="*/ 167 w 174"/>
                <a:gd name="T47" fmla="*/ 135 h 157"/>
                <a:gd name="T48" fmla="*/ 174 w 174"/>
                <a:gd name="T49" fmla="*/ 120 h 157"/>
                <a:gd name="T50" fmla="*/ 155 w 174"/>
                <a:gd name="T51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4" h="157">
                  <a:moveTo>
                    <a:pt x="155" y="30"/>
                  </a:moveTo>
                  <a:lnTo>
                    <a:pt x="135" y="23"/>
                  </a:lnTo>
                  <a:lnTo>
                    <a:pt x="97" y="8"/>
                  </a:lnTo>
                  <a:lnTo>
                    <a:pt x="87" y="0"/>
                  </a:lnTo>
                  <a:lnTo>
                    <a:pt x="68" y="5"/>
                  </a:lnTo>
                  <a:lnTo>
                    <a:pt x="48" y="25"/>
                  </a:lnTo>
                  <a:lnTo>
                    <a:pt x="28" y="38"/>
                  </a:lnTo>
                  <a:lnTo>
                    <a:pt x="8" y="40"/>
                  </a:lnTo>
                  <a:lnTo>
                    <a:pt x="0" y="43"/>
                  </a:lnTo>
                  <a:lnTo>
                    <a:pt x="8" y="58"/>
                  </a:lnTo>
                  <a:lnTo>
                    <a:pt x="25" y="55"/>
                  </a:lnTo>
                  <a:lnTo>
                    <a:pt x="50" y="68"/>
                  </a:lnTo>
                  <a:lnTo>
                    <a:pt x="68" y="77"/>
                  </a:lnTo>
                  <a:lnTo>
                    <a:pt x="85" y="95"/>
                  </a:lnTo>
                  <a:lnTo>
                    <a:pt x="85" y="115"/>
                  </a:lnTo>
                  <a:lnTo>
                    <a:pt x="80" y="122"/>
                  </a:lnTo>
                  <a:lnTo>
                    <a:pt x="65" y="130"/>
                  </a:lnTo>
                  <a:lnTo>
                    <a:pt x="68" y="145"/>
                  </a:lnTo>
                  <a:lnTo>
                    <a:pt x="92" y="142"/>
                  </a:lnTo>
                  <a:lnTo>
                    <a:pt x="115" y="142"/>
                  </a:lnTo>
                  <a:lnTo>
                    <a:pt x="122" y="152"/>
                  </a:lnTo>
                  <a:lnTo>
                    <a:pt x="137" y="157"/>
                  </a:lnTo>
                  <a:lnTo>
                    <a:pt x="157" y="150"/>
                  </a:lnTo>
                  <a:lnTo>
                    <a:pt x="167" y="135"/>
                  </a:lnTo>
                  <a:lnTo>
                    <a:pt x="174" y="120"/>
                  </a:lnTo>
                  <a:lnTo>
                    <a:pt x="15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7507243" y="4283101"/>
              <a:ext cx="41737" cy="93550"/>
            </a:xfrm>
            <a:custGeom>
              <a:avLst/>
              <a:gdLst>
                <a:gd name="T0" fmla="*/ 15 w 29"/>
                <a:gd name="T1" fmla="*/ 28 h 65"/>
                <a:gd name="T2" fmla="*/ 0 w 29"/>
                <a:gd name="T3" fmla="*/ 35 h 65"/>
                <a:gd name="T4" fmla="*/ 5 w 29"/>
                <a:gd name="T5" fmla="*/ 53 h 65"/>
                <a:gd name="T6" fmla="*/ 22 w 29"/>
                <a:gd name="T7" fmla="*/ 65 h 65"/>
                <a:gd name="T8" fmla="*/ 27 w 29"/>
                <a:gd name="T9" fmla="*/ 40 h 65"/>
                <a:gd name="T10" fmla="*/ 29 w 29"/>
                <a:gd name="T11" fmla="*/ 18 h 65"/>
                <a:gd name="T12" fmla="*/ 22 w 29"/>
                <a:gd name="T13" fmla="*/ 0 h 65"/>
                <a:gd name="T14" fmla="*/ 15 w 29"/>
                <a:gd name="T15" fmla="*/ 8 h 65"/>
                <a:gd name="T16" fmla="*/ 15 w 29"/>
                <a:gd name="T17" fmla="*/ 2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65">
                  <a:moveTo>
                    <a:pt x="15" y="28"/>
                  </a:moveTo>
                  <a:lnTo>
                    <a:pt x="0" y="35"/>
                  </a:lnTo>
                  <a:lnTo>
                    <a:pt x="5" y="53"/>
                  </a:lnTo>
                  <a:lnTo>
                    <a:pt x="22" y="65"/>
                  </a:lnTo>
                  <a:lnTo>
                    <a:pt x="27" y="40"/>
                  </a:lnTo>
                  <a:lnTo>
                    <a:pt x="29" y="18"/>
                  </a:lnTo>
                  <a:lnTo>
                    <a:pt x="22" y="0"/>
                  </a:lnTo>
                  <a:lnTo>
                    <a:pt x="15" y="8"/>
                  </a:lnTo>
                  <a:lnTo>
                    <a:pt x="15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7538906" y="4441417"/>
              <a:ext cx="64765" cy="31663"/>
            </a:xfrm>
            <a:custGeom>
              <a:avLst/>
              <a:gdLst>
                <a:gd name="T0" fmla="*/ 5 w 45"/>
                <a:gd name="T1" fmla="*/ 5 h 22"/>
                <a:gd name="T2" fmla="*/ 22 w 45"/>
                <a:gd name="T3" fmla="*/ 0 h 22"/>
                <a:gd name="T4" fmla="*/ 35 w 45"/>
                <a:gd name="T5" fmla="*/ 0 h 22"/>
                <a:gd name="T6" fmla="*/ 42 w 45"/>
                <a:gd name="T7" fmla="*/ 12 h 22"/>
                <a:gd name="T8" fmla="*/ 45 w 45"/>
                <a:gd name="T9" fmla="*/ 22 h 22"/>
                <a:gd name="T10" fmla="*/ 30 w 45"/>
                <a:gd name="T11" fmla="*/ 15 h 22"/>
                <a:gd name="T12" fmla="*/ 17 w 45"/>
                <a:gd name="T13" fmla="*/ 12 h 22"/>
                <a:gd name="T14" fmla="*/ 0 w 45"/>
                <a:gd name="T15" fmla="*/ 15 h 22"/>
                <a:gd name="T16" fmla="*/ 5 w 45"/>
                <a:gd name="T1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2">
                  <a:moveTo>
                    <a:pt x="5" y="5"/>
                  </a:moveTo>
                  <a:lnTo>
                    <a:pt x="22" y="0"/>
                  </a:lnTo>
                  <a:lnTo>
                    <a:pt x="35" y="0"/>
                  </a:lnTo>
                  <a:lnTo>
                    <a:pt x="42" y="12"/>
                  </a:lnTo>
                  <a:lnTo>
                    <a:pt x="45" y="22"/>
                  </a:lnTo>
                  <a:lnTo>
                    <a:pt x="30" y="15"/>
                  </a:lnTo>
                  <a:lnTo>
                    <a:pt x="17" y="12"/>
                  </a:lnTo>
                  <a:lnTo>
                    <a:pt x="0" y="1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7" name="Freeform 165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20 w 35"/>
                <a:gd name="T21" fmla="*/ 8 h 8"/>
                <a:gd name="T22" fmla="*/ 18 w 35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20" y="8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18 w 35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7685708" y="4386726"/>
              <a:ext cx="64765" cy="43177"/>
            </a:xfrm>
            <a:custGeom>
              <a:avLst/>
              <a:gdLst>
                <a:gd name="T0" fmla="*/ 17 w 45"/>
                <a:gd name="T1" fmla="*/ 30 h 30"/>
                <a:gd name="T2" fmla="*/ 0 w 45"/>
                <a:gd name="T3" fmla="*/ 30 h 30"/>
                <a:gd name="T4" fmla="*/ 5 w 45"/>
                <a:gd name="T5" fmla="*/ 15 h 30"/>
                <a:gd name="T6" fmla="*/ 12 w 45"/>
                <a:gd name="T7" fmla="*/ 0 h 30"/>
                <a:gd name="T8" fmla="*/ 30 w 45"/>
                <a:gd name="T9" fmla="*/ 5 h 30"/>
                <a:gd name="T10" fmla="*/ 45 w 45"/>
                <a:gd name="T11" fmla="*/ 8 h 30"/>
                <a:gd name="T12" fmla="*/ 40 w 45"/>
                <a:gd name="T13" fmla="*/ 20 h 30"/>
                <a:gd name="T14" fmla="*/ 30 w 45"/>
                <a:gd name="T15" fmla="*/ 30 h 30"/>
                <a:gd name="T16" fmla="*/ 17 w 4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0">
                  <a:moveTo>
                    <a:pt x="17" y="30"/>
                  </a:moveTo>
                  <a:lnTo>
                    <a:pt x="0" y="30"/>
                  </a:lnTo>
                  <a:lnTo>
                    <a:pt x="5" y="15"/>
                  </a:lnTo>
                  <a:lnTo>
                    <a:pt x="12" y="0"/>
                  </a:lnTo>
                  <a:lnTo>
                    <a:pt x="30" y="5"/>
                  </a:lnTo>
                  <a:lnTo>
                    <a:pt x="45" y="8"/>
                  </a:lnTo>
                  <a:lnTo>
                    <a:pt x="40" y="20"/>
                  </a:lnTo>
                  <a:lnTo>
                    <a:pt x="30" y="30"/>
                  </a:lnTo>
                  <a:lnTo>
                    <a:pt x="17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7009268" y="3779369"/>
              <a:ext cx="50373" cy="71962"/>
            </a:xfrm>
            <a:custGeom>
              <a:avLst/>
              <a:gdLst>
                <a:gd name="T0" fmla="*/ 12 w 35"/>
                <a:gd name="T1" fmla="*/ 10 h 50"/>
                <a:gd name="T2" fmla="*/ 0 w 35"/>
                <a:gd name="T3" fmla="*/ 27 h 50"/>
                <a:gd name="T4" fmla="*/ 3 w 35"/>
                <a:gd name="T5" fmla="*/ 50 h 50"/>
                <a:gd name="T6" fmla="*/ 17 w 35"/>
                <a:gd name="T7" fmla="*/ 50 h 50"/>
                <a:gd name="T8" fmla="*/ 35 w 35"/>
                <a:gd name="T9" fmla="*/ 30 h 50"/>
                <a:gd name="T10" fmla="*/ 22 w 35"/>
                <a:gd name="T11" fmla="*/ 0 h 50"/>
                <a:gd name="T12" fmla="*/ 12 w 35"/>
                <a:gd name="T13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50">
                  <a:moveTo>
                    <a:pt x="12" y="10"/>
                  </a:moveTo>
                  <a:lnTo>
                    <a:pt x="0" y="27"/>
                  </a:lnTo>
                  <a:lnTo>
                    <a:pt x="3" y="50"/>
                  </a:lnTo>
                  <a:lnTo>
                    <a:pt x="17" y="50"/>
                  </a:lnTo>
                  <a:lnTo>
                    <a:pt x="35" y="30"/>
                  </a:lnTo>
                  <a:lnTo>
                    <a:pt x="22" y="0"/>
                  </a:lnTo>
                  <a:lnTo>
                    <a:pt x="1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7199247" y="4190990"/>
              <a:ext cx="28785" cy="38859"/>
            </a:xfrm>
            <a:custGeom>
              <a:avLst/>
              <a:gdLst>
                <a:gd name="T0" fmla="*/ 17 w 20"/>
                <a:gd name="T1" fmla="*/ 0 h 27"/>
                <a:gd name="T2" fmla="*/ 5 w 20"/>
                <a:gd name="T3" fmla="*/ 7 h 27"/>
                <a:gd name="T4" fmla="*/ 0 w 20"/>
                <a:gd name="T5" fmla="*/ 27 h 27"/>
                <a:gd name="T6" fmla="*/ 15 w 20"/>
                <a:gd name="T7" fmla="*/ 20 h 27"/>
                <a:gd name="T8" fmla="*/ 20 w 20"/>
                <a:gd name="T9" fmla="*/ 7 h 27"/>
                <a:gd name="T10" fmla="*/ 17 w 2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7">
                  <a:moveTo>
                    <a:pt x="17" y="0"/>
                  </a:moveTo>
                  <a:lnTo>
                    <a:pt x="5" y="7"/>
                  </a:lnTo>
                  <a:lnTo>
                    <a:pt x="0" y="27"/>
                  </a:lnTo>
                  <a:lnTo>
                    <a:pt x="15" y="20"/>
                  </a:lnTo>
                  <a:lnTo>
                    <a:pt x="20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5345511" y="3160498"/>
              <a:ext cx="505171" cy="461994"/>
            </a:xfrm>
            <a:custGeom>
              <a:avLst/>
              <a:gdLst>
                <a:gd name="T0" fmla="*/ 0 w 351"/>
                <a:gd name="T1" fmla="*/ 7 h 321"/>
                <a:gd name="T2" fmla="*/ 17 w 351"/>
                <a:gd name="T3" fmla="*/ 55 h 321"/>
                <a:gd name="T4" fmla="*/ 25 w 351"/>
                <a:gd name="T5" fmla="*/ 92 h 321"/>
                <a:gd name="T6" fmla="*/ 40 w 351"/>
                <a:gd name="T7" fmla="*/ 112 h 321"/>
                <a:gd name="T8" fmla="*/ 27 w 351"/>
                <a:gd name="T9" fmla="*/ 139 h 321"/>
                <a:gd name="T10" fmla="*/ 47 w 351"/>
                <a:gd name="T11" fmla="*/ 164 h 321"/>
                <a:gd name="T12" fmla="*/ 72 w 351"/>
                <a:gd name="T13" fmla="*/ 164 h 321"/>
                <a:gd name="T14" fmla="*/ 70 w 351"/>
                <a:gd name="T15" fmla="*/ 196 h 321"/>
                <a:gd name="T16" fmla="*/ 82 w 351"/>
                <a:gd name="T17" fmla="*/ 216 h 321"/>
                <a:gd name="T18" fmla="*/ 107 w 351"/>
                <a:gd name="T19" fmla="*/ 221 h 321"/>
                <a:gd name="T20" fmla="*/ 117 w 351"/>
                <a:gd name="T21" fmla="*/ 231 h 321"/>
                <a:gd name="T22" fmla="*/ 137 w 351"/>
                <a:gd name="T23" fmla="*/ 261 h 321"/>
                <a:gd name="T24" fmla="*/ 152 w 351"/>
                <a:gd name="T25" fmla="*/ 273 h 321"/>
                <a:gd name="T26" fmla="*/ 214 w 351"/>
                <a:gd name="T27" fmla="*/ 288 h 321"/>
                <a:gd name="T28" fmla="*/ 234 w 351"/>
                <a:gd name="T29" fmla="*/ 281 h 321"/>
                <a:gd name="T30" fmla="*/ 259 w 351"/>
                <a:gd name="T31" fmla="*/ 321 h 321"/>
                <a:gd name="T32" fmla="*/ 323 w 351"/>
                <a:gd name="T33" fmla="*/ 321 h 321"/>
                <a:gd name="T34" fmla="*/ 341 w 351"/>
                <a:gd name="T35" fmla="*/ 298 h 321"/>
                <a:gd name="T36" fmla="*/ 346 w 351"/>
                <a:gd name="T37" fmla="*/ 273 h 321"/>
                <a:gd name="T38" fmla="*/ 326 w 351"/>
                <a:gd name="T39" fmla="*/ 253 h 321"/>
                <a:gd name="T40" fmla="*/ 308 w 351"/>
                <a:gd name="T41" fmla="*/ 226 h 321"/>
                <a:gd name="T42" fmla="*/ 311 w 351"/>
                <a:gd name="T43" fmla="*/ 194 h 321"/>
                <a:gd name="T44" fmla="*/ 293 w 351"/>
                <a:gd name="T45" fmla="*/ 149 h 321"/>
                <a:gd name="T46" fmla="*/ 296 w 351"/>
                <a:gd name="T47" fmla="*/ 82 h 321"/>
                <a:gd name="T48" fmla="*/ 244 w 351"/>
                <a:gd name="T49" fmla="*/ 50 h 321"/>
                <a:gd name="T50" fmla="*/ 191 w 351"/>
                <a:gd name="T51" fmla="*/ 42 h 321"/>
                <a:gd name="T52" fmla="*/ 167 w 351"/>
                <a:gd name="T53" fmla="*/ 64 h 321"/>
                <a:gd name="T54" fmla="*/ 139 w 351"/>
                <a:gd name="T55" fmla="*/ 82 h 321"/>
                <a:gd name="T56" fmla="*/ 97 w 351"/>
                <a:gd name="T57" fmla="*/ 62 h 321"/>
                <a:gd name="T58" fmla="*/ 75 w 351"/>
                <a:gd name="T59" fmla="*/ 27 h 321"/>
                <a:gd name="T60" fmla="*/ 57 w 351"/>
                <a:gd name="T61" fmla="*/ 10 h 321"/>
                <a:gd name="T62" fmla="*/ 30 w 351"/>
                <a:gd name="T63" fmla="*/ 25 h 321"/>
                <a:gd name="T64" fmla="*/ 8 w 351"/>
                <a:gd name="T65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1" h="321">
                  <a:moveTo>
                    <a:pt x="8" y="0"/>
                  </a:moveTo>
                  <a:lnTo>
                    <a:pt x="0" y="7"/>
                  </a:lnTo>
                  <a:lnTo>
                    <a:pt x="8" y="30"/>
                  </a:lnTo>
                  <a:lnTo>
                    <a:pt x="17" y="55"/>
                  </a:lnTo>
                  <a:lnTo>
                    <a:pt x="22" y="77"/>
                  </a:lnTo>
                  <a:lnTo>
                    <a:pt x="25" y="92"/>
                  </a:lnTo>
                  <a:lnTo>
                    <a:pt x="42" y="94"/>
                  </a:lnTo>
                  <a:lnTo>
                    <a:pt x="40" y="112"/>
                  </a:lnTo>
                  <a:lnTo>
                    <a:pt x="27" y="122"/>
                  </a:lnTo>
                  <a:lnTo>
                    <a:pt x="27" y="139"/>
                  </a:lnTo>
                  <a:lnTo>
                    <a:pt x="45" y="147"/>
                  </a:lnTo>
                  <a:lnTo>
                    <a:pt x="47" y="164"/>
                  </a:lnTo>
                  <a:lnTo>
                    <a:pt x="60" y="166"/>
                  </a:lnTo>
                  <a:lnTo>
                    <a:pt x="72" y="164"/>
                  </a:lnTo>
                  <a:lnTo>
                    <a:pt x="75" y="179"/>
                  </a:lnTo>
                  <a:lnTo>
                    <a:pt x="70" y="196"/>
                  </a:lnTo>
                  <a:lnTo>
                    <a:pt x="80" y="201"/>
                  </a:lnTo>
                  <a:lnTo>
                    <a:pt x="82" y="216"/>
                  </a:lnTo>
                  <a:lnTo>
                    <a:pt x="90" y="224"/>
                  </a:lnTo>
                  <a:lnTo>
                    <a:pt x="107" y="221"/>
                  </a:lnTo>
                  <a:lnTo>
                    <a:pt x="109" y="214"/>
                  </a:lnTo>
                  <a:lnTo>
                    <a:pt x="117" y="231"/>
                  </a:lnTo>
                  <a:lnTo>
                    <a:pt x="122" y="256"/>
                  </a:lnTo>
                  <a:lnTo>
                    <a:pt x="137" y="261"/>
                  </a:lnTo>
                  <a:lnTo>
                    <a:pt x="137" y="271"/>
                  </a:lnTo>
                  <a:lnTo>
                    <a:pt x="152" y="273"/>
                  </a:lnTo>
                  <a:lnTo>
                    <a:pt x="159" y="286"/>
                  </a:lnTo>
                  <a:lnTo>
                    <a:pt x="214" y="288"/>
                  </a:lnTo>
                  <a:lnTo>
                    <a:pt x="221" y="276"/>
                  </a:lnTo>
                  <a:lnTo>
                    <a:pt x="234" y="281"/>
                  </a:lnTo>
                  <a:lnTo>
                    <a:pt x="239" y="308"/>
                  </a:lnTo>
                  <a:lnTo>
                    <a:pt x="259" y="321"/>
                  </a:lnTo>
                  <a:lnTo>
                    <a:pt x="311" y="318"/>
                  </a:lnTo>
                  <a:lnTo>
                    <a:pt x="323" y="321"/>
                  </a:lnTo>
                  <a:lnTo>
                    <a:pt x="326" y="303"/>
                  </a:lnTo>
                  <a:lnTo>
                    <a:pt x="341" y="298"/>
                  </a:lnTo>
                  <a:lnTo>
                    <a:pt x="351" y="286"/>
                  </a:lnTo>
                  <a:lnTo>
                    <a:pt x="346" y="273"/>
                  </a:lnTo>
                  <a:lnTo>
                    <a:pt x="331" y="273"/>
                  </a:lnTo>
                  <a:lnTo>
                    <a:pt x="326" y="253"/>
                  </a:lnTo>
                  <a:lnTo>
                    <a:pt x="306" y="243"/>
                  </a:lnTo>
                  <a:lnTo>
                    <a:pt x="308" y="226"/>
                  </a:lnTo>
                  <a:lnTo>
                    <a:pt x="318" y="214"/>
                  </a:lnTo>
                  <a:lnTo>
                    <a:pt x="311" y="194"/>
                  </a:lnTo>
                  <a:lnTo>
                    <a:pt x="291" y="194"/>
                  </a:lnTo>
                  <a:lnTo>
                    <a:pt x="293" y="149"/>
                  </a:lnTo>
                  <a:lnTo>
                    <a:pt x="291" y="122"/>
                  </a:lnTo>
                  <a:lnTo>
                    <a:pt x="296" y="82"/>
                  </a:lnTo>
                  <a:lnTo>
                    <a:pt x="271" y="69"/>
                  </a:lnTo>
                  <a:lnTo>
                    <a:pt x="244" y="50"/>
                  </a:lnTo>
                  <a:lnTo>
                    <a:pt x="224" y="47"/>
                  </a:lnTo>
                  <a:lnTo>
                    <a:pt x="191" y="42"/>
                  </a:lnTo>
                  <a:lnTo>
                    <a:pt x="184" y="57"/>
                  </a:lnTo>
                  <a:lnTo>
                    <a:pt x="167" y="64"/>
                  </a:lnTo>
                  <a:lnTo>
                    <a:pt x="149" y="72"/>
                  </a:lnTo>
                  <a:lnTo>
                    <a:pt x="139" y="82"/>
                  </a:lnTo>
                  <a:lnTo>
                    <a:pt x="117" y="77"/>
                  </a:lnTo>
                  <a:lnTo>
                    <a:pt x="97" y="62"/>
                  </a:lnTo>
                  <a:lnTo>
                    <a:pt x="80" y="50"/>
                  </a:lnTo>
                  <a:lnTo>
                    <a:pt x="75" y="27"/>
                  </a:lnTo>
                  <a:lnTo>
                    <a:pt x="67" y="5"/>
                  </a:lnTo>
                  <a:lnTo>
                    <a:pt x="57" y="10"/>
                  </a:lnTo>
                  <a:lnTo>
                    <a:pt x="52" y="25"/>
                  </a:lnTo>
                  <a:lnTo>
                    <a:pt x="30" y="25"/>
                  </a:lnTo>
                  <a:lnTo>
                    <a:pt x="22" y="1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3" name="Freeform 172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5 w 18"/>
                <a:gd name="T11" fmla="*/ 32 h 32"/>
                <a:gd name="T12" fmla="*/ 13 w 18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5" y="32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4" name="Freeform 173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3 w 18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5" name="Freeform 174"/>
            <p:cNvSpPr>
              <a:spLocks/>
            </p:cNvSpPr>
            <p:nvPr/>
          </p:nvSpPr>
          <p:spPr bwMode="auto">
            <a:xfrm>
              <a:off x="5571471" y="3639763"/>
              <a:ext cx="192858" cy="246110"/>
            </a:xfrm>
            <a:custGeom>
              <a:avLst/>
              <a:gdLst>
                <a:gd name="T0" fmla="*/ 47 w 134"/>
                <a:gd name="T1" fmla="*/ 40 h 171"/>
                <a:gd name="T2" fmla="*/ 62 w 134"/>
                <a:gd name="T3" fmla="*/ 62 h 171"/>
                <a:gd name="T4" fmla="*/ 49 w 134"/>
                <a:gd name="T5" fmla="*/ 112 h 171"/>
                <a:gd name="T6" fmla="*/ 0 w 134"/>
                <a:gd name="T7" fmla="*/ 122 h 171"/>
                <a:gd name="T8" fmla="*/ 7 w 134"/>
                <a:gd name="T9" fmla="*/ 144 h 171"/>
                <a:gd name="T10" fmla="*/ 17 w 134"/>
                <a:gd name="T11" fmla="*/ 171 h 171"/>
                <a:gd name="T12" fmla="*/ 49 w 134"/>
                <a:gd name="T13" fmla="*/ 167 h 171"/>
                <a:gd name="T14" fmla="*/ 59 w 134"/>
                <a:gd name="T15" fmla="*/ 149 h 171"/>
                <a:gd name="T16" fmla="*/ 74 w 134"/>
                <a:gd name="T17" fmla="*/ 144 h 171"/>
                <a:gd name="T18" fmla="*/ 84 w 134"/>
                <a:gd name="T19" fmla="*/ 134 h 171"/>
                <a:gd name="T20" fmla="*/ 104 w 134"/>
                <a:gd name="T21" fmla="*/ 129 h 171"/>
                <a:gd name="T22" fmla="*/ 107 w 134"/>
                <a:gd name="T23" fmla="*/ 94 h 171"/>
                <a:gd name="T24" fmla="*/ 114 w 134"/>
                <a:gd name="T25" fmla="*/ 82 h 171"/>
                <a:gd name="T26" fmla="*/ 129 w 134"/>
                <a:gd name="T27" fmla="*/ 75 h 171"/>
                <a:gd name="T28" fmla="*/ 134 w 134"/>
                <a:gd name="T29" fmla="*/ 40 h 171"/>
                <a:gd name="T30" fmla="*/ 117 w 134"/>
                <a:gd name="T31" fmla="*/ 37 h 171"/>
                <a:gd name="T32" fmla="*/ 117 w 134"/>
                <a:gd name="T33" fmla="*/ 20 h 171"/>
                <a:gd name="T34" fmla="*/ 84 w 134"/>
                <a:gd name="T35" fmla="*/ 15 h 171"/>
                <a:gd name="T36" fmla="*/ 72 w 134"/>
                <a:gd name="T37" fmla="*/ 0 h 171"/>
                <a:gd name="T38" fmla="*/ 47 w 134"/>
                <a:gd name="T39" fmla="*/ 4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4" h="171">
                  <a:moveTo>
                    <a:pt x="47" y="40"/>
                  </a:moveTo>
                  <a:lnTo>
                    <a:pt x="62" y="62"/>
                  </a:lnTo>
                  <a:lnTo>
                    <a:pt x="49" y="112"/>
                  </a:lnTo>
                  <a:lnTo>
                    <a:pt x="0" y="122"/>
                  </a:lnTo>
                  <a:lnTo>
                    <a:pt x="7" y="144"/>
                  </a:lnTo>
                  <a:lnTo>
                    <a:pt x="17" y="171"/>
                  </a:lnTo>
                  <a:lnTo>
                    <a:pt x="49" y="167"/>
                  </a:lnTo>
                  <a:lnTo>
                    <a:pt x="59" y="149"/>
                  </a:lnTo>
                  <a:lnTo>
                    <a:pt x="74" y="144"/>
                  </a:lnTo>
                  <a:lnTo>
                    <a:pt x="84" y="134"/>
                  </a:lnTo>
                  <a:lnTo>
                    <a:pt x="104" y="129"/>
                  </a:lnTo>
                  <a:lnTo>
                    <a:pt x="107" y="94"/>
                  </a:lnTo>
                  <a:lnTo>
                    <a:pt x="114" y="82"/>
                  </a:lnTo>
                  <a:lnTo>
                    <a:pt x="129" y="75"/>
                  </a:lnTo>
                  <a:lnTo>
                    <a:pt x="134" y="40"/>
                  </a:lnTo>
                  <a:lnTo>
                    <a:pt x="117" y="37"/>
                  </a:lnTo>
                  <a:lnTo>
                    <a:pt x="117" y="20"/>
                  </a:lnTo>
                  <a:lnTo>
                    <a:pt x="84" y="15"/>
                  </a:lnTo>
                  <a:lnTo>
                    <a:pt x="72" y="0"/>
                  </a:lnTo>
                  <a:lnTo>
                    <a:pt x="47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6" name="Freeform 175"/>
            <p:cNvSpPr>
              <a:spLocks/>
            </p:cNvSpPr>
            <p:nvPr/>
          </p:nvSpPr>
          <p:spPr bwMode="auto">
            <a:xfrm>
              <a:off x="5542686" y="3608099"/>
              <a:ext cx="132410" cy="89233"/>
            </a:xfrm>
            <a:custGeom>
              <a:avLst/>
              <a:gdLst>
                <a:gd name="T0" fmla="*/ 0 w 92"/>
                <a:gd name="T1" fmla="*/ 19 h 62"/>
                <a:gd name="T2" fmla="*/ 12 w 92"/>
                <a:gd name="T3" fmla="*/ 59 h 62"/>
                <a:gd name="T4" fmla="*/ 67 w 92"/>
                <a:gd name="T5" fmla="*/ 62 h 62"/>
                <a:gd name="T6" fmla="*/ 92 w 92"/>
                <a:gd name="T7" fmla="*/ 22 h 62"/>
                <a:gd name="T8" fmla="*/ 87 w 92"/>
                <a:gd name="T9" fmla="*/ 0 h 62"/>
                <a:gd name="T10" fmla="*/ 72 w 92"/>
                <a:gd name="T11" fmla="*/ 17 h 62"/>
                <a:gd name="T12" fmla="*/ 59 w 92"/>
                <a:gd name="T13" fmla="*/ 32 h 62"/>
                <a:gd name="T14" fmla="*/ 30 w 92"/>
                <a:gd name="T15" fmla="*/ 37 h 62"/>
                <a:gd name="T16" fmla="*/ 15 w 92"/>
                <a:gd name="T17" fmla="*/ 29 h 62"/>
                <a:gd name="T18" fmla="*/ 0 w 92"/>
                <a:gd name="T19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2">
                  <a:moveTo>
                    <a:pt x="0" y="19"/>
                  </a:moveTo>
                  <a:lnTo>
                    <a:pt x="12" y="59"/>
                  </a:lnTo>
                  <a:lnTo>
                    <a:pt x="67" y="62"/>
                  </a:lnTo>
                  <a:lnTo>
                    <a:pt x="92" y="22"/>
                  </a:lnTo>
                  <a:lnTo>
                    <a:pt x="87" y="0"/>
                  </a:lnTo>
                  <a:lnTo>
                    <a:pt x="72" y="17"/>
                  </a:lnTo>
                  <a:lnTo>
                    <a:pt x="59" y="32"/>
                  </a:lnTo>
                  <a:lnTo>
                    <a:pt x="30" y="37"/>
                  </a:lnTo>
                  <a:lnTo>
                    <a:pt x="15" y="2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7" name="Freeform 176"/>
            <p:cNvSpPr>
              <a:spLocks/>
            </p:cNvSpPr>
            <p:nvPr/>
          </p:nvSpPr>
          <p:spPr bwMode="auto">
            <a:xfrm>
              <a:off x="5213102" y="3249730"/>
              <a:ext cx="250427" cy="286407"/>
            </a:xfrm>
            <a:custGeom>
              <a:avLst/>
              <a:gdLst>
                <a:gd name="T0" fmla="*/ 134 w 174"/>
                <a:gd name="T1" fmla="*/ 199 h 199"/>
                <a:gd name="T2" fmla="*/ 124 w 174"/>
                <a:gd name="T3" fmla="*/ 191 h 199"/>
                <a:gd name="T4" fmla="*/ 105 w 174"/>
                <a:gd name="T5" fmla="*/ 179 h 199"/>
                <a:gd name="T6" fmla="*/ 87 w 174"/>
                <a:gd name="T7" fmla="*/ 152 h 199"/>
                <a:gd name="T8" fmla="*/ 75 w 174"/>
                <a:gd name="T9" fmla="*/ 147 h 199"/>
                <a:gd name="T10" fmla="*/ 62 w 174"/>
                <a:gd name="T11" fmla="*/ 127 h 199"/>
                <a:gd name="T12" fmla="*/ 42 w 174"/>
                <a:gd name="T13" fmla="*/ 129 h 199"/>
                <a:gd name="T14" fmla="*/ 30 w 174"/>
                <a:gd name="T15" fmla="*/ 119 h 199"/>
                <a:gd name="T16" fmla="*/ 17 w 174"/>
                <a:gd name="T17" fmla="*/ 109 h 199"/>
                <a:gd name="T18" fmla="*/ 10 w 174"/>
                <a:gd name="T19" fmla="*/ 112 h 199"/>
                <a:gd name="T20" fmla="*/ 0 w 174"/>
                <a:gd name="T21" fmla="*/ 94 h 199"/>
                <a:gd name="T22" fmla="*/ 17 w 174"/>
                <a:gd name="T23" fmla="*/ 82 h 199"/>
                <a:gd name="T24" fmla="*/ 42 w 174"/>
                <a:gd name="T25" fmla="*/ 67 h 199"/>
                <a:gd name="T26" fmla="*/ 45 w 174"/>
                <a:gd name="T27" fmla="*/ 50 h 199"/>
                <a:gd name="T28" fmla="*/ 45 w 174"/>
                <a:gd name="T29" fmla="*/ 27 h 199"/>
                <a:gd name="T30" fmla="*/ 57 w 174"/>
                <a:gd name="T31" fmla="*/ 17 h 199"/>
                <a:gd name="T32" fmla="*/ 70 w 174"/>
                <a:gd name="T33" fmla="*/ 5 h 199"/>
                <a:gd name="T34" fmla="*/ 85 w 174"/>
                <a:gd name="T35" fmla="*/ 0 h 199"/>
                <a:gd name="T36" fmla="*/ 92 w 174"/>
                <a:gd name="T37" fmla="*/ 12 h 199"/>
                <a:gd name="T38" fmla="*/ 114 w 174"/>
                <a:gd name="T39" fmla="*/ 15 h 199"/>
                <a:gd name="T40" fmla="*/ 117 w 174"/>
                <a:gd name="T41" fmla="*/ 30 h 199"/>
                <a:gd name="T42" fmla="*/ 134 w 174"/>
                <a:gd name="T43" fmla="*/ 32 h 199"/>
                <a:gd name="T44" fmla="*/ 132 w 174"/>
                <a:gd name="T45" fmla="*/ 50 h 199"/>
                <a:gd name="T46" fmla="*/ 119 w 174"/>
                <a:gd name="T47" fmla="*/ 60 h 199"/>
                <a:gd name="T48" fmla="*/ 119 w 174"/>
                <a:gd name="T49" fmla="*/ 77 h 199"/>
                <a:gd name="T50" fmla="*/ 137 w 174"/>
                <a:gd name="T51" fmla="*/ 85 h 199"/>
                <a:gd name="T52" fmla="*/ 139 w 174"/>
                <a:gd name="T53" fmla="*/ 102 h 199"/>
                <a:gd name="T54" fmla="*/ 152 w 174"/>
                <a:gd name="T55" fmla="*/ 104 h 199"/>
                <a:gd name="T56" fmla="*/ 164 w 174"/>
                <a:gd name="T57" fmla="*/ 102 h 199"/>
                <a:gd name="T58" fmla="*/ 167 w 174"/>
                <a:gd name="T59" fmla="*/ 117 h 199"/>
                <a:gd name="T60" fmla="*/ 162 w 174"/>
                <a:gd name="T61" fmla="*/ 134 h 199"/>
                <a:gd name="T62" fmla="*/ 172 w 174"/>
                <a:gd name="T63" fmla="*/ 139 h 199"/>
                <a:gd name="T64" fmla="*/ 174 w 174"/>
                <a:gd name="T65" fmla="*/ 154 h 199"/>
                <a:gd name="T66" fmla="*/ 159 w 174"/>
                <a:gd name="T67" fmla="*/ 159 h 199"/>
                <a:gd name="T68" fmla="*/ 149 w 174"/>
                <a:gd name="T69" fmla="*/ 162 h 199"/>
                <a:gd name="T70" fmla="*/ 147 w 174"/>
                <a:gd name="T71" fmla="*/ 189 h 199"/>
                <a:gd name="T72" fmla="*/ 134 w 174"/>
                <a:gd name="T7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4" h="199">
                  <a:moveTo>
                    <a:pt x="134" y="199"/>
                  </a:moveTo>
                  <a:lnTo>
                    <a:pt x="124" y="191"/>
                  </a:lnTo>
                  <a:lnTo>
                    <a:pt x="105" y="179"/>
                  </a:lnTo>
                  <a:lnTo>
                    <a:pt x="87" y="152"/>
                  </a:lnTo>
                  <a:lnTo>
                    <a:pt x="75" y="147"/>
                  </a:lnTo>
                  <a:lnTo>
                    <a:pt x="62" y="127"/>
                  </a:lnTo>
                  <a:lnTo>
                    <a:pt x="42" y="129"/>
                  </a:lnTo>
                  <a:lnTo>
                    <a:pt x="30" y="119"/>
                  </a:lnTo>
                  <a:lnTo>
                    <a:pt x="17" y="109"/>
                  </a:lnTo>
                  <a:lnTo>
                    <a:pt x="10" y="112"/>
                  </a:lnTo>
                  <a:lnTo>
                    <a:pt x="0" y="94"/>
                  </a:lnTo>
                  <a:lnTo>
                    <a:pt x="17" y="82"/>
                  </a:lnTo>
                  <a:lnTo>
                    <a:pt x="42" y="67"/>
                  </a:lnTo>
                  <a:lnTo>
                    <a:pt x="45" y="50"/>
                  </a:lnTo>
                  <a:lnTo>
                    <a:pt x="45" y="27"/>
                  </a:lnTo>
                  <a:lnTo>
                    <a:pt x="57" y="17"/>
                  </a:lnTo>
                  <a:lnTo>
                    <a:pt x="70" y="5"/>
                  </a:lnTo>
                  <a:lnTo>
                    <a:pt x="85" y="0"/>
                  </a:lnTo>
                  <a:lnTo>
                    <a:pt x="92" y="12"/>
                  </a:lnTo>
                  <a:lnTo>
                    <a:pt x="114" y="15"/>
                  </a:lnTo>
                  <a:lnTo>
                    <a:pt x="117" y="30"/>
                  </a:lnTo>
                  <a:lnTo>
                    <a:pt x="134" y="32"/>
                  </a:lnTo>
                  <a:lnTo>
                    <a:pt x="132" y="50"/>
                  </a:lnTo>
                  <a:lnTo>
                    <a:pt x="119" y="60"/>
                  </a:lnTo>
                  <a:lnTo>
                    <a:pt x="119" y="77"/>
                  </a:lnTo>
                  <a:lnTo>
                    <a:pt x="137" y="85"/>
                  </a:lnTo>
                  <a:lnTo>
                    <a:pt x="139" y="102"/>
                  </a:lnTo>
                  <a:lnTo>
                    <a:pt x="152" y="104"/>
                  </a:lnTo>
                  <a:lnTo>
                    <a:pt x="164" y="102"/>
                  </a:lnTo>
                  <a:lnTo>
                    <a:pt x="167" y="117"/>
                  </a:lnTo>
                  <a:lnTo>
                    <a:pt x="162" y="134"/>
                  </a:lnTo>
                  <a:lnTo>
                    <a:pt x="172" y="139"/>
                  </a:lnTo>
                  <a:lnTo>
                    <a:pt x="174" y="154"/>
                  </a:lnTo>
                  <a:lnTo>
                    <a:pt x="159" y="159"/>
                  </a:lnTo>
                  <a:lnTo>
                    <a:pt x="149" y="162"/>
                  </a:lnTo>
                  <a:lnTo>
                    <a:pt x="147" y="189"/>
                  </a:lnTo>
                  <a:lnTo>
                    <a:pt x="134" y="1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8" name="Freeform 177"/>
            <p:cNvSpPr>
              <a:spLocks/>
            </p:cNvSpPr>
            <p:nvPr/>
          </p:nvSpPr>
          <p:spPr bwMode="auto">
            <a:xfrm>
              <a:off x="4257449" y="4080169"/>
              <a:ext cx="43177" cy="120896"/>
            </a:xfrm>
            <a:custGeom>
              <a:avLst/>
              <a:gdLst>
                <a:gd name="T0" fmla="*/ 18 w 30"/>
                <a:gd name="T1" fmla="*/ 84 h 84"/>
                <a:gd name="T2" fmla="*/ 13 w 30"/>
                <a:gd name="T3" fmla="*/ 62 h 84"/>
                <a:gd name="T4" fmla="*/ 10 w 30"/>
                <a:gd name="T5" fmla="*/ 37 h 84"/>
                <a:gd name="T6" fmla="*/ 10 w 30"/>
                <a:gd name="T7" fmla="*/ 22 h 84"/>
                <a:gd name="T8" fmla="*/ 3 w 30"/>
                <a:gd name="T9" fmla="*/ 17 h 84"/>
                <a:gd name="T10" fmla="*/ 0 w 30"/>
                <a:gd name="T11" fmla="*/ 0 h 84"/>
                <a:gd name="T12" fmla="*/ 10 w 30"/>
                <a:gd name="T13" fmla="*/ 0 h 84"/>
                <a:gd name="T14" fmla="*/ 18 w 30"/>
                <a:gd name="T15" fmla="*/ 12 h 84"/>
                <a:gd name="T16" fmla="*/ 23 w 30"/>
                <a:gd name="T17" fmla="*/ 35 h 84"/>
                <a:gd name="T18" fmla="*/ 23 w 30"/>
                <a:gd name="T19" fmla="*/ 59 h 84"/>
                <a:gd name="T20" fmla="*/ 30 w 30"/>
                <a:gd name="T21" fmla="*/ 82 h 84"/>
                <a:gd name="T22" fmla="*/ 18 w 30"/>
                <a:gd name="T2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84">
                  <a:moveTo>
                    <a:pt x="18" y="84"/>
                  </a:moveTo>
                  <a:lnTo>
                    <a:pt x="13" y="62"/>
                  </a:lnTo>
                  <a:lnTo>
                    <a:pt x="10" y="37"/>
                  </a:lnTo>
                  <a:lnTo>
                    <a:pt x="10" y="22"/>
                  </a:lnTo>
                  <a:lnTo>
                    <a:pt x="3" y="1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8" y="12"/>
                  </a:lnTo>
                  <a:lnTo>
                    <a:pt x="23" y="35"/>
                  </a:lnTo>
                  <a:lnTo>
                    <a:pt x="23" y="59"/>
                  </a:lnTo>
                  <a:lnTo>
                    <a:pt x="30" y="82"/>
                  </a:lnTo>
                  <a:lnTo>
                    <a:pt x="18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69" name="Freeform 178"/>
            <p:cNvSpPr>
              <a:spLocks/>
            </p:cNvSpPr>
            <p:nvPr/>
          </p:nvSpPr>
          <p:spPr bwMode="auto">
            <a:xfrm>
              <a:off x="3985433" y="4133421"/>
              <a:ext cx="115139" cy="132410"/>
            </a:xfrm>
            <a:custGeom>
              <a:avLst/>
              <a:gdLst>
                <a:gd name="T0" fmla="*/ 0 w 80"/>
                <a:gd name="T1" fmla="*/ 32 h 92"/>
                <a:gd name="T2" fmla="*/ 18 w 80"/>
                <a:gd name="T3" fmla="*/ 0 h 92"/>
                <a:gd name="T4" fmla="*/ 28 w 80"/>
                <a:gd name="T5" fmla="*/ 22 h 92"/>
                <a:gd name="T6" fmla="*/ 43 w 80"/>
                <a:gd name="T7" fmla="*/ 27 h 92"/>
                <a:gd name="T8" fmla="*/ 48 w 80"/>
                <a:gd name="T9" fmla="*/ 42 h 92"/>
                <a:gd name="T10" fmla="*/ 58 w 80"/>
                <a:gd name="T11" fmla="*/ 45 h 92"/>
                <a:gd name="T12" fmla="*/ 60 w 80"/>
                <a:gd name="T13" fmla="*/ 67 h 92"/>
                <a:gd name="T14" fmla="*/ 80 w 80"/>
                <a:gd name="T15" fmla="*/ 75 h 92"/>
                <a:gd name="T16" fmla="*/ 77 w 80"/>
                <a:gd name="T17" fmla="*/ 85 h 92"/>
                <a:gd name="T18" fmla="*/ 65 w 80"/>
                <a:gd name="T19" fmla="*/ 92 h 92"/>
                <a:gd name="T20" fmla="*/ 45 w 80"/>
                <a:gd name="T21" fmla="*/ 85 h 92"/>
                <a:gd name="T22" fmla="*/ 0 w 80"/>
                <a:gd name="T23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2">
                  <a:moveTo>
                    <a:pt x="0" y="32"/>
                  </a:moveTo>
                  <a:lnTo>
                    <a:pt x="18" y="0"/>
                  </a:lnTo>
                  <a:lnTo>
                    <a:pt x="28" y="22"/>
                  </a:lnTo>
                  <a:lnTo>
                    <a:pt x="43" y="27"/>
                  </a:lnTo>
                  <a:lnTo>
                    <a:pt x="48" y="42"/>
                  </a:lnTo>
                  <a:lnTo>
                    <a:pt x="58" y="45"/>
                  </a:lnTo>
                  <a:lnTo>
                    <a:pt x="60" y="67"/>
                  </a:lnTo>
                  <a:lnTo>
                    <a:pt x="80" y="75"/>
                  </a:lnTo>
                  <a:lnTo>
                    <a:pt x="77" y="85"/>
                  </a:lnTo>
                  <a:lnTo>
                    <a:pt x="65" y="92"/>
                  </a:lnTo>
                  <a:lnTo>
                    <a:pt x="45" y="85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0" name="Freeform 179"/>
            <p:cNvSpPr>
              <a:spLocks/>
            </p:cNvSpPr>
            <p:nvPr/>
          </p:nvSpPr>
          <p:spPr bwMode="auto">
            <a:xfrm>
              <a:off x="2161923" y="3707407"/>
              <a:ext cx="260501" cy="115139"/>
            </a:xfrm>
            <a:custGeom>
              <a:avLst/>
              <a:gdLst>
                <a:gd name="T0" fmla="*/ 0 w 181"/>
                <a:gd name="T1" fmla="*/ 23 h 80"/>
                <a:gd name="T2" fmla="*/ 17 w 181"/>
                <a:gd name="T3" fmla="*/ 8 h 80"/>
                <a:gd name="T4" fmla="*/ 32 w 181"/>
                <a:gd name="T5" fmla="*/ 0 h 80"/>
                <a:gd name="T6" fmla="*/ 57 w 181"/>
                <a:gd name="T7" fmla="*/ 5 h 80"/>
                <a:gd name="T8" fmla="*/ 92 w 181"/>
                <a:gd name="T9" fmla="*/ 13 h 80"/>
                <a:gd name="T10" fmla="*/ 121 w 181"/>
                <a:gd name="T11" fmla="*/ 28 h 80"/>
                <a:gd name="T12" fmla="*/ 174 w 181"/>
                <a:gd name="T13" fmla="*/ 52 h 80"/>
                <a:gd name="T14" fmla="*/ 181 w 181"/>
                <a:gd name="T15" fmla="*/ 65 h 80"/>
                <a:gd name="T16" fmla="*/ 156 w 181"/>
                <a:gd name="T17" fmla="*/ 80 h 80"/>
                <a:gd name="T18" fmla="*/ 119 w 181"/>
                <a:gd name="T19" fmla="*/ 75 h 80"/>
                <a:gd name="T20" fmla="*/ 121 w 181"/>
                <a:gd name="T21" fmla="*/ 57 h 80"/>
                <a:gd name="T22" fmla="*/ 109 w 181"/>
                <a:gd name="T23" fmla="*/ 45 h 80"/>
                <a:gd name="T24" fmla="*/ 84 w 181"/>
                <a:gd name="T25" fmla="*/ 25 h 80"/>
                <a:gd name="T26" fmla="*/ 72 w 181"/>
                <a:gd name="T27" fmla="*/ 20 h 80"/>
                <a:gd name="T28" fmla="*/ 19 w 181"/>
                <a:gd name="T29" fmla="*/ 18 h 80"/>
                <a:gd name="T30" fmla="*/ 0 w 181"/>
                <a:gd name="T31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1" h="80">
                  <a:moveTo>
                    <a:pt x="0" y="23"/>
                  </a:moveTo>
                  <a:lnTo>
                    <a:pt x="17" y="8"/>
                  </a:lnTo>
                  <a:lnTo>
                    <a:pt x="32" y="0"/>
                  </a:lnTo>
                  <a:lnTo>
                    <a:pt x="57" y="5"/>
                  </a:lnTo>
                  <a:lnTo>
                    <a:pt x="92" y="13"/>
                  </a:lnTo>
                  <a:lnTo>
                    <a:pt x="121" y="28"/>
                  </a:lnTo>
                  <a:lnTo>
                    <a:pt x="174" y="52"/>
                  </a:lnTo>
                  <a:lnTo>
                    <a:pt x="181" y="65"/>
                  </a:lnTo>
                  <a:lnTo>
                    <a:pt x="156" y="80"/>
                  </a:lnTo>
                  <a:lnTo>
                    <a:pt x="119" y="75"/>
                  </a:lnTo>
                  <a:lnTo>
                    <a:pt x="121" y="57"/>
                  </a:lnTo>
                  <a:lnTo>
                    <a:pt x="109" y="45"/>
                  </a:lnTo>
                  <a:lnTo>
                    <a:pt x="84" y="25"/>
                  </a:lnTo>
                  <a:lnTo>
                    <a:pt x="72" y="20"/>
                  </a:lnTo>
                  <a:lnTo>
                    <a:pt x="19" y="18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1" name="Freeform 180"/>
            <p:cNvSpPr>
              <a:spLocks/>
            </p:cNvSpPr>
            <p:nvPr/>
          </p:nvSpPr>
          <p:spPr bwMode="auto">
            <a:xfrm>
              <a:off x="5099402" y="4663059"/>
              <a:ext cx="82037" cy="197175"/>
            </a:xfrm>
            <a:custGeom>
              <a:avLst/>
              <a:gdLst>
                <a:gd name="T0" fmla="*/ 0 w 57"/>
                <a:gd name="T1" fmla="*/ 87 h 137"/>
                <a:gd name="T2" fmla="*/ 2 w 57"/>
                <a:gd name="T3" fmla="*/ 55 h 137"/>
                <a:gd name="T4" fmla="*/ 12 w 57"/>
                <a:gd name="T5" fmla="*/ 47 h 137"/>
                <a:gd name="T6" fmla="*/ 7 w 57"/>
                <a:gd name="T7" fmla="*/ 25 h 137"/>
                <a:gd name="T8" fmla="*/ 9 w 57"/>
                <a:gd name="T9" fmla="*/ 0 h 137"/>
                <a:gd name="T10" fmla="*/ 17 w 57"/>
                <a:gd name="T11" fmla="*/ 5 h 137"/>
                <a:gd name="T12" fmla="*/ 32 w 57"/>
                <a:gd name="T13" fmla="*/ 12 h 137"/>
                <a:gd name="T14" fmla="*/ 34 w 57"/>
                <a:gd name="T15" fmla="*/ 30 h 137"/>
                <a:gd name="T16" fmla="*/ 32 w 57"/>
                <a:gd name="T17" fmla="*/ 47 h 137"/>
                <a:gd name="T18" fmla="*/ 29 w 57"/>
                <a:gd name="T19" fmla="*/ 60 h 137"/>
                <a:gd name="T20" fmla="*/ 37 w 57"/>
                <a:gd name="T21" fmla="*/ 69 h 137"/>
                <a:gd name="T22" fmla="*/ 42 w 57"/>
                <a:gd name="T23" fmla="*/ 74 h 137"/>
                <a:gd name="T24" fmla="*/ 49 w 57"/>
                <a:gd name="T25" fmla="*/ 84 h 137"/>
                <a:gd name="T26" fmla="*/ 54 w 57"/>
                <a:gd name="T27" fmla="*/ 97 h 137"/>
                <a:gd name="T28" fmla="*/ 57 w 57"/>
                <a:gd name="T29" fmla="*/ 114 h 137"/>
                <a:gd name="T30" fmla="*/ 44 w 57"/>
                <a:gd name="T31" fmla="*/ 122 h 137"/>
                <a:gd name="T32" fmla="*/ 39 w 57"/>
                <a:gd name="T33" fmla="*/ 134 h 137"/>
                <a:gd name="T34" fmla="*/ 27 w 57"/>
                <a:gd name="T35" fmla="*/ 137 h 137"/>
                <a:gd name="T36" fmla="*/ 19 w 57"/>
                <a:gd name="T37" fmla="*/ 129 h 137"/>
                <a:gd name="T38" fmla="*/ 24 w 57"/>
                <a:gd name="T39" fmla="*/ 112 h 137"/>
                <a:gd name="T40" fmla="*/ 27 w 57"/>
                <a:gd name="T41" fmla="*/ 97 h 137"/>
                <a:gd name="T42" fmla="*/ 12 w 57"/>
                <a:gd name="T43" fmla="*/ 94 h 137"/>
                <a:gd name="T44" fmla="*/ 0 w 57"/>
                <a:gd name="T45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137">
                  <a:moveTo>
                    <a:pt x="0" y="87"/>
                  </a:moveTo>
                  <a:lnTo>
                    <a:pt x="2" y="55"/>
                  </a:lnTo>
                  <a:lnTo>
                    <a:pt x="12" y="47"/>
                  </a:lnTo>
                  <a:lnTo>
                    <a:pt x="7" y="25"/>
                  </a:lnTo>
                  <a:lnTo>
                    <a:pt x="9" y="0"/>
                  </a:lnTo>
                  <a:lnTo>
                    <a:pt x="17" y="5"/>
                  </a:lnTo>
                  <a:lnTo>
                    <a:pt x="32" y="12"/>
                  </a:lnTo>
                  <a:lnTo>
                    <a:pt x="34" y="30"/>
                  </a:lnTo>
                  <a:lnTo>
                    <a:pt x="32" y="47"/>
                  </a:lnTo>
                  <a:lnTo>
                    <a:pt x="29" y="60"/>
                  </a:lnTo>
                  <a:lnTo>
                    <a:pt x="37" y="69"/>
                  </a:lnTo>
                  <a:lnTo>
                    <a:pt x="42" y="74"/>
                  </a:lnTo>
                  <a:lnTo>
                    <a:pt x="49" y="84"/>
                  </a:lnTo>
                  <a:lnTo>
                    <a:pt x="54" y="97"/>
                  </a:lnTo>
                  <a:lnTo>
                    <a:pt x="57" y="114"/>
                  </a:lnTo>
                  <a:lnTo>
                    <a:pt x="44" y="122"/>
                  </a:lnTo>
                  <a:lnTo>
                    <a:pt x="39" y="134"/>
                  </a:lnTo>
                  <a:lnTo>
                    <a:pt x="27" y="137"/>
                  </a:lnTo>
                  <a:lnTo>
                    <a:pt x="19" y="129"/>
                  </a:lnTo>
                  <a:lnTo>
                    <a:pt x="24" y="112"/>
                  </a:lnTo>
                  <a:lnTo>
                    <a:pt x="27" y="97"/>
                  </a:lnTo>
                  <a:lnTo>
                    <a:pt x="12" y="94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2" name="Freeform 181"/>
            <p:cNvSpPr>
              <a:spLocks/>
            </p:cNvSpPr>
            <p:nvPr/>
          </p:nvSpPr>
          <p:spPr bwMode="auto">
            <a:xfrm>
              <a:off x="4916619" y="4824254"/>
              <a:ext cx="185661" cy="221642"/>
            </a:xfrm>
            <a:custGeom>
              <a:avLst/>
              <a:gdLst>
                <a:gd name="T0" fmla="*/ 79 w 129"/>
                <a:gd name="T1" fmla="*/ 0 h 154"/>
                <a:gd name="T2" fmla="*/ 72 w 129"/>
                <a:gd name="T3" fmla="*/ 10 h 154"/>
                <a:gd name="T4" fmla="*/ 57 w 129"/>
                <a:gd name="T5" fmla="*/ 12 h 154"/>
                <a:gd name="T6" fmla="*/ 54 w 129"/>
                <a:gd name="T7" fmla="*/ 25 h 154"/>
                <a:gd name="T8" fmla="*/ 47 w 129"/>
                <a:gd name="T9" fmla="*/ 30 h 154"/>
                <a:gd name="T10" fmla="*/ 37 w 129"/>
                <a:gd name="T11" fmla="*/ 32 h 154"/>
                <a:gd name="T12" fmla="*/ 35 w 129"/>
                <a:gd name="T13" fmla="*/ 44 h 154"/>
                <a:gd name="T14" fmla="*/ 25 w 129"/>
                <a:gd name="T15" fmla="*/ 49 h 154"/>
                <a:gd name="T16" fmla="*/ 10 w 129"/>
                <a:gd name="T17" fmla="*/ 49 h 154"/>
                <a:gd name="T18" fmla="*/ 0 w 129"/>
                <a:gd name="T19" fmla="*/ 52 h 154"/>
                <a:gd name="T20" fmla="*/ 7 w 129"/>
                <a:gd name="T21" fmla="*/ 79 h 154"/>
                <a:gd name="T22" fmla="*/ 7 w 129"/>
                <a:gd name="T23" fmla="*/ 92 h 154"/>
                <a:gd name="T24" fmla="*/ 17 w 129"/>
                <a:gd name="T25" fmla="*/ 97 h 154"/>
                <a:gd name="T26" fmla="*/ 22 w 129"/>
                <a:gd name="T27" fmla="*/ 112 h 154"/>
                <a:gd name="T28" fmla="*/ 32 w 129"/>
                <a:gd name="T29" fmla="*/ 114 h 154"/>
                <a:gd name="T30" fmla="*/ 37 w 129"/>
                <a:gd name="T31" fmla="*/ 131 h 154"/>
                <a:gd name="T32" fmla="*/ 45 w 129"/>
                <a:gd name="T33" fmla="*/ 134 h 154"/>
                <a:gd name="T34" fmla="*/ 62 w 129"/>
                <a:gd name="T35" fmla="*/ 141 h 154"/>
                <a:gd name="T36" fmla="*/ 74 w 129"/>
                <a:gd name="T37" fmla="*/ 146 h 154"/>
                <a:gd name="T38" fmla="*/ 79 w 129"/>
                <a:gd name="T39" fmla="*/ 154 h 154"/>
                <a:gd name="T40" fmla="*/ 99 w 129"/>
                <a:gd name="T41" fmla="*/ 154 h 154"/>
                <a:gd name="T42" fmla="*/ 102 w 129"/>
                <a:gd name="T43" fmla="*/ 139 h 154"/>
                <a:gd name="T44" fmla="*/ 112 w 129"/>
                <a:gd name="T45" fmla="*/ 134 h 154"/>
                <a:gd name="T46" fmla="*/ 112 w 129"/>
                <a:gd name="T47" fmla="*/ 109 h 154"/>
                <a:gd name="T48" fmla="*/ 124 w 129"/>
                <a:gd name="T49" fmla="*/ 102 h 154"/>
                <a:gd name="T50" fmla="*/ 129 w 129"/>
                <a:gd name="T51" fmla="*/ 92 h 154"/>
                <a:gd name="T52" fmla="*/ 124 w 129"/>
                <a:gd name="T53" fmla="*/ 77 h 154"/>
                <a:gd name="T54" fmla="*/ 122 w 129"/>
                <a:gd name="T55" fmla="*/ 62 h 154"/>
                <a:gd name="T56" fmla="*/ 129 w 129"/>
                <a:gd name="T57" fmla="*/ 40 h 154"/>
                <a:gd name="T58" fmla="*/ 119 w 129"/>
                <a:gd name="T59" fmla="*/ 20 h 154"/>
                <a:gd name="T60" fmla="*/ 94 w 129"/>
                <a:gd name="T61" fmla="*/ 17 h 154"/>
                <a:gd name="T62" fmla="*/ 87 w 129"/>
                <a:gd name="T63" fmla="*/ 2 h 154"/>
                <a:gd name="T64" fmla="*/ 79 w 129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9" h="154">
                  <a:moveTo>
                    <a:pt x="79" y="0"/>
                  </a:moveTo>
                  <a:lnTo>
                    <a:pt x="72" y="10"/>
                  </a:lnTo>
                  <a:lnTo>
                    <a:pt x="57" y="12"/>
                  </a:lnTo>
                  <a:lnTo>
                    <a:pt x="54" y="25"/>
                  </a:lnTo>
                  <a:lnTo>
                    <a:pt x="47" y="30"/>
                  </a:lnTo>
                  <a:lnTo>
                    <a:pt x="37" y="32"/>
                  </a:lnTo>
                  <a:lnTo>
                    <a:pt x="35" y="44"/>
                  </a:lnTo>
                  <a:lnTo>
                    <a:pt x="25" y="49"/>
                  </a:lnTo>
                  <a:lnTo>
                    <a:pt x="10" y="49"/>
                  </a:lnTo>
                  <a:lnTo>
                    <a:pt x="0" y="52"/>
                  </a:lnTo>
                  <a:lnTo>
                    <a:pt x="7" y="79"/>
                  </a:lnTo>
                  <a:lnTo>
                    <a:pt x="7" y="92"/>
                  </a:lnTo>
                  <a:lnTo>
                    <a:pt x="17" y="97"/>
                  </a:lnTo>
                  <a:lnTo>
                    <a:pt x="22" y="112"/>
                  </a:lnTo>
                  <a:lnTo>
                    <a:pt x="32" y="114"/>
                  </a:lnTo>
                  <a:lnTo>
                    <a:pt x="37" y="131"/>
                  </a:lnTo>
                  <a:lnTo>
                    <a:pt x="45" y="134"/>
                  </a:lnTo>
                  <a:lnTo>
                    <a:pt x="62" y="141"/>
                  </a:lnTo>
                  <a:lnTo>
                    <a:pt x="74" y="146"/>
                  </a:lnTo>
                  <a:lnTo>
                    <a:pt x="79" y="154"/>
                  </a:lnTo>
                  <a:lnTo>
                    <a:pt x="99" y="154"/>
                  </a:lnTo>
                  <a:lnTo>
                    <a:pt x="102" y="139"/>
                  </a:lnTo>
                  <a:lnTo>
                    <a:pt x="112" y="134"/>
                  </a:lnTo>
                  <a:lnTo>
                    <a:pt x="112" y="109"/>
                  </a:lnTo>
                  <a:lnTo>
                    <a:pt x="124" y="102"/>
                  </a:lnTo>
                  <a:lnTo>
                    <a:pt x="129" y="92"/>
                  </a:lnTo>
                  <a:lnTo>
                    <a:pt x="124" y="77"/>
                  </a:lnTo>
                  <a:lnTo>
                    <a:pt x="122" y="62"/>
                  </a:lnTo>
                  <a:lnTo>
                    <a:pt x="129" y="40"/>
                  </a:lnTo>
                  <a:lnTo>
                    <a:pt x="119" y="20"/>
                  </a:lnTo>
                  <a:lnTo>
                    <a:pt x="94" y="17"/>
                  </a:lnTo>
                  <a:lnTo>
                    <a:pt x="8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3" name="Freeform 182"/>
            <p:cNvSpPr>
              <a:spLocks/>
            </p:cNvSpPr>
            <p:nvPr/>
          </p:nvSpPr>
          <p:spPr bwMode="auto">
            <a:xfrm>
              <a:off x="3860220" y="3546213"/>
              <a:ext cx="264819" cy="404425"/>
            </a:xfrm>
            <a:custGeom>
              <a:avLst/>
              <a:gdLst>
                <a:gd name="T0" fmla="*/ 137 w 184"/>
                <a:gd name="T1" fmla="*/ 0 h 281"/>
                <a:gd name="T2" fmla="*/ 132 w 184"/>
                <a:gd name="T3" fmla="*/ 25 h 281"/>
                <a:gd name="T4" fmla="*/ 122 w 184"/>
                <a:gd name="T5" fmla="*/ 35 h 281"/>
                <a:gd name="T6" fmla="*/ 80 w 184"/>
                <a:gd name="T7" fmla="*/ 40 h 281"/>
                <a:gd name="T8" fmla="*/ 80 w 184"/>
                <a:gd name="T9" fmla="*/ 100 h 281"/>
                <a:gd name="T10" fmla="*/ 65 w 184"/>
                <a:gd name="T11" fmla="*/ 95 h 281"/>
                <a:gd name="T12" fmla="*/ 55 w 184"/>
                <a:gd name="T13" fmla="*/ 105 h 281"/>
                <a:gd name="T14" fmla="*/ 50 w 184"/>
                <a:gd name="T15" fmla="*/ 120 h 281"/>
                <a:gd name="T16" fmla="*/ 48 w 184"/>
                <a:gd name="T17" fmla="*/ 145 h 281"/>
                <a:gd name="T18" fmla="*/ 33 w 184"/>
                <a:gd name="T19" fmla="*/ 145 h 281"/>
                <a:gd name="T20" fmla="*/ 8 w 184"/>
                <a:gd name="T21" fmla="*/ 142 h 281"/>
                <a:gd name="T22" fmla="*/ 0 w 184"/>
                <a:gd name="T23" fmla="*/ 140 h 281"/>
                <a:gd name="T24" fmla="*/ 0 w 184"/>
                <a:gd name="T25" fmla="*/ 194 h 281"/>
                <a:gd name="T26" fmla="*/ 5 w 184"/>
                <a:gd name="T27" fmla="*/ 199 h 281"/>
                <a:gd name="T28" fmla="*/ 5 w 184"/>
                <a:gd name="T29" fmla="*/ 241 h 281"/>
                <a:gd name="T30" fmla="*/ 20 w 184"/>
                <a:gd name="T31" fmla="*/ 239 h 281"/>
                <a:gd name="T32" fmla="*/ 28 w 184"/>
                <a:gd name="T33" fmla="*/ 249 h 281"/>
                <a:gd name="T34" fmla="*/ 40 w 184"/>
                <a:gd name="T35" fmla="*/ 254 h 281"/>
                <a:gd name="T36" fmla="*/ 55 w 184"/>
                <a:gd name="T37" fmla="*/ 274 h 281"/>
                <a:gd name="T38" fmla="*/ 68 w 184"/>
                <a:gd name="T39" fmla="*/ 281 h 281"/>
                <a:gd name="T40" fmla="*/ 85 w 184"/>
                <a:gd name="T41" fmla="*/ 259 h 281"/>
                <a:gd name="T42" fmla="*/ 100 w 184"/>
                <a:gd name="T43" fmla="*/ 266 h 281"/>
                <a:gd name="T44" fmla="*/ 162 w 184"/>
                <a:gd name="T45" fmla="*/ 271 h 281"/>
                <a:gd name="T46" fmla="*/ 184 w 184"/>
                <a:gd name="T47" fmla="*/ 269 h 281"/>
                <a:gd name="T48" fmla="*/ 184 w 184"/>
                <a:gd name="T49" fmla="*/ 246 h 281"/>
                <a:gd name="T50" fmla="*/ 169 w 184"/>
                <a:gd name="T51" fmla="*/ 241 h 281"/>
                <a:gd name="T52" fmla="*/ 172 w 184"/>
                <a:gd name="T53" fmla="*/ 105 h 281"/>
                <a:gd name="T54" fmla="*/ 162 w 184"/>
                <a:gd name="T55" fmla="*/ 92 h 281"/>
                <a:gd name="T56" fmla="*/ 162 w 184"/>
                <a:gd name="T57" fmla="*/ 65 h 281"/>
                <a:gd name="T58" fmla="*/ 174 w 184"/>
                <a:gd name="T59" fmla="*/ 62 h 281"/>
                <a:gd name="T60" fmla="*/ 174 w 184"/>
                <a:gd name="T61" fmla="*/ 45 h 281"/>
                <a:gd name="T62" fmla="*/ 137 w 184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281">
                  <a:moveTo>
                    <a:pt x="137" y="0"/>
                  </a:moveTo>
                  <a:lnTo>
                    <a:pt x="132" y="25"/>
                  </a:lnTo>
                  <a:lnTo>
                    <a:pt x="122" y="35"/>
                  </a:lnTo>
                  <a:lnTo>
                    <a:pt x="80" y="40"/>
                  </a:lnTo>
                  <a:lnTo>
                    <a:pt x="80" y="100"/>
                  </a:lnTo>
                  <a:lnTo>
                    <a:pt x="65" y="95"/>
                  </a:lnTo>
                  <a:lnTo>
                    <a:pt x="55" y="105"/>
                  </a:lnTo>
                  <a:lnTo>
                    <a:pt x="50" y="120"/>
                  </a:lnTo>
                  <a:lnTo>
                    <a:pt x="48" y="145"/>
                  </a:lnTo>
                  <a:lnTo>
                    <a:pt x="33" y="145"/>
                  </a:lnTo>
                  <a:lnTo>
                    <a:pt x="8" y="142"/>
                  </a:lnTo>
                  <a:lnTo>
                    <a:pt x="0" y="140"/>
                  </a:lnTo>
                  <a:lnTo>
                    <a:pt x="0" y="194"/>
                  </a:lnTo>
                  <a:lnTo>
                    <a:pt x="5" y="199"/>
                  </a:lnTo>
                  <a:lnTo>
                    <a:pt x="5" y="241"/>
                  </a:lnTo>
                  <a:lnTo>
                    <a:pt x="20" y="239"/>
                  </a:lnTo>
                  <a:lnTo>
                    <a:pt x="28" y="249"/>
                  </a:lnTo>
                  <a:lnTo>
                    <a:pt x="40" y="254"/>
                  </a:lnTo>
                  <a:lnTo>
                    <a:pt x="55" y="274"/>
                  </a:lnTo>
                  <a:lnTo>
                    <a:pt x="68" y="281"/>
                  </a:lnTo>
                  <a:lnTo>
                    <a:pt x="85" y="259"/>
                  </a:lnTo>
                  <a:lnTo>
                    <a:pt x="100" y="266"/>
                  </a:lnTo>
                  <a:lnTo>
                    <a:pt x="162" y="271"/>
                  </a:lnTo>
                  <a:lnTo>
                    <a:pt x="184" y="269"/>
                  </a:lnTo>
                  <a:lnTo>
                    <a:pt x="184" y="246"/>
                  </a:lnTo>
                  <a:lnTo>
                    <a:pt x="169" y="241"/>
                  </a:lnTo>
                  <a:lnTo>
                    <a:pt x="172" y="105"/>
                  </a:lnTo>
                  <a:lnTo>
                    <a:pt x="162" y="92"/>
                  </a:lnTo>
                  <a:lnTo>
                    <a:pt x="162" y="65"/>
                  </a:lnTo>
                  <a:lnTo>
                    <a:pt x="174" y="62"/>
                  </a:lnTo>
                  <a:lnTo>
                    <a:pt x="174" y="45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4" name="Freeform 183"/>
            <p:cNvSpPr>
              <a:spLocks/>
            </p:cNvSpPr>
            <p:nvPr/>
          </p:nvSpPr>
          <p:spPr bwMode="auto">
            <a:xfrm>
              <a:off x="4558249" y="4265830"/>
              <a:ext cx="178465" cy="253305"/>
            </a:xfrm>
            <a:custGeom>
              <a:avLst/>
              <a:gdLst>
                <a:gd name="T0" fmla="*/ 0 w 124"/>
                <a:gd name="T1" fmla="*/ 164 h 176"/>
                <a:gd name="T2" fmla="*/ 5 w 124"/>
                <a:gd name="T3" fmla="*/ 154 h 176"/>
                <a:gd name="T4" fmla="*/ 13 w 124"/>
                <a:gd name="T5" fmla="*/ 139 h 176"/>
                <a:gd name="T6" fmla="*/ 3 w 124"/>
                <a:gd name="T7" fmla="*/ 134 h 176"/>
                <a:gd name="T8" fmla="*/ 3 w 124"/>
                <a:gd name="T9" fmla="*/ 124 h 176"/>
                <a:gd name="T10" fmla="*/ 15 w 124"/>
                <a:gd name="T11" fmla="*/ 119 h 176"/>
                <a:gd name="T12" fmla="*/ 23 w 124"/>
                <a:gd name="T13" fmla="*/ 117 h 176"/>
                <a:gd name="T14" fmla="*/ 32 w 124"/>
                <a:gd name="T15" fmla="*/ 129 h 176"/>
                <a:gd name="T16" fmla="*/ 47 w 124"/>
                <a:gd name="T17" fmla="*/ 122 h 176"/>
                <a:gd name="T18" fmla="*/ 60 w 124"/>
                <a:gd name="T19" fmla="*/ 104 h 176"/>
                <a:gd name="T20" fmla="*/ 55 w 124"/>
                <a:gd name="T21" fmla="*/ 89 h 176"/>
                <a:gd name="T22" fmla="*/ 47 w 124"/>
                <a:gd name="T23" fmla="*/ 80 h 176"/>
                <a:gd name="T24" fmla="*/ 42 w 124"/>
                <a:gd name="T25" fmla="*/ 67 h 176"/>
                <a:gd name="T26" fmla="*/ 45 w 124"/>
                <a:gd name="T27" fmla="*/ 57 h 176"/>
                <a:gd name="T28" fmla="*/ 42 w 124"/>
                <a:gd name="T29" fmla="*/ 47 h 176"/>
                <a:gd name="T30" fmla="*/ 30 w 124"/>
                <a:gd name="T31" fmla="*/ 47 h 176"/>
                <a:gd name="T32" fmla="*/ 30 w 124"/>
                <a:gd name="T33" fmla="*/ 30 h 176"/>
                <a:gd name="T34" fmla="*/ 85 w 124"/>
                <a:gd name="T35" fmla="*/ 22 h 176"/>
                <a:gd name="T36" fmla="*/ 92 w 124"/>
                <a:gd name="T37" fmla="*/ 12 h 176"/>
                <a:gd name="T38" fmla="*/ 102 w 124"/>
                <a:gd name="T39" fmla="*/ 2 h 176"/>
                <a:gd name="T40" fmla="*/ 115 w 124"/>
                <a:gd name="T41" fmla="*/ 0 h 176"/>
                <a:gd name="T42" fmla="*/ 124 w 124"/>
                <a:gd name="T43" fmla="*/ 5 h 176"/>
                <a:gd name="T44" fmla="*/ 122 w 124"/>
                <a:gd name="T45" fmla="*/ 27 h 176"/>
                <a:gd name="T46" fmla="*/ 117 w 124"/>
                <a:gd name="T47" fmla="*/ 32 h 176"/>
                <a:gd name="T48" fmla="*/ 115 w 124"/>
                <a:gd name="T49" fmla="*/ 87 h 176"/>
                <a:gd name="T50" fmla="*/ 110 w 124"/>
                <a:gd name="T51" fmla="*/ 94 h 176"/>
                <a:gd name="T52" fmla="*/ 102 w 124"/>
                <a:gd name="T53" fmla="*/ 102 h 176"/>
                <a:gd name="T54" fmla="*/ 102 w 124"/>
                <a:gd name="T55" fmla="*/ 127 h 176"/>
                <a:gd name="T56" fmla="*/ 87 w 124"/>
                <a:gd name="T57" fmla="*/ 129 h 176"/>
                <a:gd name="T58" fmla="*/ 85 w 124"/>
                <a:gd name="T59" fmla="*/ 157 h 176"/>
                <a:gd name="T60" fmla="*/ 67 w 124"/>
                <a:gd name="T61" fmla="*/ 164 h 176"/>
                <a:gd name="T62" fmla="*/ 62 w 124"/>
                <a:gd name="T63" fmla="*/ 171 h 176"/>
                <a:gd name="T64" fmla="*/ 47 w 124"/>
                <a:gd name="T65" fmla="*/ 171 h 176"/>
                <a:gd name="T66" fmla="*/ 40 w 124"/>
                <a:gd name="T67" fmla="*/ 167 h 176"/>
                <a:gd name="T68" fmla="*/ 28 w 124"/>
                <a:gd name="T69" fmla="*/ 171 h 176"/>
                <a:gd name="T70" fmla="*/ 18 w 124"/>
                <a:gd name="T71" fmla="*/ 174 h 176"/>
                <a:gd name="T72" fmla="*/ 10 w 124"/>
                <a:gd name="T73" fmla="*/ 176 h 176"/>
                <a:gd name="T74" fmla="*/ 10 w 124"/>
                <a:gd name="T75" fmla="*/ 169 h 176"/>
                <a:gd name="T76" fmla="*/ 0 w 124"/>
                <a:gd name="T77" fmla="*/ 16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76">
                  <a:moveTo>
                    <a:pt x="0" y="164"/>
                  </a:moveTo>
                  <a:lnTo>
                    <a:pt x="5" y="154"/>
                  </a:lnTo>
                  <a:lnTo>
                    <a:pt x="13" y="139"/>
                  </a:lnTo>
                  <a:lnTo>
                    <a:pt x="3" y="134"/>
                  </a:lnTo>
                  <a:lnTo>
                    <a:pt x="3" y="124"/>
                  </a:lnTo>
                  <a:lnTo>
                    <a:pt x="15" y="119"/>
                  </a:lnTo>
                  <a:lnTo>
                    <a:pt x="23" y="117"/>
                  </a:lnTo>
                  <a:lnTo>
                    <a:pt x="32" y="129"/>
                  </a:lnTo>
                  <a:lnTo>
                    <a:pt x="47" y="122"/>
                  </a:lnTo>
                  <a:lnTo>
                    <a:pt x="60" y="104"/>
                  </a:lnTo>
                  <a:lnTo>
                    <a:pt x="55" y="89"/>
                  </a:lnTo>
                  <a:lnTo>
                    <a:pt x="47" y="80"/>
                  </a:lnTo>
                  <a:lnTo>
                    <a:pt x="42" y="67"/>
                  </a:lnTo>
                  <a:lnTo>
                    <a:pt x="45" y="57"/>
                  </a:lnTo>
                  <a:lnTo>
                    <a:pt x="42" y="47"/>
                  </a:lnTo>
                  <a:lnTo>
                    <a:pt x="30" y="47"/>
                  </a:lnTo>
                  <a:lnTo>
                    <a:pt x="30" y="30"/>
                  </a:lnTo>
                  <a:lnTo>
                    <a:pt x="85" y="22"/>
                  </a:lnTo>
                  <a:lnTo>
                    <a:pt x="92" y="12"/>
                  </a:lnTo>
                  <a:lnTo>
                    <a:pt x="102" y="2"/>
                  </a:lnTo>
                  <a:lnTo>
                    <a:pt x="115" y="0"/>
                  </a:lnTo>
                  <a:lnTo>
                    <a:pt x="124" y="5"/>
                  </a:lnTo>
                  <a:lnTo>
                    <a:pt x="122" y="27"/>
                  </a:lnTo>
                  <a:lnTo>
                    <a:pt x="117" y="32"/>
                  </a:lnTo>
                  <a:lnTo>
                    <a:pt x="115" y="87"/>
                  </a:lnTo>
                  <a:lnTo>
                    <a:pt x="110" y="94"/>
                  </a:lnTo>
                  <a:lnTo>
                    <a:pt x="102" y="102"/>
                  </a:lnTo>
                  <a:lnTo>
                    <a:pt x="102" y="127"/>
                  </a:lnTo>
                  <a:lnTo>
                    <a:pt x="87" y="129"/>
                  </a:lnTo>
                  <a:lnTo>
                    <a:pt x="85" y="157"/>
                  </a:lnTo>
                  <a:lnTo>
                    <a:pt x="67" y="164"/>
                  </a:lnTo>
                  <a:lnTo>
                    <a:pt x="62" y="171"/>
                  </a:lnTo>
                  <a:lnTo>
                    <a:pt x="47" y="171"/>
                  </a:lnTo>
                  <a:lnTo>
                    <a:pt x="40" y="167"/>
                  </a:lnTo>
                  <a:lnTo>
                    <a:pt x="28" y="171"/>
                  </a:lnTo>
                  <a:lnTo>
                    <a:pt x="18" y="174"/>
                  </a:lnTo>
                  <a:lnTo>
                    <a:pt x="10" y="176"/>
                  </a:lnTo>
                  <a:lnTo>
                    <a:pt x="10" y="169"/>
                  </a:lnTo>
                  <a:lnTo>
                    <a:pt x="0" y="16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5" name="Freeform 184"/>
            <p:cNvSpPr>
              <a:spLocks/>
            </p:cNvSpPr>
            <p:nvPr/>
          </p:nvSpPr>
          <p:spPr bwMode="auto">
            <a:xfrm>
              <a:off x="4572642" y="4226971"/>
              <a:ext cx="493658" cy="549788"/>
            </a:xfrm>
            <a:custGeom>
              <a:avLst/>
              <a:gdLst>
                <a:gd name="T0" fmla="*/ 0 w 343"/>
                <a:gd name="T1" fmla="*/ 216 h 382"/>
                <a:gd name="T2" fmla="*/ 8 w 343"/>
                <a:gd name="T3" fmla="*/ 226 h 382"/>
                <a:gd name="T4" fmla="*/ 50 w 343"/>
                <a:gd name="T5" fmla="*/ 221 h 382"/>
                <a:gd name="T6" fmla="*/ 92 w 343"/>
                <a:gd name="T7" fmla="*/ 253 h 382"/>
                <a:gd name="T8" fmla="*/ 100 w 343"/>
                <a:gd name="T9" fmla="*/ 268 h 382"/>
                <a:gd name="T10" fmla="*/ 134 w 343"/>
                <a:gd name="T11" fmla="*/ 248 h 382"/>
                <a:gd name="T12" fmla="*/ 152 w 343"/>
                <a:gd name="T13" fmla="*/ 263 h 382"/>
                <a:gd name="T14" fmla="*/ 172 w 343"/>
                <a:gd name="T15" fmla="*/ 256 h 382"/>
                <a:gd name="T16" fmla="*/ 179 w 343"/>
                <a:gd name="T17" fmla="*/ 305 h 382"/>
                <a:gd name="T18" fmla="*/ 189 w 343"/>
                <a:gd name="T19" fmla="*/ 330 h 382"/>
                <a:gd name="T20" fmla="*/ 229 w 343"/>
                <a:gd name="T21" fmla="*/ 333 h 382"/>
                <a:gd name="T22" fmla="*/ 244 w 343"/>
                <a:gd name="T23" fmla="*/ 353 h 382"/>
                <a:gd name="T24" fmla="*/ 264 w 343"/>
                <a:gd name="T25" fmla="*/ 340 h 382"/>
                <a:gd name="T26" fmla="*/ 279 w 343"/>
                <a:gd name="T27" fmla="*/ 353 h 382"/>
                <a:gd name="T28" fmla="*/ 291 w 343"/>
                <a:gd name="T29" fmla="*/ 382 h 382"/>
                <a:gd name="T30" fmla="*/ 313 w 343"/>
                <a:gd name="T31" fmla="*/ 370 h 382"/>
                <a:gd name="T32" fmla="*/ 298 w 343"/>
                <a:gd name="T33" fmla="*/ 348 h 382"/>
                <a:gd name="T34" fmla="*/ 296 w 343"/>
                <a:gd name="T35" fmla="*/ 285 h 382"/>
                <a:gd name="T36" fmla="*/ 316 w 343"/>
                <a:gd name="T37" fmla="*/ 268 h 382"/>
                <a:gd name="T38" fmla="*/ 321 w 343"/>
                <a:gd name="T39" fmla="*/ 246 h 382"/>
                <a:gd name="T40" fmla="*/ 316 w 343"/>
                <a:gd name="T41" fmla="*/ 223 h 382"/>
                <a:gd name="T42" fmla="*/ 313 w 343"/>
                <a:gd name="T43" fmla="*/ 196 h 382"/>
                <a:gd name="T44" fmla="*/ 303 w 343"/>
                <a:gd name="T45" fmla="*/ 179 h 382"/>
                <a:gd name="T46" fmla="*/ 296 w 343"/>
                <a:gd name="T47" fmla="*/ 161 h 382"/>
                <a:gd name="T48" fmla="*/ 301 w 343"/>
                <a:gd name="T49" fmla="*/ 144 h 382"/>
                <a:gd name="T50" fmla="*/ 308 w 343"/>
                <a:gd name="T51" fmla="*/ 126 h 382"/>
                <a:gd name="T52" fmla="*/ 333 w 343"/>
                <a:gd name="T53" fmla="*/ 77 h 382"/>
                <a:gd name="T54" fmla="*/ 343 w 343"/>
                <a:gd name="T55" fmla="*/ 62 h 382"/>
                <a:gd name="T56" fmla="*/ 333 w 343"/>
                <a:gd name="T57" fmla="*/ 52 h 382"/>
                <a:gd name="T58" fmla="*/ 328 w 343"/>
                <a:gd name="T59" fmla="*/ 27 h 382"/>
                <a:gd name="T60" fmla="*/ 311 w 343"/>
                <a:gd name="T61" fmla="*/ 15 h 382"/>
                <a:gd name="T62" fmla="*/ 264 w 343"/>
                <a:gd name="T63" fmla="*/ 2 h 382"/>
                <a:gd name="T64" fmla="*/ 231 w 343"/>
                <a:gd name="T65" fmla="*/ 5 h 382"/>
                <a:gd name="T66" fmla="*/ 216 w 343"/>
                <a:gd name="T67" fmla="*/ 10 h 382"/>
                <a:gd name="T68" fmla="*/ 177 w 343"/>
                <a:gd name="T69" fmla="*/ 20 h 382"/>
                <a:gd name="T70" fmla="*/ 139 w 343"/>
                <a:gd name="T71" fmla="*/ 12 h 382"/>
                <a:gd name="T72" fmla="*/ 119 w 343"/>
                <a:gd name="T73" fmla="*/ 17 h 382"/>
                <a:gd name="T74" fmla="*/ 105 w 343"/>
                <a:gd name="T75" fmla="*/ 27 h 382"/>
                <a:gd name="T76" fmla="*/ 112 w 343"/>
                <a:gd name="T77" fmla="*/ 54 h 382"/>
                <a:gd name="T78" fmla="*/ 105 w 343"/>
                <a:gd name="T79" fmla="*/ 114 h 382"/>
                <a:gd name="T80" fmla="*/ 92 w 343"/>
                <a:gd name="T81" fmla="*/ 129 h 382"/>
                <a:gd name="T82" fmla="*/ 77 w 343"/>
                <a:gd name="T83" fmla="*/ 156 h 382"/>
                <a:gd name="T84" fmla="*/ 57 w 343"/>
                <a:gd name="T85" fmla="*/ 191 h 382"/>
                <a:gd name="T86" fmla="*/ 37 w 343"/>
                <a:gd name="T87" fmla="*/ 198 h 382"/>
                <a:gd name="T88" fmla="*/ 18 w 343"/>
                <a:gd name="T89" fmla="*/ 198 h 382"/>
                <a:gd name="T90" fmla="*/ 0 w 343"/>
                <a:gd name="T91" fmla="*/ 203 h 382"/>
                <a:gd name="T92" fmla="*/ 8 w 343"/>
                <a:gd name="T93" fmla="*/ 21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3" h="382">
                  <a:moveTo>
                    <a:pt x="8" y="211"/>
                  </a:moveTo>
                  <a:lnTo>
                    <a:pt x="0" y="216"/>
                  </a:lnTo>
                  <a:lnTo>
                    <a:pt x="0" y="223"/>
                  </a:lnTo>
                  <a:lnTo>
                    <a:pt x="8" y="226"/>
                  </a:lnTo>
                  <a:lnTo>
                    <a:pt x="32" y="226"/>
                  </a:lnTo>
                  <a:lnTo>
                    <a:pt x="50" y="221"/>
                  </a:lnTo>
                  <a:lnTo>
                    <a:pt x="85" y="223"/>
                  </a:lnTo>
                  <a:lnTo>
                    <a:pt x="92" y="253"/>
                  </a:lnTo>
                  <a:lnTo>
                    <a:pt x="100" y="258"/>
                  </a:lnTo>
                  <a:lnTo>
                    <a:pt x="100" y="268"/>
                  </a:lnTo>
                  <a:lnTo>
                    <a:pt x="132" y="268"/>
                  </a:lnTo>
                  <a:lnTo>
                    <a:pt x="134" y="248"/>
                  </a:lnTo>
                  <a:lnTo>
                    <a:pt x="142" y="241"/>
                  </a:lnTo>
                  <a:lnTo>
                    <a:pt x="152" y="263"/>
                  </a:lnTo>
                  <a:lnTo>
                    <a:pt x="159" y="258"/>
                  </a:lnTo>
                  <a:lnTo>
                    <a:pt x="172" y="256"/>
                  </a:lnTo>
                  <a:lnTo>
                    <a:pt x="177" y="266"/>
                  </a:lnTo>
                  <a:lnTo>
                    <a:pt x="179" y="305"/>
                  </a:lnTo>
                  <a:lnTo>
                    <a:pt x="179" y="320"/>
                  </a:lnTo>
                  <a:lnTo>
                    <a:pt x="189" y="330"/>
                  </a:lnTo>
                  <a:lnTo>
                    <a:pt x="211" y="330"/>
                  </a:lnTo>
                  <a:lnTo>
                    <a:pt x="229" y="333"/>
                  </a:lnTo>
                  <a:lnTo>
                    <a:pt x="234" y="350"/>
                  </a:lnTo>
                  <a:lnTo>
                    <a:pt x="244" y="353"/>
                  </a:lnTo>
                  <a:lnTo>
                    <a:pt x="249" y="343"/>
                  </a:lnTo>
                  <a:lnTo>
                    <a:pt x="264" y="340"/>
                  </a:lnTo>
                  <a:lnTo>
                    <a:pt x="264" y="345"/>
                  </a:lnTo>
                  <a:lnTo>
                    <a:pt x="279" y="353"/>
                  </a:lnTo>
                  <a:lnTo>
                    <a:pt x="284" y="372"/>
                  </a:lnTo>
                  <a:lnTo>
                    <a:pt x="291" y="382"/>
                  </a:lnTo>
                  <a:lnTo>
                    <a:pt x="308" y="382"/>
                  </a:lnTo>
                  <a:lnTo>
                    <a:pt x="313" y="370"/>
                  </a:lnTo>
                  <a:lnTo>
                    <a:pt x="311" y="348"/>
                  </a:lnTo>
                  <a:lnTo>
                    <a:pt x="298" y="348"/>
                  </a:lnTo>
                  <a:lnTo>
                    <a:pt x="291" y="340"/>
                  </a:lnTo>
                  <a:lnTo>
                    <a:pt x="296" y="285"/>
                  </a:lnTo>
                  <a:lnTo>
                    <a:pt x="303" y="273"/>
                  </a:lnTo>
                  <a:lnTo>
                    <a:pt x="316" y="268"/>
                  </a:lnTo>
                  <a:lnTo>
                    <a:pt x="321" y="256"/>
                  </a:lnTo>
                  <a:lnTo>
                    <a:pt x="321" y="246"/>
                  </a:lnTo>
                  <a:lnTo>
                    <a:pt x="321" y="233"/>
                  </a:lnTo>
                  <a:lnTo>
                    <a:pt x="316" y="223"/>
                  </a:lnTo>
                  <a:lnTo>
                    <a:pt x="313" y="213"/>
                  </a:lnTo>
                  <a:lnTo>
                    <a:pt x="313" y="196"/>
                  </a:lnTo>
                  <a:lnTo>
                    <a:pt x="308" y="184"/>
                  </a:lnTo>
                  <a:lnTo>
                    <a:pt x="303" y="179"/>
                  </a:lnTo>
                  <a:lnTo>
                    <a:pt x="306" y="159"/>
                  </a:lnTo>
                  <a:lnTo>
                    <a:pt x="296" y="161"/>
                  </a:lnTo>
                  <a:lnTo>
                    <a:pt x="293" y="151"/>
                  </a:lnTo>
                  <a:lnTo>
                    <a:pt x="301" y="144"/>
                  </a:lnTo>
                  <a:lnTo>
                    <a:pt x="298" y="131"/>
                  </a:lnTo>
                  <a:lnTo>
                    <a:pt x="308" y="126"/>
                  </a:lnTo>
                  <a:lnTo>
                    <a:pt x="313" y="84"/>
                  </a:lnTo>
                  <a:lnTo>
                    <a:pt x="333" y="77"/>
                  </a:lnTo>
                  <a:lnTo>
                    <a:pt x="343" y="72"/>
                  </a:lnTo>
                  <a:lnTo>
                    <a:pt x="343" y="62"/>
                  </a:lnTo>
                  <a:lnTo>
                    <a:pt x="333" y="59"/>
                  </a:lnTo>
                  <a:lnTo>
                    <a:pt x="333" y="52"/>
                  </a:lnTo>
                  <a:lnTo>
                    <a:pt x="328" y="29"/>
                  </a:lnTo>
                  <a:lnTo>
                    <a:pt x="328" y="27"/>
                  </a:lnTo>
                  <a:lnTo>
                    <a:pt x="316" y="24"/>
                  </a:lnTo>
                  <a:lnTo>
                    <a:pt x="311" y="15"/>
                  </a:lnTo>
                  <a:lnTo>
                    <a:pt x="269" y="10"/>
                  </a:lnTo>
                  <a:lnTo>
                    <a:pt x="264" y="2"/>
                  </a:lnTo>
                  <a:lnTo>
                    <a:pt x="254" y="0"/>
                  </a:lnTo>
                  <a:lnTo>
                    <a:pt x="231" y="5"/>
                  </a:lnTo>
                  <a:lnTo>
                    <a:pt x="216" y="2"/>
                  </a:lnTo>
                  <a:lnTo>
                    <a:pt x="216" y="10"/>
                  </a:lnTo>
                  <a:lnTo>
                    <a:pt x="179" y="12"/>
                  </a:lnTo>
                  <a:lnTo>
                    <a:pt x="177" y="20"/>
                  </a:lnTo>
                  <a:lnTo>
                    <a:pt x="144" y="24"/>
                  </a:lnTo>
                  <a:lnTo>
                    <a:pt x="139" y="12"/>
                  </a:lnTo>
                  <a:lnTo>
                    <a:pt x="127" y="7"/>
                  </a:lnTo>
                  <a:lnTo>
                    <a:pt x="119" y="17"/>
                  </a:lnTo>
                  <a:lnTo>
                    <a:pt x="112" y="22"/>
                  </a:lnTo>
                  <a:lnTo>
                    <a:pt x="105" y="27"/>
                  </a:lnTo>
                  <a:lnTo>
                    <a:pt x="114" y="32"/>
                  </a:lnTo>
                  <a:lnTo>
                    <a:pt x="112" y="54"/>
                  </a:lnTo>
                  <a:lnTo>
                    <a:pt x="107" y="59"/>
                  </a:lnTo>
                  <a:lnTo>
                    <a:pt x="105" y="114"/>
                  </a:lnTo>
                  <a:lnTo>
                    <a:pt x="100" y="121"/>
                  </a:lnTo>
                  <a:lnTo>
                    <a:pt x="92" y="129"/>
                  </a:lnTo>
                  <a:lnTo>
                    <a:pt x="92" y="154"/>
                  </a:lnTo>
                  <a:lnTo>
                    <a:pt x="77" y="156"/>
                  </a:lnTo>
                  <a:lnTo>
                    <a:pt x="75" y="184"/>
                  </a:lnTo>
                  <a:lnTo>
                    <a:pt x="57" y="191"/>
                  </a:lnTo>
                  <a:lnTo>
                    <a:pt x="52" y="198"/>
                  </a:lnTo>
                  <a:lnTo>
                    <a:pt x="37" y="198"/>
                  </a:lnTo>
                  <a:lnTo>
                    <a:pt x="30" y="194"/>
                  </a:lnTo>
                  <a:lnTo>
                    <a:pt x="18" y="198"/>
                  </a:lnTo>
                  <a:lnTo>
                    <a:pt x="8" y="201"/>
                  </a:lnTo>
                  <a:lnTo>
                    <a:pt x="0" y="203"/>
                  </a:lnTo>
                  <a:lnTo>
                    <a:pt x="5" y="211"/>
                  </a:lnTo>
                  <a:lnTo>
                    <a:pt x="8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6" name="Freeform 187"/>
            <p:cNvSpPr>
              <a:spLocks/>
            </p:cNvSpPr>
            <p:nvPr/>
          </p:nvSpPr>
          <p:spPr bwMode="auto">
            <a:xfrm>
              <a:off x="4558249" y="4545042"/>
              <a:ext cx="318071" cy="356930"/>
            </a:xfrm>
            <a:custGeom>
              <a:avLst/>
              <a:gdLst>
                <a:gd name="T0" fmla="*/ 10 w 221"/>
                <a:gd name="T1" fmla="*/ 2 h 248"/>
                <a:gd name="T2" fmla="*/ 18 w 221"/>
                <a:gd name="T3" fmla="*/ 5 h 248"/>
                <a:gd name="T4" fmla="*/ 42 w 221"/>
                <a:gd name="T5" fmla="*/ 5 h 248"/>
                <a:gd name="T6" fmla="*/ 60 w 221"/>
                <a:gd name="T7" fmla="*/ 0 h 248"/>
                <a:gd name="T8" fmla="*/ 95 w 221"/>
                <a:gd name="T9" fmla="*/ 2 h 248"/>
                <a:gd name="T10" fmla="*/ 102 w 221"/>
                <a:gd name="T11" fmla="*/ 32 h 248"/>
                <a:gd name="T12" fmla="*/ 110 w 221"/>
                <a:gd name="T13" fmla="*/ 37 h 248"/>
                <a:gd name="T14" fmla="*/ 110 w 221"/>
                <a:gd name="T15" fmla="*/ 47 h 248"/>
                <a:gd name="T16" fmla="*/ 142 w 221"/>
                <a:gd name="T17" fmla="*/ 47 h 248"/>
                <a:gd name="T18" fmla="*/ 144 w 221"/>
                <a:gd name="T19" fmla="*/ 27 h 248"/>
                <a:gd name="T20" fmla="*/ 152 w 221"/>
                <a:gd name="T21" fmla="*/ 20 h 248"/>
                <a:gd name="T22" fmla="*/ 162 w 221"/>
                <a:gd name="T23" fmla="*/ 42 h 248"/>
                <a:gd name="T24" fmla="*/ 169 w 221"/>
                <a:gd name="T25" fmla="*/ 37 h 248"/>
                <a:gd name="T26" fmla="*/ 182 w 221"/>
                <a:gd name="T27" fmla="*/ 35 h 248"/>
                <a:gd name="T28" fmla="*/ 187 w 221"/>
                <a:gd name="T29" fmla="*/ 45 h 248"/>
                <a:gd name="T30" fmla="*/ 189 w 221"/>
                <a:gd name="T31" fmla="*/ 84 h 248"/>
                <a:gd name="T32" fmla="*/ 189 w 221"/>
                <a:gd name="T33" fmla="*/ 99 h 248"/>
                <a:gd name="T34" fmla="*/ 199 w 221"/>
                <a:gd name="T35" fmla="*/ 109 h 248"/>
                <a:gd name="T36" fmla="*/ 221 w 221"/>
                <a:gd name="T37" fmla="*/ 109 h 248"/>
                <a:gd name="T38" fmla="*/ 219 w 221"/>
                <a:gd name="T39" fmla="*/ 149 h 248"/>
                <a:gd name="T40" fmla="*/ 202 w 221"/>
                <a:gd name="T41" fmla="*/ 149 h 248"/>
                <a:gd name="T42" fmla="*/ 197 w 221"/>
                <a:gd name="T43" fmla="*/ 139 h 248"/>
                <a:gd name="T44" fmla="*/ 189 w 221"/>
                <a:gd name="T45" fmla="*/ 139 h 248"/>
                <a:gd name="T46" fmla="*/ 189 w 221"/>
                <a:gd name="T47" fmla="*/ 149 h 248"/>
                <a:gd name="T48" fmla="*/ 177 w 221"/>
                <a:gd name="T49" fmla="*/ 151 h 248"/>
                <a:gd name="T50" fmla="*/ 174 w 221"/>
                <a:gd name="T51" fmla="*/ 199 h 248"/>
                <a:gd name="T52" fmla="*/ 177 w 221"/>
                <a:gd name="T53" fmla="*/ 214 h 248"/>
                <a:gd name="T54" fmla="*/ 192 w 221"/>
                <a:gd name="T55" fmla="*/ 231 h 248"/>
                <a:gd name="T56" fmla="*/ 192 w 221"/>
                <a:gd name="T57" fmla="*/ 241 h 248"/>
                <a:gd name="T58" fmla="*/ 172 w 221"/>
                <a:gd name="T59" fmla="*/ 248 h 248"/>
                <a:gd name="T60" fmla="*/ 157 w 221"/>
                <a:gd name="T61" fmla="*/ 246 h 248"/>
                <a:gd name="T62" fmla="*/ 119 w 221"/>
                <a:gd name="T63" fmla="*/ 241 h 248"/>
                <a:gd name="T64" fmla="*/ 115 w 221"/>
                <a:gd name="T65" fmla="*/ 231 h 248"/>
                <a:gd name="T66" fmla="*/ 67 w 221"/>
                <a:gd name="T67" fmla="*/ 234 h 248"/>
                <a:gd name="T68" fmla="*/ 37 w 221"/>
                <a:gd name="T69" fmla="*/ 231 h 248"/>
                <a:gd name="T70" fmla="*/ 18 w 221"/>
                <a:gd name="T71" fmla="*/ 224 h 248"/>
                <a:gd name="T72" fmla="*/ 0 w 221"/>
                <a:gd name="T73" fmla="*/ 229 h 248"/>
                <a:gd name="T74" fmla="*/ 0 w 221"/>
                <a:gd name="T75" fmla="*/ 199 h 248"/>
                <a:gd name="T76" fmla="*/ 20 w 221"/>
                <a:gd name="T77" fmla="*/ 164 h 248"/>
                <a:gd name="T78" fmla="*/ 30 w 221"/>
                <a:gd name="T79" fmla="*/ 142 h 248"/>
                <a:gd name="T80" fmla="*/ 32 w 221"/>
                <a:gd name="T81" fmla="*/ 134 h 248"/>
                <a:gd name="T82" fmla="*/ 40 w 221"/>
                <a:gd name="T83" fmla="*/ 132 h 248"/>
                <a:gd name="T84" fmla="*/ 42 w 221"/>
                <a:gd name="T85" fmla="*/ 114 h 248"/>
                <a:gd name="T86" fmla="*/ 32 w 221"/>
                <a:gd name="T87" fmla="*/ 97 h 248"/>
                <a:gd name="T88" fmla="*/ 28 w 221"/>
                <a:gd name="T89" fmla="*/ 72 h 248"/>
                <a:gd name="T90" fmla="*/ 25 w 221"/>
                <a:gd name="T91" fmla="*/ 47 h 248"/>
                <a:gd name="T92" fmla="*/ 15 w 221"/>
                <a:gd name="T93" fmla="*/ 40 h 248"/>
                <a:gd name="T94" fmla="*/ 15 w 221"/>
                <a:gd name="T95" fmla="*/ 12 h 248"/>
                <a:gd name="T96" fmla="*/ 5 w 221"/>
                <a:gd name="T97" fmla="*/ 12 h 248"/>
                <a:gd name="T98" fmla="*/ 10 w 221"/>
                <a:gd name="T99" fmla="*/ 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1" h="248">
                  <a:moveTo>
                    <a:pt x="10" y="2"/>
                  </a:moveTo>
                  <a:lnTo>
                    <a:pt x="18" y="5"/>
                  </a:lnTo>
                  <a:lnTo>
                    <a:pt x="42" y="5"/>
                  </a:lnTo>
                  <a:lnTo>
                    <a:pt x="60" y="0"/>
                  </a:lnTo>
                  <a:lnTo>
                    <a:pt x="95" y="2"/>
                  </a:lnTo>
                  <a:lnTo>
                    <a:pt x="102" y="32"/>
                  </a:lnTo>
                  <a:lnTo>
                    <a:pt x="110" y="37"/>
                  </a:lnTo>
                  <a:lnTo>
                    <a:pt x="110" y="47"/>
                  </a:lnTo>
                  <a:lnTo>
                    <a:pt x="142" y="47"/>
                  </a:lnTo>
                  <a:lnTo>
                    <a:pt x="144" y="27"/>
                  </a:lnTo>
                  <a:lnTo>
                    <a:pt x="152" y="20"/>
                  </a:lnTo>
                  <a:lnTo>
                    <a:pt x="162" y="42"/>
                  </a:lnTo>
                  <a:lnTo>
                    <a:pt x="169" y="37"/>
                  </a:lnTo>
                  <a:lnTo>
                    <a:pt x="182" y="35"/>
                  </a:lnTo>
                  <a:lnTo>
                    <a:pt x="187" y="45"/>
                  </a:lnTo>
                  <a:lnTo>
                    <a:pt x="189" y="84"/>
                  </a:lnTo>
                  <a:lnTo>
                    <a:pt x="189" y="99"/>
                  </a:lnTo>
                  <a:lnTo>
                    <a:pt x="199" y="109"/>
                  </a:lnTo>
                  <a:lnTo>
                    <a:pt x="221" y="109"/>
                  </a:lnTo>
                  <a:lnTo>
                    <a:pt x="219" y="149"/>
                  </a:lnTo>
                  <a:lnTo>
                    <a:pt x="202" y="149"/>
                  </a:lnTo>
                  <a:lnTo>
                    <a:pt x="197" y="139"/>
                  </a:lnTo>
                  <a:lnTo>
                    <a:pt x="189" y="139"/>
                  </a:lnTo>
                  <a:lnTo>
                    <a:pt x="189" y="149"/>
                  </a:lnTo>
                  <a:lnTo>
                    <a:pt x="177" y="151"/>
                  </a:lnTo>
                  <a:lnTo>
                    <a:pt x="174" y="199"/>
                  </a:lnTo>
                  <a:lnTo>
                    <a:pt x="177" y="214"/>
                  </a:lnTo>
                  <a:lnTo>
                    <a:pt x="192" y="231"/>
                  </a:lnTo>
                  <a:lnTo>
                    <a:pt x="192" y="241"/>
                  </a:lnTo>
                  <a:lnTo>
                    <a:pt x="172" y="248"/>
                  </a:lnTo>
                  <a:lnTo>
                    <a:pt x="157" y="246"/>
                  </a:lnTo>
                  <a:lnTo>
                    <a:pt x="119" y="241"/>
                  </a:lnTo>
                  <a:lnTo>
                    <a:pt x="115" y="231"/>
                  </a:lnTo>
                  <a:lnTo>
                    <a:pt x="67" y="234"/>
                  </a:lnTo>
                  <a:lnTo>
                    <a:pt x="37" y="231"/>
                  </a:lnTo>
                  <a:lnTo>
                    <a:pt x="18" y="224"/>
                  </a:lnTo>
                  <a:lnTo>
                    <a:pt x="0" y="229"/>
                  </a:lnTo>
                  <a:lnTo>
                    <a:pt x="0" y="199"/>
                  </a:lnTo>
                  <a:lnTo>
                    <a:pt x="20" y="164"/>
                  </a:lnTo>
                  <a:lnTo>
                    <a:pt x="30" y="142"/>
                  </a:lnTo>
                  <a:lnTo>
                    <a:pt x="32" y="134"/>
                  </a:lnTo>
                  <a:lnTo>
                    <a:pt x="40" y="132"/>
                  </a:lnTo>
                  <a:lnTo>
                    <a:pt x="42" y="114"/>
                  </a:lnTo>
                  <a:lnTo>
                    <a:pt x="32" y="97"/>
                  </a:lnTo>
                  <a:lnTo>
                    <a:pt x="28" y="72"/>
                  </a:lnTo>
                  <a:lnTo>
                    <a:pt x="25" y="47"/>
                  </a:lnTo>
                  <a:lnTo>
                    <a:pt x="15" y="40"/>
                  </a:lnTo>
                  <a:lnTo>
                    <a:pt x="15" y="12"/>
                  </a:lnTo>
                  <a:lnTo>
                    <a:pt x="5" y="1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7" name="Freeform 188"/>
            <p:cNvSpPr>
              <a:spLocks/>
            </p:cNvSpPr>
            <p:nvPr/>
          </p:nvSpPr>
          <p:spPr bwMode="auto">
            <a:xfrm>
              <a:off x="5034637" y="5145203"/>
              <a:ext cx="38859" cy="47495"/>
            </a:xfrm>
            <a:custGeom>
              <a:avLst/>
              <a:gdLst>
                <a:gd name="T0" fmla="*/ 27 w 27"/>
                <a:gd name="T1" fmla="*/ 28 h 33"/>
                <a:gd name="T2" fmla="*/ 22 w 27"/>
                <a:gd name="T3" fmla="*/ 13 h 33"/>
                <a:gd name="T4" fmla="*/ 17 w 27"/>
                <a:gd name="T5" fmla="*/ 0 h 33"/>
                <a:gd name="T6" fmla="*/ 2 w 27"/>
                <a:gd name="T7" fmla="*/ 5 h 33"/>
                <a:gd name="T8" fmla="*/ 0 w 27"/>
                <a:gd name="T9" fmla="*/ 18 h 33"/>
                <a:gd name="T10" fmla="*/ 2 w 27"/>
                <a:gd name="T11" fmla="*/ 25 h 33"/>
                <a:gd name="T12" fmla="*/ 10 w 27"/>
                <a:gd name="T13" fmla="*/ 28 h 33"/>
                <a:gd name="T14" fmla="*/ 20 w 27"/>
                <a:gd name="T15" fmla="*/ 33 h 33"/>
                <a:gd name="T16" fmla="*/ 27 w 27"/>
                <a:gd name="T17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3">
                  <a:moveTo>
                    <a:pt x="27" y="28"/>
                  </a:moveTo>
                  <a:lnTo>
                    <a:pt x="22" y="13"/>
                  </a:lnTo>
                  <a:lnTo>
                    <a:pt x="17" y="0"/>
                  </a:lnTo>
                  <a:lnTo>
                    <a:pt x="2" y="5"/>
                  </a:lnTo>
                  <a:lnTo>
                    <a:pt x="0" y="18"/>
                  </a:lnTo>
                  <a:lnTo>
                    <a:pt x="2" y="25"/>
                  </a:lnTo>
                  <a:lnTo>
                    <a:pt x="10" y="28"/>
                  </a:lnTo>
                  <a:lnTo>
                    <a:pt x="20" y="33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8" name="Freeform 189"/>
            <p:cNvSpPr>
              <a:spLocks/>
            </p:cNvSpPr>
            <p:nvPr/>
          </p:nvSpPr>
          <p:spPr bwMode="auto">
            <a:xfrm>
              <a:off x="5119551" y="4234167"/>
              <a:ext cx="204371" cy="267698"/>
            </a:xfrm>
            <a:custGeom>
              <a:avLst/>
              <a:gdLst>
                <a:gd name="T0" fmla="*/ 102 w 142"/>
                <a:gd name="T1" fmla="*/ 186 h 186"/>
                <a:gd name="T2" fmla="*/ 75 w 142"/>
                <a:gd name="T3" fmla="*/ 171 h 186"/>
                <a:gd name="T4" fmla="*/ 75 w 142"/>
                <a:gd name="T5" fmla="*/ 156 h 186"/>
                <a:gd name="T6" fmla="*/ 55 w 142"/>
                <a:gd name="T7" fmla="*/ 151 h 186"/>
                <a:gd name="T8" fmla="*/ 20 w 142"/>
                <a:gd name="T9" fmla="*/ 121 h 186"/>
                <a:gd name="T10" fmla="*/ 5 w 142"/>
                <a:gd name="T11" fmla="*/ 121 h 186"/>
                <a:gd name="T12" fmla="*/ 0 w 142"/>
                <a:gd name="T13" fmla="*/ 109 h 186"/>
                <a:gd name="T14" fmla="*/ 5 w 142"/>
                <a:gd name="T15" fmla="*/ 89 h 186"/>
                <a:gd name="T16" fmla="*/ 15 w 142"/>
                <a:gd name="T17" fmla="*/ 69 h 186"/>
                <a:gd name="T18" fmla="*/ 15 w 142"/>
                <a:gd name="T19" fmla="*/ 37 h 186"/>
                <a:gd name="T20" fmla="*/ 5 w 142"/>
                <a:gd name="T21" fmla="*/ 19 h 186"/>
                <a:gd name="T22" fmla="*/ 30 w 142"/>
                <a:gd name="T23" fmla="*/ 0 h 186"/>
                <a:gd name="T24" fmla="*/ 48 w 142"/>
                <a:gd name="T25" fmla="*/ 5 h 186"/>
                <a:gd name="T26" fmla="*/ 65 w 142"/>
                <a:gd name="T27" fmla="*/ 17 h 186"/>
                <a:gd name="T28" fmla="*/ 68 w 142"/>
                <a:gd name="T29" fmla="*/ 29 h 186"/>
                <a:gd name="T30" fmla="*/ 105 w 142"/>
                <a:gd name="T31" fmla="*/ 27 h 186"/>
                <a:gd name="T32" fmla="*/ 105 w 142"/>
                <a:gd name="T33" fmla="*/ 19 h 186"/>
                <a:gd name="T34" fmla="*/ 127 w 142"/>
                <a:gd name="T35" fmla="*/ 17 h 186"/>
                <a:gd name="T36" fmla="*/ 135 w 142"/>
                <a:gd name="T37" fmla="*/ 24 h 186"/>
                <a:gd name="T38" fmla="*/ 142 w 142"/>
                <a:gd name="T39" fmla="*/ 29 h 186"/>
                <a:gd name="T40" fmla="*/ 135 w 142"/>
                <a:gd name="T41" fmla="*/ 37 h 186"/>
                <a:gd name="T42" fmla="*/ 127 w 142"/>
                <a:gd name="T43" fmla="*/ 49 h 186"/>
                <a:gd name="T44" fmla="*/ 132 w 142"/>
                <a:gd name="T45" fmla="*/ 126 h 186"/>
                <a:gd name="T46" fmla="*/ 140 w 142"/>
                <a:gd name="T47" fmla="*/ 131 h 186"/>
                <a:gd name="T48" fmla="*/ 132 w 142"/>
                <a:gd name="T49" fmla="*/ 139 h 186"/>
                <a:gd name="T50" fmla="*/ 125 w 142"/>
                <a:gd name="T51" fmla="*/ 151 h 186"/>
                <a:gd name="T52" fmla="*/ 112 w 142"/>
                <a:gd name="T53" fmla="*/ 161 h 186"/>
                <a:gd name="T54" fmla="*/ 110 w 142"/>
                <a:gd name="T55" fmla="*/ 174 h 186"/>
                <a:gd name="T56" fmla="*/ 102 w 142"/>
                <a:gd name="T5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2" h="186">
                  <a:moveTo>
                    <a:pt x="102" y="186"/>
                  </a:moveTo>
                  <a:lnTo>
                    <a:pt x="75" y="171"/>
                  </a:lnTo>
                  <a:lnTo>
                    <a:pt x="75" y="156"/>
                  </a:lnTo>
                  <a:lnTo>
                    <a:pt x="55" y="151"/>
                  </a:lnTo>
                  <a:lnTo>
                    <a:pt x="20" y="121"/>
                  </a:lnTo>
                  <a:lnTo>
                    <a:pt x="5" y="121"/>
                  </a:lnTo>
                  <a:lnTo>
                    <a:pt x="0" y="109"/>
                  </a:lnTo>
                  <a:lnTo>
                    <a:pt x="5" y="89"/>
                  </a:lnTo>
                  <a:lnTo>
                    <a:pt x="15" y="69"/>
                  </a:lnTo>
                  <a:lnTo>
                    <a:pt x="15" y="37"/>
                  </a:lnTo>
                  <a:lnTo>
                    <a:pt x="5" y="19"/>
                  </a:lnTo>
                  <a:lnTo>
                    <a:pt x="30" y="0"/>
                  </a:lnTo>
                  <a:lnTo>
                    <a:pt x="48" y="5"/>
                  </a:lnTo>
                  <a:lnTo>
                    <a:pt x="65" y="17"/>
                  </a:lnTo>
                  <a:lnTo>
                    <a:pt x="68" y="29"/>
                  </a:lnTo>
                  <a:lnTo>
                    <a:pt x="105" y="27"/>
                  </a:lnTo>
                  <a:lnTo>
                    <a:pt x="105" y="19"/>
                  </a:lnTo>
                  <a:lnTo>
                    <a:pt x="127" y="17"/>
                  </a:lnTo>
                  <a:lnTo>
                    <a:pt x="135" y="24"/>
                  </a:lnTo>
                  <a:lnTo>
                    <a:pt x="142" y="29"/>
                  </a:lnTo>
                  <a:lnTo>
                    <a:pt x="135" y="37"/>
                  </a:lnTo>
                  <a:lnTo>
                    <a:pt x="127" y="49"/>
                  </a:lnTo>
                  <a:lnTo>
                    <a:pt x="132" y="126"/>
                  </a:lnTo>
                  <a:lnTo>
                    <a:pt x="140" y="131"/>
                  </a:lnTo>
                  <a:lnTo>
                    <a:pt x="132" y="139"/>
                  </a:lnTo>
                  <a:lnTo>
                    <a:pt x="125" y="151"/>
                  </a:lnTo>
                  <a:lnTo>
                    <a:pt x="112" y="161"/>
                  </a:lnTo>
                  <a:lnTo>
                    <a:pt x="110" y="174"/>
                  </a:lnTo>
                  <a:lnTo>
                    <a:pt x="102" y="18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79" name="Freeform 190"/>
            <p:cNvSpPr>
              <a:spLocks/>
            </p:cNvSpPr>
            <p:nvPr/>
          </p:nvSpPr>
          <p:spPr bwMode="auto">
            <a:xfrm>
              <a:off x="5102280" y="3786565"/>
              <a:ext cx="358370" cy="489340"/>
            </a:xfrm>
            <a:custGeom>
              <a:avLst/>
              <a:gdLst>
                <a:gd name="T0" fmla="*/ 154 w 249"/>
                <a:gd name="T1" fmla="*/ 340 h 340"/>
                <a:gd name="T2" fmla="*/ 147 w 249"/>
                <a:gd name="T3" fmla="*/ 335 h 340"/>
                <a:gd name="T4" fmla="*/ 139 w 249"/>
                <a:gd name="T5" fmla="*/ 328 h 340"/>
                <a:gd name="T6" fmla="*/ 117 w 249"/>
                <a:gd name="T7" fmla="*/ 330 h 340"/>
                <a:gd name="T8" fmla="*/ 117 w 249"/>
                <a:gd name="T9" fmla="*/ 338 h 340"/>
                <a:gd name="T10" fmla="*/ 80 w 249"/>
                <a:gd name="T11" fmla="*/ 340 h 340"/>
                <a:gd name="T12" fmla="*/ 77 w 249"/>
                <a:gd name="T13" fmla="*/ 328 h 340"/>
                <a:gd name="T14" fmla="*/ 60 w 249"/>
                <a:gd name="T15" fmla="*/ 316 h 340"/>
                <a:gd name="T16" fmla="*/ 42 w 249"/>
                <a:gd name="T17" fmla="*/ 311 h 340"/>
                <a:gd name="T18" fmla="*/ 42 w 249"/>
                <a:gd name="T19" fmla="*/ 301 h 340"/>
                <a:gd name="T20" fmla="*/ 35 w 249"/>
                <a:gd name="T21" fmla="*/ 286 h 340"/>
                <a:gd name="T22" fmla="*/ 27 w 249"/>
                <a:gd name="T23" fmla="*/ 281 h 340"/>
                <a:gd name="T24" fmla="*/ 20 w 249"/>
                <a:gd name="T25" fmla="*/ 276 h 340"/>
                <a:gd name="T26" fmla="*/ 17 w 249"/>
                <a:gd name="T27" fmla="*/ 261 h 340"/>
                <a:gd name="T28" fmla="*/ 10 w 249"/>
                <a:gd name="T29" fmla="*/ 258 h 340"/>
                <a:gd name="T30" fmla="*/ 0 w 249"/>
                <a:gd name="T31" fmla="*/ 241 h 340"/>
                <a:gd name="T32" fmla="*/ 17 w 249"/>
                <a:gd name="T33" fmla="*/ 239 h 340"/>
                <a:gd name="T34" fmla="*/ 22 w 249"/>
                <a:gd name="T35" fmla="*/ 199 h 340"/>
                <a:gd name="T36" fmla="*/ 37 w 249"/>
                <a:gd name="T37" fmla="*/ 199 h 340"/>
                <a:gd name="T38" fmla="*/ 40 w 249"/>
                <a:gd name="T39" fmla="*/ 159 h 340"/>
                <a:gd name="T40" fmla="*/ 62 w 249"/>
                <a:gd name="T41" fmla="*/ 154 h 340"/>
                <a:gd name="T42" fmla="*/ 60 w 249"/>
                <a:gd name="T43" fmla="*/ 107 h 340"/>
                <a:gd name="T44" fmla="*/ 47 w 249"/>
                <a:gd name="T45" fmla="*/ 102 h 340"/>
                <a:gd name="T46" fmla="*/ 47 w 249"/>
                <a:gd name="T47" fmla="*/ 89 h 340"/>
                <a:gd name="T48" fmla="*/ 65 w 249"/>
                <a:gd name="T49" fmla="*/ 89 h 340"/>
                <a:gd name="T50" fmla="*/ 62 w 249"/>
                <a:gd name="T51" fmla="*/ 74 h 340"/>
                <a:gd name="T52" fmla="*/ 55 w 249"/>
                <a:gd name="T53" fmla="*/ 57 h 340"/>
                <a:gd name="T54" fmla="*/ 55 w 249"/>
                <a:gd name="T55" fmla="*/ 35 h 340"/>
                <a:gd name="T56" fmla="*/ 67 w 249"/>
                <a:gd name="T57" fmla="*/ 0 h 340"/>
                <a:gd name="T58" fmla="*/ 75 w 249"/>
                <a:gd name="T59" fmla="*/ 15 h 340"/>
                <a:gd name="T60" fmla="*/ 82 w 249"/>
                <a:gd name="T61" fmla="*/ 32 h 340"/>
                <a:gd name="T62" fmla="*/ 92 w 249"/>
                <a:gd name="T63" fmla="*/ 42 h 340"/>
                <a:gd name="T64" fmla="*/ 102 w 249"/>
                <a:gd name="T65" fmla="*/ 65 h 340"/>
                <a:gd name="T66" fmla="*/ 109 w 249"/>
                <a:gd name="T67" fmla="*/ 79 h 340"/>
                <a:gd name="T68" fmla="*/ 112 w 249"/>
                <a:gd name="T69" fmla="*/ 94 h 340"/>
                <a:gd name="T70" fmla="*/ 132 w 249"/>
                <a:gd name="T71" fmla="*/ 102 h 340"/>
                <a:gd name="T72" fmla="*/ 142 w 249"/>
                <a:gd name="T73" fmla="*/ 124 h 340"/>
                <a:gd name="T74" fmla="*/ 157 w 249"/>
                <a:gd name="T75" fmla="*/ 152 h 340"/>
                <a:gd name="T76" fmla="*/ 152 w 249"/>
                <a:gd name="T77" fmla="*/ 164 h 340"/>
                <a:gd name="T78" fmla="*/ 149 w 249"/>
                <a:gd name="T79" fmla="*/ 196 h 340"/>
                <a:gd name="T80" fmla="*/ 169 w 249"/>
                <a:gd name="T81" fmla="*/ 201 h 340"/>
                <a:gd name="T82" fmla="*/ 182 w 249"/>
                <a:gd name="T83" fmla="*/ 211 h 340"/>
                <a:gd name="T84" fmla="*/ 211 w 249"/>
                <a:gd name="T85" fmla="*/ 241 h 340"/>
                <a:gd name="T86" fmla="*/ 234 w 249"/>
                <a:gd name="T87" fmla="*/ 241 h 340"/>
                <a:gd name="T88" fmla="*/ 249 w 249"/>
                <a:gd name="T89" fmla="*/ 258 h 340"/>
                <a:gd name="T90" fmla="*/ 231 w 249"/>
                <a:gd name="T91" fmla="*/ 273 h 340"/>
                <a:gd name="T92" fmla="*/ 229 w 249"/>
                <a:gd name="T93" fmla="*/ 298 h 340"/>
                <a:gd name="T94" fmla="*/ 209 w 249"/>
                <a:gd name="T95" fmla="*/ 316 h 340"/>
                <a:gd name="T96" fmla="*/ 186 w 249"/>
                <a:gd name="T97" fmla="*/ 321 h 340"/>
                <a:gd name="T98" fmla="*/ 169 w 249"/>
                <a:gd name="T99" fmla="*/ 321 h 340"/>
                <a:gd name="T100" fmla="*/ 154 w 249"/>
                <a:gd name="T101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9" h="340">
                  <a:moveTo>
                    <a:pt x="154" y="340"/>
                  </a:moveTo>
                  <a:lnTo>
                    <a:pt x="147" y="335"/>
                  </a:lnTo>
                  <a:lnTo>
                    <a:pt x="139" y="328"/>
                  </a:lnTo>
                  <a:lnTo>
                    <a:pt x="117" y="330"/>
                  </a:lnTo>
                  <a:lnTo>
                    <a:pt x="117" y="338"/>
                  </a:lnTo>
                  <a:lnTo>
                    <a:pt x="80" y="340"/>
                  </a:lnTo>
                  <a:lnTo>
                    <a:pt x="77" y="328"/>
                  </a:lnTo>
                  <a:lnTo>
                    <a:pt x="60" y="316"/>
                  </a:lnTo>
                  <a:lnTo>
                    <a:pt x="42" y="311"/>
                  </a:lnTo>
                  <a:lnTo>
                    <a:pt x="42" y="301"/>
                  </a:lnTo>
                  <a:lnTo>
                    <a:pt x="35" y="286"/>
                  </a:lnTo>
                  <a:lnTo>
                    <a:pt x="27" y="281"/>
                  </a:lnTo>
                  <a:lnTo>
                    <a:pt x="20" y="276"/>
                  </a:lnTo>
                  <a:lnTo>
                    <a:pt x="17" y="261"/>
                  </a:lnTo>
                  <a:lnTo>
                    <a:pt x="10" y="258"/>
                  </a:lnTo>
                  <a:lnTo>
                    <a:pt x="0" y="241"/>
                  </a:lnTo>
                  <a:lnTo>
                    <a:pt x="17" y="239"/>
                  </a:lnTo>
                  <a:lnTo>
                    <a:pt x="22" y="199"/>
                  </a:lnTo>
                  <a:lnTo>
                    <a:pt x="37" y="199"/>
                  </a:lnTo>
                  <a:lnTo>
                    <a:pt x="40" y="159"/>
                  </a:lnTo>
                  <a:lnTo>
                    <a:pt x="62" y="154"/>
                  </a:lnTo>
                  <a:lnTo>
                    <a:pt x="60" y="107"/>
                  </a:lnTo>
                  <a:lnTo>
                    <a:pt x="47" y="102"/>
                  </a:lnTo>
                  <a:lnTo>
                    <a:pt x="47" y="89"/>
                  </a:lnTo>
                  <a:lnTo>
                    <a:pt x="65" y="89"/>
                  </a:lnTo>
                  <a:lnTo>
                    <a:pt x="62" y="74"/>
                  </a:lnTo>
                  <a:lnTo>
                    <a:pt x="55" y="57"/>
                  </a:lnTo>
                  <a:lnTo>
                    <a:pt x="55" y="35"/>
                  </a:lnTo>
                  <a:lnTo>
                    <a:pt x="67" y="0"/>
                  </a:lnTo>
                  <a:lnTo>
                    <a:pt x="75" y="15"/>
                  </a:lnTo>
                  <a:lnTo>
                    <a:pt x="82" y="32"/>
                  </a:lnTo>
                  <a:lnTo>
                    <a:pt x="92" y="42"/>
                  </a:lnTo>
                  <a:lnTo>
                    <a:pt x="102" y="65"/>
                  </a:lnTo>
                  <a:lnTo>
                    <a:pt x="109" y="79"/>
                  </a:lnTo>
                  <a:lnTo>
                    <a:pt x="112" y="94"/>
                  </a:lnTo>
                  <a:lnTo>
                    <a:pt x="132" y="102"/>
                  </a:lnTo>
                  <a:lnTo>
                    <a:pt x="142" y="124"/>
                  </a:lnTo>
                  <a:lnTo>
                    <a:pt x="157" y="152"/>
                  </a:lnTo>
                  <a:lnTo>
                    <a:pt x="152" y="164"/>
                  </a:lnTo>
                  <a:lnTo>
                    <a:pt x="149" y="196"/>
                  </a:lnTo>
                  <a:lnTo>
                    <a:pt x="169" y="201"/>
                  </a:lnTo>
                  <a:lnTo>
                    <a:pt x="182" y="211"/>
                  </a:lnTo>
                  <a:lnTo>
                    <a:pt x="211" y="241"/>
                  </a:lnTo>
                  <a:lnTo>
                    <a:pt x="234" y="241"/>
                  </a:lnTo>
                  <a:lnTo>
                    <a:pt x="249" y="258"/>
                  </a:lnTo>
                  <a:lnTo>
                    <a:pt x="231" y="273"/>
                  </a:lnTo>
                  <a:lnTo>
                    <a:pt x="229" y="298"/>
                  </a:lnTo>
                  <a:lnTo>
                    <a:pt x="209" y="316"/>
                  </a:lnTo>
                  <a:lnTo>
                    <a:pt x="186" y="321"/>
                  </a:lnTo>
                  <a:lnTo>
                    <a:pt x="169" y="321"/>
                  </a:lnTo>
                  <a:lnTo>
                    <a:pt x="154" y="3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0" name="Freeform 193"/>
            <p:cNvSpPr>
              <a:spLocks/>
            </p:cNvSpPr>
            <p:nvPr/>
          </p:nvSpPr>
          <p:spPr bwMode="auto">
            <a:xfrm>
              <a:off x="5302334" y="4015403"/>
              <a:ext cx="272015" cy="407303"/>
            </a:xfrm>
            <a:custGeom>
              <a:avLst/>
              <a:gdLst>
                <a:gd name="T0" fmla="*/ 30 w 189"/>
                <a:gd name="T1" fmla="*/ 42 h 283"/>
                <a:gd name="T2" fmla="*/ 43 w 189"/>
                <a:gd name="T3" fmla="*/ 52 h 283"/>
                <a:gd name="T4" fmla="*/ 72 w 189"/>
                <a:gd name="T5" fmla="*/ 82 h 283"/>
                <a:gd name="T6" fmla="*/ 95 w 189"/>
                <a:gd name="T7" fmla="*/ 82 h 283"/>
                <a:gd name="T8" fmla="*/ 110 w 189"/>
                <a:gd name="T9" fmla="*/ 99 h 283"/>
                <a:gd name="T10" fmla="*/ 92 w 189"/>
                <a:gd name="T11" fmla="*/ 114 h 283"/>
                <a:gd name="T12" fmla="*/ 90 w 189"/>
                <a:gd name="T13" fmla="*/ 139 h 283"/>
                <a:gd name="T14" fmla="*/ 70 w 189"/>
                <a:gd name="T15" fmla="*/ 157 h 283"/>
                <a:gd name="T16" fmla="*/ 47 w 189"/>
                <a:gd name="T17" fmla="*/ 162 h 283"/>
                <a:gd name="T18" fmla="*/ 30 w 189"/>
                <a:gd name="T19" fmla="*/ 162 h 283"/>
                <a:gd name="T20" fmla="*/ 15 w 189"/>
                <a:gd name="T21" fmla="*/ 181 h 283"/>
                <a:gd name="T22" fmla="*/ 8 w 189"/>
                <a:gd name="T23" fmla="*/ 189 h 283"/>
                <a:gd name="T24" fmla="*/ 0 w 189"/>
                <a:gd name="T25" fmla="*/ 201 h 283"/>
                <a:gd name="T26" fmla="*/ 5 w 189"/>
                <a:gd name="T27" fmla="*/ 278 h 283"/>
                <a:gd name="T28" fmla="*/ 13 w 189"/>
                <a:gd name="T29" fmla="*/ 283 h 283"/>
                <a:gd name="T30" fmla="*/ 25 w 189"/>
                <a:gd name="T31" fmla="*/ 266 h 283"/>
                <a:gd name="T32" fmla="*/ 35 w 189"/>
                <a:gd name="T33" fmla="*/ 249 h 283"/>
                <a:gd name="T34" fmla="*/ 55 w 189"/>
                <a:gd name="T35" fmla="*/ 234 h 283"/>
                <a:gd name="T36" fmla="*/ 90 w 189"/>
                <a:gd name="T37" fmla="*/ 201 h 283"/>
                <a:gd name="T38" fmla="*/ 122 w 189"/>
                <a:gd name="T39" fmla="*/ 171 h 283"/>
                <a:gd name="T40" fmla="*/ 142 w 189"/>
                <a:gd name="T41" fmla="*/ 142 h 283"/>
                <a:gd name="T42" fmla="*/ 149 w 189"/>
                <a:gd name="T43" fmla="*/ 109 h 283"/>
                <a:gd name="T44" fmla="*/ 159 w 189"/>
                <a:gd name="T45" fmla="*/ 82 h 283"/>
                <a:gd name="T46" fmla="*/ 174 w 189"/>
                <a:gd name="T47" fmla="*/ 62 h 283"/>
                <a:gd name="T48" fmla="*/ 182 w 189"/>
                <a:gd name="T49" fmla="*/ 42 h 283"/>
                <a:gd name="T50" fmla="*/ 189 w 189"/>
                <a:gd name="T51" fmla="*/ 30 h 283"/>
                <a:gd name="T52" fmla="*/ 179 w 189"/>
                <a:gd name="T53" fmla="*/ 20 h 283"/>
                <a:gd name="T54" fmla="*/ 167 w 189"/>
                <a:gd name="T55" fmla="*/ 0 h 283"/>
                <a:gd name="T56" fmla="*/ 147 w 189"/>
                <a:gd name="T57" fmla="*/ 17 h 283"/>
                <a:gd name="T58" fmla="*/ 127 w 189"/>
                <a:gd name="T59" fmla="*/ 22 h 283"/>
                <a:gd name="T60" fmla="*/ 115 w 189"/>
                <a:gd name="T61" fmla="*/ 27 h 283"/>
                <a:gd name="T62" fmla="*/ 105 w 189"/>
                <a:gd name="T63" fmla="*/ 35 h 283"/>
                <a:gd name="T64" fmla="*/ 67 w 189"/>
                <a:gd name="T65" fmla="*/ 32 h 283"/>
                <a:gd name="T66" fmla="*/ 47 w 189"/>
                <a:gd name="T67" fmla="*/ 25 h 283"/>
                <a:gd name="T68" fmla="*/ 30 w 189"/>
                <a:gd name="T69" fmla="*/ 4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283">
                  <a:moveTo>
                    <a:pt x="30" y="42"/>
                  </a:moveTo>
                  <a:lnTo>
                    <a:pt x="43" y="52"/>
                  </a:lnTo>
                  <a:lnTo>
                    <a:pt x="72" y="82"/>
                  </a:lnTo>
                  <a:lnTo>
                    <a:pt x="95" y="82"/>
                  </a:lnTo>
                  <a:lnTo>
                    <a:pt x="110" y="99"/>
                  </a:lnTo>
                  <a:lnTo>
                    <a:pt x="92" y="114"/>
                  </a:lnTo>
                  <a:lnTo>
                    <a:pt x="90" y="139"/>
                  </a:lnTo>
                  <a:lnTo>
                    <a:pt x="70" y="157"/>
                  </a:lnTo>
                  <a:lnTo>
                    <a:pt x="47" y="162"/>
                  </a:lnTo>
                  <a:lnTo>
                    <a:pt x="30" y="162"/>
                  </a:lnTo>
                  <a:lnTo>
                    <a:pt x="15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5" y="278"/>
                  </a:lnTo>
                  <a:lnTo>
                    <a:pt x="13" y="283"/>
                  </a:lnTo>
                  <a:lnTo>
                    <a:pt x="25" y="266"/>
                  </a:lnTo>
                  <a:lnTo>
                    <a:pt x="35" y="249"/>
                  </a:lnTo>
                  <a:lnTo>
                    <a:pt x="55" y="234"/>
                  </a:lnTo>
                  <a:lnTo>
                    <a:pt x="90" y="201"/>
                  </a:lnTo>
                  <a:lnTo>
                    <a:pt x="122" y="171"/>
                  </a:lnTo>
                  <a:lnTo>
                    <a:pt x="142" y="142"/>
                  </a:lnTo>
                  <a:lnTo>
                    <a:pt x="149" y="109"/>
                  </a:lnTo>
                  <a:lnTo>
                    <a:pt x="159" y="82"/>
                  </a:lnTo>
                  <a:lnTo>
                    <a:pt x="174" y="62"/>
                  </a:lnTo>
                  <a:lnTo>
                    <a:pt x="182" y="42"/>
                  </a:lnTo>
                  <a:lnTo>
                    <a:pt x="189" y="30"/>
                  </a:lnTo>
                  <a:lnTo>
                    <a:pt x="179" y="20"/>
                  </a:lnTo>
                  <a:lnTo>
                    <a:pt x="167" y="0"/>
                  </a:lnTo>
                  <a:lnTo>
                    <a:pt x="147" y="17"/>
                  </a:lnTo>
                  <a:lnTo>
                    <a:pt x="127" y="22"/>
                  </a:lnTo>
                  <a:lnTo>
                    <a:pt x="115" y="27"/>
                  </a:lnTo>
                  <a:lnTo>
                    <a:pt x="105" y="35"/>
                  </a:lnTo>
                  <a:lnTo>
                    <a:pt x="67" y="32"/>
                  </a:lnTo>
                  <a:lnTo>
                    <a:pt x="47" y="25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1" name="Freeform 194"/>
            <p:cNvSpPr>
              <a:spLocks/>
            </p:cNvSpPr>
            <p:nvPr/>
          </p:nvSpPr>
          <p:spPr bwMode="auto">
            <a:xfrm>
              <a:off x="4500680" y="3377822"/>
              <a:ext cx="390033" cy="466312"/>
            </a:xfrm>
            <a:custGeom>
              <a:avLst/>
              <a:gdLst>
                <a:gd name="T0" fmla="*/ 33 w 271"/>
                <a:gd name="T1" fmla="*/ 3 h 324"/>
                <a:gd name="T2" fmla="*/ 48 w 271"/>
                <a:gd name="T3" fmla="*/ 13 h 324"/>
                <a:gd name="T4" fmla="*/ 58 w 271"/>
                <a:gd name="T5" fmla="*/ 13 h 324"/>
                <a:gd name="T6" fmla="*/ 100 w 271"/>
                <a:gd name="T7" fmla="*/ 20 h 324"/>
                <a:gd name="T8" fmla="*/ 105 w 271"/>
                <a:gd name="T9" fmla="*/ 35 h 324"/>
                <a:gd name="T10" fmla="*/ 132 w 271"/>
                <a:gd name="T11" fmla="*/ 38 h 324"/>
                <a:gd name="T12" fmla="*/ 132 w 271"/>
                <a:gd name="T13" fmla="*/ 48 h 324"/>
                <a:gd name="T14" fmla="*/ 159 w 271"/>
                <a:gd name="T15" fmla="*/ 53 h 324"/>
                <a:gd name="T16" fmla="*/ 174 w 271"/>
                <a:gd name="T17" fmla="*/ 60 h 324"/>
                <a:gd name="T18" fmla="*/ 179 w 271"/>
                <a:gd name="T19" fmla="*/ 50 h 324"/>
                <a:gd name="T20" fmla="*/ 179 w 271"/>
                <a:gd name="T21" fmla="*/ 25 h 324"/>
                <a:gd name="T22" fmla="*/ 187 w 271"/>
                <a:gd name="T23" fmla="*/ 18 h 324"/>
                <a:gd name="T24" fmla="*/ 194 w 271"/>
                <a:gd name="T25" fmla="*/ 8 h 324"/>
                <a:gd name="T26" fmla="*/ 202 w 271"/>
                <a:gd name="T27" fmla="*/ 0 h 324"/>
                <a:gd name="T28" fmla="*/ 219 w 271"/>
                <a:gd name="T29" fmla="*/ 3 h 324"/>
                <a:gd name="T30" fmla="*/ 229 w 271"/>
                <a:gd name="T31" fmla="*/ 13 h 324"/>
                <a:gd name="T32" fmla="*/ 239 w 271"/>
                <a:gd name="T33" fmla="*/ 20 h 324"/>
                <a:gd name="T34" fmla="*/ 256 w 271"/>
                <a:gd name="T35" fmla="*/ 20 h 324"/>
                <a:gd name="T36" fmla="*/ 271 w 271"/>
                <a:gd name="T37" fmla="*/ 25 h 324"/>
                <a:gd name="T38" fmla="*/ 269 w 271"/>
                <a:gd name="T39" fmla="*/ 43 h 324"/>
                <a:gd name="T40" fmla="*/ 269 w 271"/>
                <a:gd name="T41" fmla="*/ 259 h 324"/>
                <a:gd name="T42" fmla="*/ 269 w 271"/>
                <a:gd name="T43" fmla="*/ 289 h 324"/>
                <a:gd name="T44" fmla="*/ 256 w 271"/>
                <a:gd name="T45" fmla="*/ 291 h 324"/>
                <a:gd name="T46" fmla="*/ 259 w 271"/>
                <a:gd name="T47" fmla="*/ 324 h 324"/>
                <a:gd name="T48" fmla="*/ 246 w 271"/>
                <a:gd name="T49" fmla="*/ 324 h 324"/>
                <a:gd name="T50" fmla="*/ 217 w 271"/>
                <a:gd name="T51" fmla="*/ 299 h 324"/>
                <a:gd name="T52" fmla="*/ 204 w 271"/>
                <a:gd name="T53" fmla="*/ 294 h 324"/>
                <a:gd name="T54" fmla="*/ 177 w 271"/>
                <a:gd name="T55" fmla="*/ 279 h 324"/>
                <a:gd name="T56" fmla="*/ 169 w 271"/>
                <a:gd name="T57" fmla="*/ 264 h 324"/>
                <a:gd name="T58" fmla="*/ 137 w 271"/>
                <a:gd name="T59" fmla="*/ 259 h 324"/>
                <a:gd name="T60" fmla="*/ 132 w 271"/>
                <a:gd name="T61" fmla="*/ 244 h 324"/>
                <a:gd name="T62" fmla="*/ 117 w 271"/>
                <a:gd name="T63" fmla="*/ 239 h 324"/>
                <a:gd name="T64" fmla="*/ 115 w 271"/>
                <a:gd name="T65" fmla="*/ 232 h 324"/>
                <a:gd name="T66" fmla="*/ 97 w 271"/>
                <a:gd name="T67" fmla="*/ 229 h 324"/>
                <a:gd name="T68" fmla="*/ 87 w 271"/>
                <a:gd name="T69" fmla="*/ 224 h 324"/>
                <a:gd name="T70" fmla="*/ 68 w 271"/>
                <a:gd name="T71" fmla="*/ 222 h 324"/>
                <a:gd name="T72" fmla="*/ 63 w 271"/>
                <a:gd name="T73" fmla="*/ 214 h 324"/>
                <a:gd name="T74" fmla="*/ 40 w 271"/>
                <a:gd name="T75" fmla="*/ 214 h 324"/>
                <a:gd name="T76" fmla="*/ 38 w 271"/>
                <a:gd name="T77" fmla="*/ 197 h 324"/>
                <a:gd name="T78" fmla="*/ 10 w 271"/>
                <a:gd name="T79" fmla="*/ 192 h 324"/>
                <a:gd name="T80" fmla="*/ 0 w 271"/>
                <a:gd name="T81" fmla="*/ 182 h 324"/>
                <a:gd name="T82" fmla="*/ 0 w 271"/>
                <a:gd name="T83" fmla="*/ 162 h 324"/>
                <a:gd name="T84" fmla="*/ 3 w 271"/>
                <a:gd name="T85" fmla="*/ 43 h 324"/>
                <a:gd name="T86" fmla="*/ 20 w 271"/>
                <a:gd name="T87" fmla="*/ 33 h 324"/>
                <a:gd name="T88" fmla="*/ 30 w 271"/>
                <a:gd name="T89" fmla="*/ 30 h 324"/>
                <a:gd name="T90" fmla="*/ 33 w 271"/>
                <a:gd name="T91" fmla="*/ 3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1" h="324">
                  <a:moveTo>
                    <a:pt x="33" y="3"/>
                  </a:moveTo>
                  <a:lnTo>
                    <a:pt x="48" y="13"/>
                  </a:lnTo>
                  <a:lnTo>
                    <a:pt x="58" y="13"/>
                  </a:lnTo>
                  <a:lnTo>
                    <a:pt x="100" y="20"/>
                  </a:lnTo>
                  <a:lnTo>
                    <a:pt x="105" y="35"/>
                  </a:lnTo>
                  <a:lnTo>
                    <a:pt x="132" y="38"/>
                  </a:lnTo>
                  <a:lnTo>
                    <a:pt x="132" y="48"/>
                  </a:lnTo>
                  <a:lnTo>
                    <a:pt x="159" y="53"/>
                  </a:lnTo>
                  <a:lnTo>
                    <a:pt x="174" y="60"/>
                  </a:lnTo>
                  <a:lnTo>
                    <a:pt x="179" y="50"/>
                  </a:lnTo>
                  <a:lnTo>
                    <a:pt x="179" y="25"/>
                  </a:lnTo>
                  <a:lnTo>
                    <a:pt x="187" y="18"/>
                  </a:lnTo>
                  <a:lnTo>
                    <a:pt x="194" y="8"/>
                  </a:lnTo>
                  <a:lnTo>
                    <a:pt x="202" y="0"/>
                  </a:lnTo>
                  <a:lnTo>
                    <a:pt x="219" y="3"/>
                  </a:lnTo>
                  <a:lnTo>
                    <a:pt x="229" y="13"/>
                  </a:lnTo>
                  <a:lnTo>
                    <a:pt x="239" y="20"/>
                  </a:lnTo>
                  <a:lnTo>
                    <a:pt x="256" y="20"/>
                  </a:lnTo>
                  <a:lnTo>
                    <a:pt x="271" y="25"/>
                  </a:lnTo>
                  <a:lnTo>
                    <a:pt x="269" y="43"/>
                  </a:lnTo>
                  <a:lnTo>
                    <a:pt x="269" y="259"/>
                  </a:lnTo>
                  <a:lnTo>
                    <a:pt x="269" y="289"/>
                  </a:lnTo>
                  <a:lnTo>
                    <a:pt x="256" y="291"/>
                  </a:lnTo>
                  <a:lnTo>
                    <a:pt x="259" y="324"/>
                  </a:lnTo>
                  <a:lnTo>
                    <a:pt x="246" y="324"/>
                  </a:lnTo>
                  <a:lnTo>
                    <a:pt x="217" y="299"/>
                  </a:lnTo>
                  <a:lnTo>
                    <a:pt x="204" y="294"/>
                  </a:lnTo>
                  <a:lnTo>
                    <a:pt x="177" y="279"/>
                  </a:lnTo>
                  <a:lnTo>
                    <a:pt x="169" y="264"/>
                  </a:lnTo>
                  <a:lnTo>
                    <a:pt x="137" y="259"/>
                  </a:lnTo>
                  <a:lnTo>
                    <a:pt x="132" y="244"/>
                  </a:lnTo>
                  <a:lnTo>
                    <a:pt x="117" y="239"/>
                  </a:lnTo>
                  <a:lnTo>
                    <a:pt x="115" y="232"/>
                  </a:lnTo>
                  <a:lnTo>
                    <a:pt x="97" y="229"/>
                  </a:lnTo>
                  <a:lnTo>
                    <a:pt x="87" y="224"/>
                  </a:lnTo>
                  <a:lnTo>
                    <a:pt x="68" y="222"/>
                  </a:lnTo>
                  <a:lnTo>
                    <a:pt x="63" y="214"/>
                  </a:lnTo>
                  <a:lnTo>
                    <a:pt x="40" y="214"/>
                  </a:lnTo>
                  <a:lnTo>
                    <a:pt x="38" y="197"/>
                  </a:lnTo>
                  <a:lnTo>
                    <a:pt x="10" y="192"/>
                  </a:lnTo>
                  <a:lnTo>
                    <a:pt x="0" y="182"/>
                  </a:lnTo>
                  <a:lnTo>
                    <a:pt x="0" y="162"/>
                  </a:lnTo>
                  <a:lnTo>
                    <a:pt x="3" y="43"/>
                  </a:lnTo>
                  <a:lnTo>
                    <a:pt x="20" y="33"/>
                  </a:lnTo>
                  <a:lnTo>
                    <a:pt x="30" y="30"/>
                  </a:lnTo>
                  <a:lnTo>
                    <a:pt x="3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2" name="Freeform 197"/>
            <p:cNvSpPr>
              <a:spLocks/>
            </p:cNvSpPr>
            <p:nvPr/>
          </p:nvSpPr>
          <p:spPr bwMode="auto">
            <a:xfrm>
              <a:off x="4808676" y="3704529"/>
              <a:ext cx="390033" cy="564180"/>
            </a:xfrm>
            <a:custGeom>
              <a:avLst/>
              <a:gdLst>
                <a:gd name="T0" fmla="*/ 42 w 271"/>
                <a:gd name="T1" fmla="*/ 149 h 392"/>
                <a:gd name="T2" fmla="*/ 20 w 271"/>
                <a:gd name="T3" fmla="*/ 174 h 392"/>
                <a:gd name="T4" fmla="*/ 3 w 271"/>
                <a:gd name="T5" fmla="*/ 191 h 392"/>
                <a:gd name="T6" fmla="*/ 15 w 271"/>
                <a:gd name="T7" fmla="*/ 209 h 392"/>
                <a:gd name="T8" fmla="*/ 25 w 271"/>
                <a:gd name="T9" fmla="*/ 226 h 392"/>
                <a:gd name="T10" fmla="*/ 23 w 271"/>
                <a:gd name="T11" fmla="*/ 241 h 392"/>
                <a:gd name="T12" fmla="*/ 40 w 271"/>
                <a:gd name="T13" fmla="*/ 273 h 392"/>
                <a:gd name="T14" fmla="*/ 45 w 271"/>
                <a:gd name="T15" fmla="*/ 291 h 392"/>
                <a:gd name="T16" fmla="*/ 60 w 271"/>
                <a:gd name="T17" fmla="*/ 298 h 392"/>
                <a:gd name="T18" fmla="*/ 80 w 271"/>
                <a:gd name="T19" fmla="*/ 320 h 392"/>
                <a:gd name="T20" fmla="*/ 92 w 271"/>
                <a:gd name="T21" fmla="*/ 343 h 392"/>
                <a:gd name="T22" fmla="*/ 102 w 271"/>
                <a:gd name="T23" fmla="*/ 355 h 392"/>
                <a:gd name="T24" fmla="*/ 105 w 271"/>
                <a:gd name="T25" fmla="*/ 373 h 392"/>
                <a:gd name="T26" fmla="*/ 152 w 271"/>
                <a:gd name="T27" fmla="*/ 387 h 392"/>
                <a:gd name="T28" fmla="*/ 164 w 271"/>
                <a:gd name="T29" fmla="*/ 392 h 392"/>
                <a:gd name="T30" fmla="*/ 202 w 271"/>
                <a:gd name="T31" fmla="*/ 392 h 392"/>
                <a:gd name="T32" fmla="*/ 246 w 271"/>
                <a:gd name="T33" fmla="*/ 368 h 392"/>
                <a:gd name="T34" fmla="*/ 239 w 271"/>
                <a:gd name="T35" fmla="*/ 343 h 392"/>
                <a:gd name="T36" fmla="*/ 224 w 271"/>
                <a:gd name="T37" fmla="*/ 333 h 392"/>
                <a:gd name="T38" fmla="*/ 214 w 271"/>
                <a:gd name="T39" fmla="*/ 315 h 392"/>
                <a:gd name="T40" fmla="*/ 221 w 271"/>
                <a:gd name="T41" fmla="*/ 296 h 392"/>
                <a:gd name="T42" fmla="*/ 241 w 271"/>
                <a:gd name="T43" fmla="*/ 256 h 392"/>
                <a:gd name="T44" fmla="*/ 266 w 271"/>
                <a:gd name="T45" fmla="*/ 211 h 392"/>
                <a:gd name="T46" fmla="*/ 251 w 271"/>
                <a:gd name="T47" fmla="*/ 159 h 392"/>
                <a:gd name="T48" fmla="*/ 269 w 271"/>
                <a:gd name="T49" fmla="*/ 146 h 392"/>
                <a:gd name="T50" fmla="*/ 259 w 271"/>
                <a:gd name="T51" fmla="*/ 114 h 392"/>
                <a:gd name="T52" fmla="*/ 271 w 271"/>
                <a:gd name="T53" fmla="*/ 57 h 392"/>
                <a:gd name="T54" fmla="*/ 259 w 271"/>
                <a:gd name="T55" fmla="*/ 20 h 392"/>
                <a:gd name="T56" fmla="*/ 207 w 271"/>
                <a:gd name="T57" fmla="*/ 25 h 392"/>
                <a:gd name="T58" fmla="*/ 80 w 271"/>
                <a:gd name="T59" fmla="*/ 17 h 392"/>
                <a:gd name="T60" fmla="*/ 55 w 271"/>
                <a:gd name="T61" fmla="*/ 32 h 392"/>
                <a:gd name="T62" fmla="*/ 42 w 271"/>
                <a:gd name="T63" fmla="*/ 64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392">
                  <a:moveTo>
                    <a:pt x="45" y="97"/>
                  </a:moveTo>
                  <a:lnTo>
                    <a:pt x="42" y="149"/>
                  </a:lnTo>
                  <a:lnTo>
                    <a:pt x="32" y="154"/>
                  </a:lnTo>
                  <a:lnTo>
                    <a:pt x="20" y="174"/>
                  </a:lnTo>
                  <a:lnTo>
                    <a:pt x="18" y="191"/>
                  </a:lnTo>
                  <a:lnTo>
                    <a:pt x="3" y="191"/>
                  </a:lnTo>
                  <a:lnTo>
                    <a:pt x="0" y="204"/>
                  </a:lnTo>
                  <a:lnTo>
                    <a:pt x="15" y="209"/>
                  </a:lnTo>
                  <a:lnTo>
                    <a:pt x="18" y="223"/>
                  </a:lnTo>
                  <a:lnTo>
                    <a:pt x="25" y="226"/>
                  </a:lnTo>
                  <a:lnTo>
                    <a:pt x="25" y="236"/>
                  </a:lnTo>
                  <a:lnTo>
                    <a:pt x="23" y="241"/>
                  </a:lnTo>
                  <a:lnTo>
                    <a:pt x="30" y="256"/>
                  </a:lnTo>
                  <a:lnTo>
                    <a:pt x="40" y="273"/>
                  </a:lnTo>
                  <a:lnTo>
                    <a:pt x="37" y="288"/>
                  </a:lnTo>
                  <a:lnTo>
                    <a:pt x="45" y="291"/>
                  </a:lnTo>
                  <a:lnTo>
                    <a:pt x="47" y="300"/>
                  </a:lnTo>
                  <a:lnTo>
                    <a:pt x="60" y="298"/>
                  </a:lnTo>
                  <a:lnTo>
                    <a:pt x="65" y="315"/>
                  </a:lnTo>
                  <a:lnTo>
                    <a:pt x="80" y="320"/>
                  </a:lnTo>
                  <a:lnTo>
                    <a:pt x="85" y="340"/>
                  </a:lnTo>
                  <a:lnTo>
                    <a:pt x="92" y="343"/>
                  </a:lnTo>
                  <a:lnTo>
                    <a:pt x="97" y="350"/>
                  </a:lnTo>
                  <a:lnTo>
                    <a:pt x="102" y="355"/>
                  </a:lnTo>
                  <a:lnTo>
                    <a:pt x="100" y="365"/>
                  </a:lnTo>
                  <a:lnTo>
                    <a:pt x="105" y="373"/>
                  </a:lnTo>
                  <a:lnTo>
                    <a:pt x="147" y="378"/>
                  </a:lnTo>
                  <a:lnTo>
                    <a:pt x="152" y="387"/>
                  </a:lnTo>
                  <a:lnTo>
                    <a:pt x="164" y="390"/>
                  </a:lnTo>
                  <a:lnTo>
                    <a:pt x="164" y="392"/>
                  </a:lnTo>
                  <a:lnTo>
                    <a:pt x="184" y="392"/>
                  </a:lnTo>
                  <a:lnTo>
                    <a:pt x="202" y="392"/>
                  </a:lnTo>
                  <a:lnTo>
                    <a:pt x="221" y="387"/>
                  </a:lnTo>
                  <a:lnTo>
                    <a:pt x="246" y="368"/>
                  </a:lnTo>
                  <a:lnTo>
                    <a:pt x="246" y="358"/>
                  </a:lnTo>
                  <a:lnTo>
                    <a:pt x="239" y="343"/>
                  </a:lnTo>
                  <a:lnTo>
                    <a:pt x="231" y="338"/>
                  </a:lnTo>
                  <a:lnTo>
                    <a:pt x="224" y="333"/>
                  </a:lnTo>
                  <a:lnTo>
                    <a:pt x="221" y="318"/>
                  </a:lnTo>
                  <a:lnTo>
                    <a:pt x="214" y="315"/>
                  </a:lnTo>
                  <a:lnTo>
                    <a:pt x="204" y="298"/>
                  </a:lnTo>
                  <a:lnTo>
                    <a:pt x="221" y="296"/>
                  </a:lnTo>
                  <a:lnTo>
                    <a:pt x="226" y="256"/>
                  </a:lnTo>
                  <a:lnTo>
                    <a:pt x="241" y="256"/>
                  </a:lnTo>
                  <a:lnTo>
                    <a:pt x="244" y="216"/>
                  </a:lnTo>
                  <a:lnTo>
                    <a:pt x="266" y="211"/>
                  </a:lnTo>
                  <a:lnTo>
                    <a:pt x="264" y="164"/>
                  </a:lnTo>
                  <a:lnTo>
                    <a:pt x="251" y="159"/>
                  </a:lnTo>
                  <a:lnTo>
                    <a:pt x="251" y="146"/>
                  </a:lnTo>
                  <a:lnTo>
                    <a:pt x="269" y="146"/>
                  </a:lnTo>
                  <a:lnTo>
                    <a:pt x="266" y="131"/>
                  </a:lnTo>
                  <a:lnTo>
                    <a:pt x="259" y="114"/>
                  </a:lnTo>
                  <a:lnTo>
                    <a:pt x="259" y="92"/>
                  </a:lnTo>
                  <a:lnTo>
                    <a:pt x="271" y="57"/>
                  </a:lnTo>
                  <a:lnTo>
                    <a:pt x="269" y="39"/>
                  </a:lnTo>
                  <a:lnTo>
                    <a:pt x="259" y="20"/>
                  </a:lnTo>
                  <a:lnTo>
                    <a:pt x="236" y="0"/>
                  </a:lnTo>
                  <a:lnTo>
                    <a:pt x="207" y="25"/>
                  </a:lnTo>
                  <a:lnTo>
                    <a:pt x="197" y="17"/>
                  </a:lnTo>
                  <a:lnTo>
                    <a:pt x="80" y="17"/>
                  </a:lnTo>
                  <a:lnTo>
                    <a:pt x="67" y="25"/>
                  </a:lnTo>
                  <a:lnTo>
                    <a:pt x="55" y="32"/>
                  </a:lnTo>
                  <a:lnTo>
                    <a:pt x="55" y="62"/>
                  </a:lnTo>
                  <a:lnTo>
                    <a:pt x="42" y="64"/>
                  </a:lnTo>
                  <a:lnTo>
                    <a:pt x="45" y="9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3" name="Freeform 198"/>
            <p:cNvSpPr>
              <a:spLocks/>
            </p:cNvSpPr>
            <p:nvPr/>
          </p:nvSpPr>
          <p:spPr bwMode="auto">
            <a:xfrm>
              <a:off x="6498339" y="3536138"/>
              <a:ext cx="67645" cy="38860"/>
            </a:xfrm>
            <a:custGeom>
              <a:avLst/>
              <a:gdLst>
                <a:gd name="T0" fmla="*/ 42 w 47"/>
                <a:gd name="T1" fmla="*/ 27 h 27"/>
                <a:gd name="T2" fmla="*/ 22 w 47"/>
                <a:gd name="T3" fmla="*/ 27 h 27"/>
                <a:gd name="T4" fmla="*/ 5 w 47"/>
                <a:gd name="T5" fmla="*/ 20 h 27"/>
                <a:gd name="T6" fmla="*/ 0 w 47"/>
                <a:gd name="T7" fmla="*/ 0 h 27"/>
                <a:gd name="T8" fmla="*/ 19 w 47"/>
                <a:gd name="T9" fmla="*/ 10 h 27"/>
                <a:gd name="T10" fmla="*/ 47 w 47"/>
                <a:gd name="T11" fmla="*/ 10 h 27"/>
                <a:gd name="T12" fmla="*/ 42 w 47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27">
                  <a:moveTo>
                    <a:pt x="42" y="27"/>
                  </a:moveTo>
                  <a:lnTo>
                    <a:pt x="22" y="27"/>
                  </a:lnTo>
                  <a:lnTo>
                    <a:pt x="5" y="20"/>
                  </a:lnTo>
                  <a:lnTo>
                    <a:pt x="0" y="0"/>
                  </a:lnTo>
                  <a:lnTo>
                    <a:pt x="19" y="10"/>
                  </a:lnTo>
                  <a:lnTo>
                    <a:pt x="47" y="10"/>
                  </a:lnTo>
                  <a:lnTo>
                    <a:pt x="42" y="2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4" name="Freeform 199"/>
            <p:cNvSpPr>
              <a:spLocks/>
            </p:cNvSpPr>
            <p:nvPr/>
          </p:nvSpPr>
          <p:spPr bwMode="auto">
            <a:xfrm>
              <a:off x="4479092" y="4309007"/>
              <a:ext cx="165512" cy="192858"/>
            </a:xfrm>
            <a:custGeom>
              <a:avLst/>
              <a:gdLst>
                <a:gd name="T0" fmla="*/ 85 w 115"/>
                <a:gd name="T1" fmla="*/ 0 h 134"/>
                <a:gd name="T2" fmla="*/ 58 w 115"/>
                <a:gd name="T3" fmla="*/ 2 h 134"/>
                <a:gd name="T4" fmla="*/ 48 w 115"/>
                <a:gd name="T5" fmla="*/ 12 h 134"/>
                <a:gd name="T6" fmla="*/ 48 w 115"/>
                <a:gd name="T7" fmla="*/ 20 h 134"/>
                <a:gd name="T8" fmla="*/ 43 w 115"/>
                <a:gd name="T9" fmla="*/ 32 h 134"/>
                <a:gd name="T10" fmla="*/ 23 w 115"/>
                <a:gd name="T11" fmla="*/ 35 h 134"/>
                <a:gd name="T12" fmla="*/ 18 w 115"/>
                <a:gd name="T13" fmla="*/ 30 h 134"/>
                <a:gd name="T14" fmla="*/ 18 w 115"/>
                <a:gd name="T15" fmla="*/ 52 h 134"/>
                <a:gd name="T16" fmla="*/ 5 w 115"/>
                <a:gd name="T17" fmla="*/ 59 h 134"/>
                <a:gd name="T18" fmla="*/ 0 w 115"/>
                <a:gd name="T19" fmla="*/ 64 h 134"/>
                <a:gd name="T20" fmla="*/ 10 w 115"/>
                <a:gd name="T21" fmla="*/ 69 h 134"/>
                <a:gd name="T22" fmla="*/ 8 w 115"/>
                <a:gd name="T23" fmla="*/ 87 h 134"/>
                <a:gd name="T24" fmla="*/ 30 w 115"/>
                <a:gd name="T25" fmla="*/ 107 h 134"/>
                <a:gd name="T26" fmla="*/ 48 w 115"/>
                <a:gd name="T27" fmla="*/ 127 h 134"/>
                <a:gd name="T28" fmla="*/ 55 w 115"/>
                <a:gd name="T29" fmla="*/ 134 h 134"/>
                <a:gd name="T30" fmla="*/ 60 w 115"/>
                <a:gd name="T31" fmla="*/ 124 h 134"/>
                <a:gd name="T32" fmla="*/ 68 w 115"/>
                <a:gd name="T33" fmla="*/ 109 h 134"/>
                <a:gd name="T34" fmla="*/ 58 w 115"/>
                <a:gd name="T35" fmla="*/ 104 h 134"/>
                <a:gd name="T36" fmla="*/ 58 w 115"/>
                <a:gd name="T37" fmla="*/ 94 h 134"/>
                <a:gd name="T38" fmla="*/ 70 w 115"/>
                <a:gd name="T39" fmla="*/ 89 h 134"/>
                <a:gd name="T40" fmla="*/ 78 w 115"/>
                <a:gd name="T41" fmla="*/ 87 h 134"/>
                <a:gd name="T42" fmla="*/ 87 w 115"/>
                <a:gd name="T43" fmla="*/ 99 h 134"/>
                <a:gd name="T44" fmla="*/ 102 w 115"/>
                <a:gd name="T45" fmla="*/ 92 h 134"/>
                <a:gd name="T46" fmla="*/ 115 w 115"/>
                <a:gd name="T47" fmla="*/ 74 h 134"/>
                <a:gd name="T48" fmla="*/ 110 w 115"/>
                <a:gd name="T49" fmla="*/ 59 h 134"/>
                <a:gd name="T50" fmla="*/ 102 w 115"/>
                <a:gd name="T51" fmla="*/ 50 h 134"/>
                <a:gd name="T52" fmla="*/ 97 w 115"/>
                <a:gd name="T53" fmla="*/ 37 h 134"/>
                <a:gd name="T54" fmla="*/ 100 w 115"/>
                <a:gd name="T55" fmla="*/ 27 h 134"/>
                <a:gd name="T56" fmla="*/ 97 w 115"/>
                <a:gd name="T57" fmla="*/ 17 h 134"/>
                <a:gd name="T58" fmla="*/ 85 w 115"/>
                <a:gd name="T59" fmla="*/ 17 h 134"/>
                <a:gd name="T60" fmla="*/ 85 w 115"/>
                <a:gd name="T6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5" h="134">
                  <a:moveTo>
                    <a:pt x="85" y="0"/>
                  </a:moveTo>
                  <a:lnTo>
                    <a:pt x="58" y="2"/>
                  </a:lnTo>
                  <a:lnTo>
                    <a:pt x="48" y="12"/>
                  </a:lnTo>
                  <a:lnTo>
                    <a:pt x="48" y="20"/>
                  </a:lnTo>
                  <a:lnTo>
                    <a:pt x="43" y="32"/>
                  </a:lnTo>
                  <a:lnTo>
                    <a:pt x="23" y="35"/>
                  </a:lnTo>
                  <a:lnTo>
                    <a:pt x="18" y="30"/>
                  </a:lnTo>
                  <a:lnTo>
                    <a:pt x="18" y="52"/>
                  </a:lnTo>
                  <a:lnTo>
                    <a:pt x="5" y="59"/>
                  </a:lnTo>
                  <a:lnTo>
                    <a:pt x="0" y="64"/>
                  </a:lnTo>
                  <a:lnTo>
                    <a:pt x="10" y="69"/>
                  </a:lnTo>
                  <a:lnTo>
                    <a:pt x="8" y="87"/>
                  </a:lnTo>
                  <a:lnTo>
                    <a:pt x="30" y="107"/>
                  </a:lnTo>
                  <a:lnTo>
                    <a:pt x="48" y="127"/>
                  </a:lnTo>
                  <a:lnTo>
                    <a:pt x="55" y="134"/>
                  </a:lnTo>
                  <a:lnTo>
                    <a:pt x="60" y="124"/>
                  </a:lnTo>
                  <a:lnTo>
                    <a:pt x="68" y="109"/>
                  </a:lnTo>
                  <a:lnTo>
                    <a:pt x="58" y="104"/>
                  </a:lnTo>
                  <a:lnTo>
                    <a:pt x="58" y="94"/>
                  </a:lnTo>
                  <a:lnTo>
                    <a:pt x="70" y="89"/>
                  </a:lnTo>
                  <a:lnTo>
                    <a:pt x="78" y="87"/>
                  </a:lnTo>
                  <a:lnTo>
                    <a:pt x="87" y="99"/>
                  </a:lnTo>
                  <a:lnTo>
                    <a:pt x="102" y="92"/>
                  </a:lnTo>
                  <a:lnTo>
                    <a:pt x="115" y="74"/>
                  </a:lnTo>
                  <a:lnTo>
                    <a:pt x="110" y="59"/>
                  </a:lnTo>
                  <a:lnTo>
                    <a:pt x="102" y="50"/>
                  </a:lnTo>
                  <a:lnTo>
                    <a:pt x="97" y="37"/>
                  </a:lnTo>
                  <a:lnTo>
                    <a:pt x="100" y="27"/>
                  </a:lnTo>
                  <a:lnTo>
                    <a:pt x="97" y="17"/>
                  </a:lnTo>
                  <a:lnTo>
                    <a:pt x="85" y="17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5" name="Freeform 200"/>
            <p:cNvSpPr>
              <a:spLocks/>
            </p:cNvSpPr>
            <p:nvPr/>
          </p:nvSpPr>
          <p:spPr bwMode="auto">
            <a:xfrm>
              <a:off x="5102280" y="3389336"/>
              <a:ext cx="28785" cy="89233"/>
            </a:xfrm>
            <a:custGeom>
              <a:avLst/>
              <a:gdLst>
                <a:gd name="T0" fmla="*/ 0 w 20"/>
                <a:gd name="T1" fmla="*/ 37 h 62"/>
                <a:gd name="T2" fmla="*/ 15 w 20"/>
                <a:gd name="T3" fmla="*/ 62 h 62"/>
                <a:gd name="T4" fmla="*/ 20 w 20"/>
                <a:gd name="T5" fmla="*/ 37 h 62"/>
                <a:gd name="T6" fmla="*/ 20 w 20"/>
                <a:gd name="T7" fmla="*/ 0 h 62"/>
                <a:gd name="T8" fmla="*/ 0 w 20"/>
                <a:gd name="T9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2">
                  <a:moveTo>
                    <a:pt x="0" y="37"/>
                  </a:moveTo>
                  <a:lnTo>
                    <a:pt x="15" y="62"/>
                  </a:lnTo>
                  <a:lnTo>
                    <a:pt x="20" y="37"/>
                  </a:lnTo>
                  <a:lnTo>
                    <a:pt x="2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6" name="Freeform 201"/>
            <p:cNvSpPr>
              <a:spLocks/>
            </p:cNvSpPr>
            <p:nvPr/>
          </p:nvSpPr>
          <p:spPr bwMode="auto">
            <a:xfrm>
              <a:off x="5131065" y="3331766"/>
              <a:ext cx="35981" cy="57569"/>
            </a:xfrm>
            <a:custGeom>
              <a:avLst/>
              <a:gdLst>
                <a:gd name="T0" fmla="*/ 0 w 25"/>
                <a:gd name="T1" fmla="*/ 40 h 40"/>
                <a:gd name="T2" fmla="*/ 17 w 25"/>
                <a:gd name="T3" fmla="*/ 30 h 40"/>
                <a:gd name="T4" fmla="*/ 25 w 25"/>
                <a:gd name="T5" fmla="*/ 10 h 40"/>
                <a:gd name="T6" fmla="*/ 10 w 25"/>
                <a:gd name="T7" fmla="*/ 0 h 40"/>
                <a:gd name="T8" fmla="*/ 0 w 25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0">
                  <a:moveTo>
                    <a:pt x="0" y="40"/>
                  </a:moveTo>
                  <a:lnTo>
                    <a:pt x="17" y="30"/>
                  </a:lnTo>
                  <a:lnTo>
                    <a:pt x="25" y="10"/>
                  </a:lnTo>
                  <a:lnTo>
                    <a:pt x="10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7" name="Freeform 202"/>
            <p:cNvSpPr>
              <a:spLocks/>
            </p:cNvSpPr>
            <p:nvPr/>
          </p:nvSpPr>
          <p:spPr bwMode="auto">
            <a:xfrm>
              <a:off x="2169118" y="4104636"/>
              <a:ext cx="149680" cy="89233"/>
            </a:xfrm>
            <a:custGeom>
              <a:avLst/>
              <a:gdLst>
                <a:gd name="T0" fmla="*/ 14 w 104"/>
                <a:gd name="T1" fmla="*/ 8 h 62"/>
                <a:gd name="T2" fmla="*/ 0 w 104"/>
                <a:gd name="T3" fmla="*/ 15 h 62"/>
                <a:gd name="T4" fmla="*/ 0 w 104"/>
                <a:gd name="T5" fmla="*/ 35 h 62"/>
                <a:gd name="T6" fmla="*/ 37 w 104"/>
                <a:gd name="T7" fmla="*/ 40 h 62"/>
                <a:gd name="T8" fmla="*/ 49 w 104"/>
                <a:gd name="T9" fmla="*/ 52 h 62"/>
                <a:gd name="T10" fmla="*/ 64 w 104"/>
                <a:gd name="T11" fmla="*/ 42 h 62"/>
                <a:gd name="T12" fmla="*/ 59 w 104"/>
                <a:gd name="T13" fmla="*/ 27 h 62"/>
                <a:gd name="T14" fmla="*/ 77 w 104"/>
                <a:gd name="T15" fmla="*/ 27 h 62"/>
                <a:gd name="T16" fmla="*/ 94 w 104"/>
                <a:gd name="T17" fmla="*/ 47 h 62"/>
                <a:gd name="T18" fmla="*/ 101 w 104"/>
                <a:gd name="T19" fmla="*/ 62 h 62"/>
                <a:gd name="T20" fmla="*/ 104 w 104"/>
                <a:gd name="T21" fmla="*/ 22 h 62"/>
                <a:gd name="T22" fmla="*/ 82 w 104"/>
                <a:gd name="T23" fmla="*/ 8 h 62"/>
                <a:gd name="T24" fmla="*/ 62 w 104"/>
                <a:gd name="T25" fmla="*/ 0 h 62"/>
                <a:gd name="T26" fmla="*/ 49 w 104"/>
                <a:gd name="T27" fmla="*/ 15 h 62"/>
                <a:gd name="T28" fmla="*/ 14 w 104"/>
                <a:gd name="T29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62">
                  <a:moveTo>
                    <a:pt x="14" y="8"/>
                  </a:moveTo>
                  <a:lnTo>
                    <a:pt x="0" y="15"/>
                  </a:lnTo>
                  <a:lnTo>
                    <a:pt x="0" y="35"/>
                  </a:lnTo>
                  <a:lnTo>
                    <a:pt x="37" y="40"/>
                  </a:lnTo>
                  <a:lnTo>
                    <a:pt x="49" y="52"/>
                  </a:lnTo>
                  <a:lnTo>
                    <a:pt x="64" y="42"/>
                  </a:lnTo>
                  <a:lnTo>
                    <a:pt x="59" y="27"/>
                  </a:lnTo>
                  <a:lnTo>
                    <a:pt x="77" y="27"/>
                  </a:lnTo>
                  <a:lnTo>
                    <a:pt x="94" y="47"/>
                  </a:lnTo>
                  <a:lnTo>
                    <a:pt x="101" y="62"/>
                  </a:lnTo>
                  <a:lnTo>
                    <a:pt x="104" y="22"/>
                  </a:lnTo>
                  <a:lnTo>
                    <a:pt x="82" y="8"/>
                  </a:lnTo>
                  <a:lnTo>
                    <a:pt x="62" y="0"/>
                  </a:lnTo>
                  <a:lnTo>
                    <a:pt x="49" y="15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8" name="Freeform 203"/>
            <p:cNvSpPr>
              <a:spLocks/>
            </p:cNvSpPr>
            <p:nvPr/>
          </p:nvSpPr>
          <p:spPr bwMode="auto">
            <a:xfrm>
              <a:off x="2225249" y="4359380"/>
              <a:ext cx="194296" cy="178465"/>
            </a:xfrm>
            <a:custGeom>
              <a:avLst/>
              <a:gdLst>
                <a:gd name="T0" fmla="*/ 135 w 135"/>
                <a:gd name="T1" fmla="*/ 57 h 124"/>
                <a:gd name="T2" fmla="*/ 120 w 135"/>
                <a:gd name="T3" fmla="*/ 37 h 124"/>
                <a:gd name="T4" fmla="*/ 102 w 135"/>
                <a:gd name="T5" fmla="*/ 24 h 124"/>
                <a:gd name="T6" fmla="*/ 87 w 135"/>
                <a:gd name="T7" fmla="*/ 12 h 124"/>
                <a:gd name="T8" fmla="*/ 60 w 135"/>
                <a:gd name="T9" fmla="*/ 15 h 124"/>
                <a:gd name="T10" fmla="*/ 33 w 135"/>
                <a:gd name="T11" fmla="*/ 0 h 124"/>
                <a:gd name="T12" fmla="*/ 18 w 135"/>
                <a:gd name="T13" fmla="*/ 7 h 124"/>
                <a:gd name="T14" fmla="*/ 15 w 135"/>
                <a:gd name="T15" fmla="*/ 27 h 124"/>
                <a:gd name="T16" fmla="*/ 8 w 135"/>
                <a:gd name="T17" fmla="*/ 39 h 124"/>
                <a:gd name="T18" fmla="*/ 0 w 135"/>
                <a:gd name="T19" fmla="*/ 52 h 124"/>
                <a:gd name="T20" fmla="*/ 8 w 135"/>
                <a:gd name="T21" fmla="*/ 67 h 124"/>
                <a:gd name="T22" fmla="*/ 18 w 135"/>
                <a:gd name="T23" fmla="*/ 77 h 124"/>
                <a:gd name="T24" fmla="*/ 20 w 135"/>
                <a:gd name="T25" fmla="*/ 92 h 124"/>
                <a:gd name="T26" fmla="*/ 20 w 135"/>
                <a:gd name="T27" fmla="*/ 109 h 124"/>
                <a:gd name="T28" fmla="*/ 33 w 135"/>
                <a:gd name="T29" fmla="*/ 124 h 124"/>
                <a:gd name="T30" fmla="*/ 50 w 135"/>
                <a:gd name="T31" fmla="*/ 109 h 124"/>
                <a:gd name="T32" fmla="*/ 75 w 135"/>
                <a:gd name="T33" fmla="*/ 92 h 124"/>
                <a:gd name="T34" fmla="*/ 127 w 135"/>
                <a:gd name="T35" fmla="*/ 69 h 124"/>
                <a:gd name="T36" fmla="*/ 135 w 135"/>
                <a:gd name="T37" fmla="*/ 5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124">
                  <a:moveTo>
                    <a:pt x="135" y="57"/>
                  </a:moveTo>
                  <a:lnTo>
                    <a:pt x="120" y="37"/>
                  </a:lnTo>
                  <a:lnTo>
                    <a:pt x="102" y="24"/>
                  </a:lnTo>
                  <a:lnTo>
                    <a:pt x="87" y="12"/>
                  </a:lnTo>
                  <a:lnTo>
                    <a:pt x="60" y="15"/>
                  </a:lnTo>
                  <a:lnTo>
                    <a:pt x="33" y="0"/>
                  </a:lnTo>
                  <a:lnTo>
                    <a:pt x="18" y="7"/>
                  </a:lnTo>
                  <a:lnTo>
                    <a:pt x="15" y="27"/>
                  </a:lnTo>
                  <a:lnTo>
                    <a:pt x="8" y="39"/>
                  </a:lnTo>
                  <a:lnTo>
                    <a:pt x="0" y="52"/>
                  </a:lnTo>
                  <a:lnTo>
                    <a:pt x="8" y="67"/>
                  </a:lnTo>
                  <a:lnTo>
                    <a:pt x="18" y="77"/>
                  </a:lnTo>
                  <a:lnTo>
                    <a:pt x="20" y="92"/>
                  </a:lnTo>
                  <a:lnTo>
                    <a:pt x="20" y="109"/>
                  </a:lnTo>
                  <a:lnTo>
                    <a:pt x="33" y="124"/>
                  </a:lnTo>
                  <a:lnTo>
                    <a:pt x="50" y="109"/>
                  </a:lnTo>
                  <a:lnTo>
                    <a:pt x="75" y="92"/>
                  </a:lnTo>
                  <a:lnTo>
                    <a:pt x="127" y="69"/>
                  </a:lnTo>
                  <a:lnTo>
                    <a:pt x="13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89" name="Freeform 204"/>
            <p:cNvSpPr>
              <a:spLocks/>
            </p:cNvSpPr>
            <p:nvPr/>
          </p:nvSpPr>
          <p:spPr bwMode="auto">
            <a:xfrm>
              <a:off x="2730420" y="4136299"/>
              <a:ext cx="110822" cy="223081"/>
            </a:xfrm>
            <a:custGeom>
              <a:avLst/>
              <a:gdLst>
                <a:gd name="T0" fmla="*/ 20 w 77"/>
                <a:gd name="T1" fmla="*/ 0 h 155"/>
                <a:gd name="T2" fmla="*/ 22 w 77"/>
                <a:gd name="T3" fmla="*/ 20 h 155"/>
                <a:gd name="T4" fmla="*/ 15 w 77"/>
                <a:gd name="T5" fmla="*/ 28 h 155"/>
                <a:gd name="T6" fmla="*/ 10 w 77"/>
                <a:gd name="T7" fmla="*/ 35 h 155"/>
                <a:gd name="T8" fmla="*/ 0 w 77"/>
                <a:gd name="T9" fmla="*/ 45 h 155"/>
                <a:gd name="T10" fmla="*/ 0 w 77"/>
                <a:gd name="T11" fmla="*/ 63 h 155"/>
                <a:gd name="T12" fmla="*/ 7 w 77"/>
                <a:gd name="T13" fmla="*/ 75 h 155"/>
                <a:gd name="T14" fmla="*/ 7 w 77"/>
                <a:gd name="T15" fmla="*/ 87 h 155"/>
                <a:gd name="T16" fmla="*/ 22 w 77"/>
                <a:gd name="T17" fmla="*/ 92 h 155"/>
                <a:gd name="T18" fmla="*/ 25 w 77"/>
                <a:gd name="T19" fmla="*/ 112 h 155"/>
                <a:gd name="T20" fmla="*/ 22 w 77"/>
                <a:gd name="T21" fmla="*/ 127 h 155"/>
                <a:gd name="T22" fmla="*/ 30 w 77"/>
                <a:gd name="T23" fmla="*/ 145 h 155"/>
                <a:gd name="T24" fmla="*/ 40 w 77"/>
                <a:gd name="T25" fmla="*/ 155 h 155"/>
                <a:gd name="T26" fmla="*/ 50 w 77"/>
                <a:gd name="T27" fmla="*/ 152 h 155"/>
                <a:gd name="T28" fmla="*/ 55 w 77"/>
                <a:gd name="T29" fmla="*/ 145 h 155"/>
                <a:gd name="T30" fmla="*/ 69 w 77"/>
                <a:gd name="T31" fmla="*/ 145 h 155"/>
                <a:gd name="T32" fmla="*/ 74 w 77"/>
                <a:gd name="T33" fmla="*/ 135 h 155"/>
                <a:gd name="T34" fmla="*/ 72 w 77"/>
                <a:gd name="T35" fmla="*/ 117 h 155"/>
                <a:gd name="T36" fmla="*/ 62 w 77"/>
                <a:gd name="T37" fmla="*/ 112 h 155"/>
                <a:gd name="T38" fmla="*/ 55 w 77"/>
                <a:gd name="T39" fmla="*/ 105 h 155"/>
                <a:gd name="T40" fmla="*/ 55 w 77"/>
                <a:gd name="T41" fmla="*/ 87 h 155"/>
                <a:gd name="T42" fmla="*/ 62 w 77"/>
                <a:gd name="T43" fmla="*/ 83 h 155"/>
                <a:gd name="T44" fmla="*/ 77 w 77"/>
                <a:gd name="T45" fmla="*/ 83 h 155"/>
                <a:gd name="T46" fmla="*/ 77 w 77"/>
                <a:gd name="T47" fmla="*/ 65 h 155"/>
                <a:gd name="T48" fmla="*/ 74 w 77"/>
                <a:gd name="T49" fmla="*/ 45 h 155"/>
                <a:gd name="T50" fmla="*/ 67 w 77"/>
                <a:gd name="T51" fmla="*/ 38 h 155"/>
                <a:gd name="T52" fmla="*/ 52 w 77"/>
                <a:gd name="T53" fmla="*/ 38 h 155"/>
                <a:gd name="T54" fmla="*/ 50 w 77"/>
                <a:gd name="T55" fmla="*/ 20 h 155"/>
                <a:gd name="T56" fmla="*/ 40 w 77"/>
                <a:gd name="T57" fmla="*/ 20 h 155"/>
                <a:gd name="T58" fmla="*/ 35 w 77"/>
                <a:gd name="T59" fmla="*/ 3 h 155"/>
                <a:gd name="T60" fmla="*/ 20 w 77"/>
                <a:gd name="T61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7" h="155">
                  <a:moveTo>
                    <a:pt x="20" y="0"/>
                  </a:moveTo>
                  <a:lnTo>
                    <a:pt x="22" y="20"/>
                  </a:lnTo>
                  <a:lnTo>
                    <a:pt x="15" y="28"/>
                  </a:lnTo>
                  <a:lnTo>
                    <a:pt x="10" y="35"/>
                  </a:lnTo>
                  <a:lnTo>
                    <a:pt x="0" y="45"/>
                  </a:lnTo>
                  <a:lnTo>
                    <a:pt x="0" y="63"/>
                  </a:lnTo>
                  <a:lnTo>
                    <a:pt x="7" y="75"/>
                  </a:lnTo>
                  <a:lnTo>
                    <a:pt x="7" y="87"/>
                  </a:lnTo>
                  <a:lnTo>
                    <a:pt x="22" y="92"/>
                  </a:lnTo>
                  <a:lnTo>
                    <a:pt x="25" y="112"/>
                  </a:lnTo>
                  <a:lnTo>
                    <a:pt x="22" y="127"/>
                  </a:lnTo>
                  <a:lnTo>
                    <a:pt x="30" y="145"/>
                  </a:lnTo>
                  <a:lnTo>
                    <a:pt x="40" y="155"/>
                  </a:lnTo>
                  <a:lnTo>
                    <a:pt x="50" y="152"/>
                  </a:lnTo>
                  <a:lnTo>
                    <a:pt x="55" y="145"/>
                  </a:lnTo>
                  <a:lnTo>
                    <a:pt x="69" y="145"/>
                  </a:lnTo>
                  <a:lnTo>
                    <a:pt x="74" y="135"/>
                  </a:lnTo>
                  <a:lnTo>
                    <a:pt x="72" y="117"/>
                  </a:lnTo>
                  <a:lnTo>
                    <a:pt x="62" y="112"/>
                  </a:lnTo>
                  <a:lnTo>
                    <a:pt x="55" y="105"/>
                  </a:lnTo>
                  <a:lnTo>
                    <a:pt x="55" y="87"/>
                  </a:lnTo>
                  <a:lnTo>
                    <a:pt x="62" y="83"/>
                  </a:lnTo>
                  <a:lnTo>
                    <a:pt x="77" y="83"/>
                  </a:lnTo>
                  <a:lnTo>
                    <a:pt x="77" y="65"/>
                  </a:lnTo>
                  <a:lnTo>
                    <a:pt x="74" y="45"/>
                  </a:lnTo>
                  <a:lnTo>
                    <a:pt x="67" y="38"/>
                  </a:lnTo>
                  <a:lnTo>
                    <a:pt x="52" y="38"/>
                  </a:lnTo>
                  <a:lnTo>
                    <a:pt x="50" y="20"/>
                  </a:lnTo>
                  <a:lnTo>
                    <a:pt x="40" y="20"/>
                  </a:lnTo>
                  <a:lnTo>
                    <a:pt x="35" y="3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0" name="Freeform 205"/>
            <p:cNvSpPr>
              <a:spLocks/>
            </p:cNvSpPr>
            <p:nvPr/>
          </p:nvSpPr>
          <p:spPr bwMode="auto">
            <a:xfrm>
              <a:off x="2809579" y="4201064"/>
              <a:ext cx="106503" cy="143924"/>
            </a:xfrm>
            <a:custGeom>
              <a:avLst/>
              <a:gdLst>
                <a:gd name="T0" fmla="*/ 22 w 74"/>
                <a:gd name="T1" fmla="*/ 20 h 100"/>
                <a:gd name="T2" fmla="*/ 22 w 74"/>
                <a:gd name="T3" fmla="*/ 38 h 100"/>
                <a:gd name="T4" fmla="*/ 7 w 74"/>
                <a:gd name="T5" fmla="*/ 38 h 100"/>
                <a:gd name="T6" fmla="*/ 0 w 74"/>
                <a:gd name="T7" fmla="*/ 42 h 100"/>
                <a:gd name="T8" fmla="*/ 0 w 74"/>
                <a:gd name="T9" fmla="*/ 60 h 100"/>
                <a:gd name="T10" fmla="*/ 7 w 74"/>
                <a:gd name="T11" fmla="*/ 67 h 100"/>
                <a:gd name="T12" fmla="*/ 17 w 74"/>
                <a:gd name="T13" fmla="*/ 72 h 100"/>
                <a:gd name="T14" fmla="*/ 19 w 74"/>
                <a:gd name="T15" fmla="*/ 90 h 100"/>
                <a:gd name="T16" fmla="*/ 14 w 74"/>
                <a:gd name="T17" fmla="*/ 100 h 100"/>
                <a:gd name="T18" fmla="*/ 37 w 74"/>
                <a:gd name="T19" fmla="*/ 100 h 100"/>
                <a:gd name="T20" fmla="*/ 37 w 74"/>
                <a:gd name="T21" fmla="*/ 82 h 100"/>
                <a:gd name="T22" fmla="*/ 64 w 74"/>
                <a:gd name="T23" fmla="*/ 82 h 100"/>
                <a:gd name="T24" fmla="*/ 69 w 74"/>
                <a:gd name="T25" fmla="*/ 75 h 100"/>
                <a:gd name="T26" fmla="*/ 69 w 74"/>
                <a:gd name="T27" fmla="*/ 25 h 100"/>
                <a:gd name="T28" fmla="*/ 74 w 74"/>
                <a:gd name="T29" fmla="*/ 15 h 100"/>
                <a:gd name="T30" fmla="*/ 67 w 74"/>
                <a:gd name="T31" fmla="*/ 3 h 100"/>
                <a:gd name="T32" fmla="*/ 44 w 74"/>
                <a:gd name="T33" fmla="*/ 0 h 100"/>
                <a:gd name="T34" fmla="*/ 39 w 74"/>
                <a:gd name="T35" fmla="*/ 13 h 100"/>
                <a:gd name="T36" fmla="*/ 22 w 74"/>
                <a:gd name="T3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00">
                  <a:moveTo>
                    <a:pt x="22" y="20"/>
                  </a:moveTo>
                  <a:lnTo>
                    <a:pt x="22" y="38"/>
                  </a:lnTo>
                  <a:lnTo>
                    <a:pt x="7" y="38"/>
                  </a:lnTo>
                  <a:lnTo>
                    <a:pt x="0" y="42"/>
                  </a:lnTo>
                  <a:lnTo>
                    <a:pt x="0" y="60"/>
                  </a:lnTo>
                  <a:lnTo>
                    <a:pt x="7" y="67"/>
                  </a:lnTo>
                  <a:lnTo>
                    <a:pt x="17" y="72"/>
                  </a:lnTo>
                  <a:lnTo>
                    <a:pt x="19" y="90"/>
                  </a:lnTo>
                  <a:lnTo>
                    <a:pt x="14" y="100"/>
                  </a:lnTo>
                  <a:lnTo>
                    <a:pt x="37" y="100"/>
                  </a:lnTo>
                  <a:lnTo>
                    <a:pt x="37" y="82"/>
                  </a:lnTo>
                  <a:lnTo>
                    <a:pt x="64" y="82"/>
                  </a:lnTo>
                  <a:lnTo>
                    <a:pt x="69" y="75"/>
                  </a:lnTo>
                  <a:lnTo>
                    <a:pt x="69" y="25"/>
                  </a:lnTo>
                  <a:lnTo>
                    <a:pt x="74" y="15"/>
                  </a:lnTo>
                  <a:lnTo>
                    <a:pt x="67" y="3"/>
                  </a:lnTo>
                  <a:lnTo>
                    <a:pt x="44" y="0"/>
                  </a:lnTo>
                  <a:lnTo>
                    <a:pt x="39" y="13"/>
                  </a:lnTo>
                  <a:lnTo>
                    <a:pt x="2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1" name="Freeform 206"/>
            <p:cNvSpPr>
              <a:spLocks/>
            </p:cNvSpPr>
            <p:nvPr/>
          </p:nvSpPr>
          <p:spPr bwMode="auto">
            <a:xfrm>
              <a:off x="7256816" y="4029796"/>
              <a:ext cx="56130" cy="103625"/>
            </a:xfrm>
            <a:custGeom>
              <a:avLst/>
              <a:gdLst>
                <a:gd name="T0" fmla="*/ 27 w 39"/>
                <a:gd name="T1" fmla="*/ 10 h 72"/>
                <a:gd name="T2" fmla="*/ 24 w 39"/>
                <a:gd name="T3" fmla="*/ 22 h 72"/>
                <a:gd name="T4" fmla="*/ 7 w 39"/>
                <a:gd name="T5" fmla="*/ 32 h 72"/>
                <a:gd name="T6" fmla="*/ 0 w 39"/>
                <a:gd name="T7" fmla="*/ 50 h 72"/>
                <a:gd name="T8" fmla="*/ 2 w 39"/>
                <a:gd name="T9" fmla="*/ 72 h 72"/>
                <a:gd name="T10" fmla="*/ 19 w 39"/>
                <a:gd name="T11" fmla="*/ 55 h 72"/>
                <a:gd name="T12" fmla="*/ 32 w 39"/>
                <a:gd name="T13" fmla="*/ 30 h 72"/>
                <a:gd name="T14" fmla="*/ 39 w 39"/>
                <a:gd name="T15" fmla="*/ 15 h 72"/>
                <a:gd name="T16" fmla="*/ 32 w 39"/>
                <a:gd name="T17" fmla="*/ 0 h 72"/>
                <a:gd name="T18" fmla="*/ 27 w 39"/>
                <a:gd name="T19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72">
                  <a:moveTo>
                    <a:pt x="27" y="10"/>
                  </a:moveTo>
                  <a:lnTo>
                    <a:pt x="24" y="22"/>
                  </a:lnTo>
                  <a:lnTo>
                    <a:pt x="7" y="32"/>
                  </a:lnTo>
                  <a:lnTo>
                    <a:pt x="0" y="50"/>
                  </a:lnTo>
                  <a:lnTo>
                    <a:pt x="2" y="72"/>
                  </a:lnTo>
                  <a:lnTo>
                    <a:pt x="19" y="55"/>
                  </a:lnTo>
                  <a:lnTo>
                    <a:pt x="32" y="30"/>
                  </a:lnTo>
                  <a:lnTo>
                    <a:pt x="39" y="15"/>
                  </a:lnTo>
                  <a:lnTo>
                    <a:pt x="32" y="0"/>
                  </a:lnTo>
                  <a:lnTo>
                    <a:pt x="2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2" name="Freeform 207"/>
            <p:cNvSpPr>
              <a:spLocks/>
            </p:cNvSpPr>
            <p:nvPr/>
          </p:nvSpPr>
          <p:spPr bwMode="auto">
            <a:xfrm>
              <a:off x="7291358" y="3815349"/>
              <a:ext cx="86354" cy="135288"/>
            </a:xfrm>
            <a:custGeom>
              <a:avLst/>
              <a:gdLst>
                <a:gd name="T0" fmla="*/ 28 w 60"/>
                <a:gd name="T1" fmla="*/ 0 h 94"/>
                <a:gd name="T2" fmla="*/ 18 w 60"/>
                <a:gd name="T3" fmla="*/ 20 h 94"/>
                <a:gd name="T4" fmla="*/ 10 w 60"/>
                <a:gd name="T5" fmla="*/ 47 h 94"/>
                <a:gd name="T6" fmla="*/ 0 w 60"/>
                <a:gd name="T7" fmla="*/ 57 h 94"/>
                <a:gd name="T8" fmla="*/ 3 w 60"/>
                <a:gd name="T9" fmla="*/ 82 h 94"/>
                <a:gd name="T10" fmla="*/ 15 w 60"/>
                <a:gd name="T11" fmla="*/ 84 h 94"/>
                <a:gd name="T12" fmla="*/ 23 w 60"/>
                <a:gd name="T13" fmla="*/ 94 h 94"/>
                <a:gd name="T14" fmla="*/ 43 w 60"/>
                <a:gd name="T15" fmla="*/ 94 h 94"/>
                <a:gd name="T16" fmla="*/ 60 w 60"/>
                <a:gd name="T17" fmla="*/ 87 h 94"/>
                <a:gd name="T18" fmla="*/ 55 w 60"/>
                <a:gd name="T19" fmla="*/ 62 h 94"/>
                <a:gd name="T20" fmla="*/ 58 w 60"/>
                <a:gd name="T21" fmla="*/ 47 h 94"/>
                <a:gd name="T22" fmla="*/ 58 w 60"/>
                <a:gd name="T23" fmla="*/ 32 h 94"/>
                <a:gd name="T24" fmla="*/ 50 w 60"/>
                <a:gd name="T25" fmla="*/ 12 h 94"/>
                <a:gd name="T26" fmla="*/ 48 w 60"/>
                <a:gd name="T27" fmla="*/ 0 h 94"/>
                <a:gd name="T28" fmla="*/ 28 w 60"/>
                <a:gd name="T2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94">
                  <a:moveTo>
                    <a:pt x="28" y="0"/>
                  </a:moveTo>
                  <a:lnTo>
                    <a:pt x="18" y="20"/>
                  </a:lnTo>
                  <a:lnTo>
                    <a:pt x="10" y="47"/>
                  </a:lnTo>
                  <a:lnTo>
                    <a:pt x="0" y="57"/>
                  </a:lnTo>
                  <a:lnTo>
                    <a:pt x="3" y="82"/>
                  </a:lnTo>
                  <a:lnTo>
                    <a:pt x="15" y="84"/>
                  </a:lnTo>
                  <a:lnTo>
                    <a:pt x="23" y="94"/>
                  </a:lnTo>
                  <a:lnTo>
                    <a:pt x="43" y="94"/>
                  </a:lnTo>
                  <a:lnTo>
                    <a:pt x="60" y="87"/>
                  </a:lnTo>
                  <a:lnTo>
                    <a:pt x="55" y="62"/>
                  </a:lnTo>
                  <a:lnTo>
                    <a:pt x="58" y="47"/>
                  </a:lnTo>
                  <a:lnTo>
                    <a:pt x="58" y="32"/>
                  </a:lnTo>
                  <a:lnTo>
                    <a:pt x="50" y="12"/>
                  </a:lnTo>
                  <a:lnTo>
                    <a:pt x="48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3" name="Freeform 208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4" name="Freeform 210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5" name="Freeform 211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6" name="Freeform 212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7" name="Freeform 213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8" name="Freeform 214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2 w 37"/>
                <a:gd name="T13" fmla="*/ 2 h 27"/>
                <a:gd name="T14" fmla="*/ 0 w 37"/>
                <a:gd name="T1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199" name="Freeform 215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0" name="Freeform 216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1" name="Freeform 217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8 w 25"/>
                <a:gd name="T11" fmla="*/ 0 h 25"/>
                <a:gd name="T12" fmla="*/ 5 w 25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2" name="Freeform 218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3" name="Freeform 219"/>
            <p:cNvSpPr>
              <a:spLocks/>
            </p:cNvSpPr>
            <p:nvPr/>
          </p:nvSpPr>
          <p:spPr bwMode="auto">
            <a:xfrm>
              <a:off x="7438160" y="4018282"/>
              <a:ext cx="33102" cy="25906"/>
            </a:xfrm>
            <a:custGeom>
              <a:avLst/>
              <a:gdLst>
                <a:gd name="T0" fmla="*/ 0 w 23"/>
                <a:gd name="T1" fmla="*/ 5 h 18"/>
                <a:gd name="T2" fmla="*/ 3 w 23"/>
                <a:gd name="T3" fmla="*/ 18 h 18"/>
                <a:gd name="T4" fmla="*/ 13 w 23"/>
                <a:gd name="T5" fmla="*/ 18 h 18"/>
                <a:gd name="T6" fmla="*/ 20 w 23"/>
                <a:gd name="T7" fmla="*/ 13 h 18"/>
                <a:gd name="T8" fmla="*/ 23 w 23"/>
                <a:gd name="T9" fmla="*/ 0 h 18"/>
                <a:gd name="T10" fmla="*/ 10 w 23"/>
                <a:gd name="T11" fmla="*/ 0 h 18"/>
                <a:gd name="T12" fmla="*/ 0 w 23"/>
                <a:gd name="T1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">
                  <a:moveTo>
                    <a:pt x="0" y="5"/>
                  </a:moveTo>
                  <a:lnTo>
                    <a:pt x="3" y="18"/>
                  </a:lnTo>
                  <a:lnTo>
                    <a:pt x="13" y="18"/>
                  </a:lnTo>
                  <a:lnTo>
                    <a:pt x="20" y="13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4" name="Freeform 220"/>
            <p:cNvSpPr>
              <a:spLocks/>
            </p:cNvSpPr>
            <p:nvPr/>
          </p:nvSpPr>
          <p:spPr bwMode="auto">
            <a:xfrm>
              <a:off x="7409375" y="4087365"/>
              <a:ext cx="83476" cy="113699"/>
            </a:xfrm>
            <a:custGeom>
              <a:avLst/>
              <a:gdLst>
                <a:gd name="T0" fmla="*/ 35 w 58"/>
                <a:gd name="T1" fmla="*/ 0 h 79"/>
                <a:gd name="T2" fmla="*/ 18 w 58"/>
                <a:gd name="T3" fmla="*/ 15 h 79"/>
                <a:gd name="T4" fmla="*/ 0 w 58"/>
                <a:gd name="T5" fmla="*/ 32 h 79"/>
                <a:gd name="T6" fmla="*/ 10 w 58"/>
                <a:gd name="T7" fmla="*/ 47 h 79"/>
                <a:gd name="T8" fmla="*/ 23 w 58"/>
                <a:gd name="T9" fmla="*/ 64 h 79"/>
                <a:gd name="T10" fmla="*/ 38 w 58"/>
                <a:gd name="T11" fmla="*/ 79 h 79"/>
                <a:gd name="T12" fmla="*/ 48 w 58"/>
                <a:gd name="T13" fmla="*/ 64 h 79"/>
                <a:gd name="T14" fmla="*/ 58 w 58"/>
                <a:gd name="T15" fmla="*/ 57 h 79"/>
                <a:gd name="T16" fmla="*/ 58 w 58"/>
                <a:gd name="T17" fmla="*/ 22 h 79"/>
                <a:gd name="T18" fmla="*/ 50 w 58"/>
                <a:gd name="T19" fmla="*/ 10 h 79"/>
                <a:gd name="T20" fmla="*/ 35 w 58"/>
                <a:gd name="T2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79">
                  <a:moveTo>
                    <a:pt x="35" y="0"/>
                  </a:moveTo>
                  <a:lnTo>
                    <a:pt x="18" y="15"/>
                  </a:lnTo>
                  <a:lnTo>
                    <a:pt x="0" y="32"/>
                  </a:lnTo>
                  <a:lnTo>
                    <a:pt x="10" y="47"/>
                  </a:lnTo>
                  <a:lnTo>
                    <a:pt x="23" y="64"/>
                  </a:lnTo>
                  <a:lnTo>
                    <a:pt x="38" y="79"/>
                  </a:lnTo>
                  <a:lnTo>
                    <a:pt x="48" y="64"/>
                  </a:lnTo>
                  <a:lnTo>
                    <a:pt x="58" y="57"/>
                  </a:lnTo>
                  <a:lnTo>
                    <a:pt x="58" y="22"/>
                  </a:lnTo>
                  <a:lnTo>
                    <a:pt x="50" y="1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5" name="Freeform 221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6" name="Freeform 222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5 w 32"/>
                <a:gd name="T15" fmla="*/ 0 h 42"/>
                <a:gd name="T16" fmla="*/ 23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5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7" name="Freeform 223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8" name="Freeform 224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10 w 12"/>
                <a:gd name="T17" fmla="*/ 15 h 15"/>
                <a:gd name="T18" fmla="*/ 7 w 12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09" name="Freeform 225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7 w 12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0" name="Freeform 226"/>
            <p:cNvSpPr>
              <a:spLocks/>
            </p:cNvSpPr>
            <p:nvPr/>
          </p:nvSpPr>
          <p:spPr bwMode="auto">
            <a:xfrm>
              <a:off x="4047321" y="4075851"/>
              <a:ext cx="164073" cy="165512"/>
            </a:xfrm>
            <a:custGeom>
              <a:avLst/>
              <a:gdLst>
                <a:gd name="T0" fmla="*/ 37 w 114"/>
                <a:gd name="T1" fmla="*/ 115 h 115"/>
                <a:gd name="T2" fmla="*/ 17 w 114"/>
                <a:gd name="T3" fmla="*/ 107 h 115"/>
                <a:gd name="T4" fmla="*/ 15 w 114"/>
                <a:gd name="T5" fmla="*/ 85 h 115"/>
                <a:gd name="T6" fmla="*/ 5 w 114"/>
                <a:gd name="T7" fmla="*/ 82 h 115"/>
                <a:gd name="T8" fmla="*/ 0 w 114"/>
                <a:gd name="T9" fmla="*/ 67 h 115"/>
                <a:gd name="T10" fmla="*/ 5 w 114"/>
                <a:gd name="T11" fmla="*/ 42 h 115"/>
                <a:gd name="T12" fmla="*/ 22 w 114"/>
                <a:gd name="T13" fmla="*/ 30 h 115"/>
                <a:gd name="T14" fmla="*/ 12 w 114"/>
                <a:gd name="T15" fmla="*/ 20 h 115"/>
                <a:gd name="T16" fmla="*/ 17 w 114"/>
                <a:gd name="T17" fmla="*/ 5 h 115"/>
                <a:gd name="T18" fmla="*/ 32 w 114"/>
                <a:gd name="T19" fmla="*/ 3 h 115"/>
                <a:gd name="T20" fmla="*/ 54 w 114"/>
                <a:gd name="T21" fmla="*/ 0 h 115"/>
                <a:gd name="T22" fmla="*/ 64 w 114"/>
                <a:gd name="T23" fmla="*/ 8 h 115"/>
                <a:gd name="T24" fmla="*/ 99 w 114"/>
                <a:gd name="T25" fmla="*/ 10 h 115"/>
                <a:gd name="T26" fmla="*/ 102 w 114"/>
                <a:gd name="T27" fmla="*/ 28 h 115"/>
                <a:gd name="T28" fmla="*/ 114 w 114"/>
                <a:gd name="T29" fmla="*/ 33 h 115"/>
                <a:gd name="T30" fmla="*/ 112 w 114"/>
                <a:gd name="T31" fmla="*/ 45 h 115"/>
                <a:gd name="T32" fmla="*/ 102 w 114"/>
                <a:gd name="T33" fmla="*/ 47 h 115"/>
                <a:gd name="T34" fmla="*/ 99 w 114"/>
                <a:gd name="T35" fmla="*/ 75 h 115"/>
                <a:gd name="T36" fmla="*/ 102 w 114"/>
                <a:gd name="T37" fmla="*/ 105 h 115"/>
                <a:gd name="T38" fmla="*/ 57 w 114"/>
                <a:gd name="T39" fmla="*/ 105 h 115"/>
                <a:gd name="T40" fmla="*/ 37 w 114"/>
                <a:gd name="T4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15">
                  <a:moveTo>
                    <a:pt x="37" y="115"/>
                  </a:moveTo>
                  <a:lnTo>
                    <a:pt x="17" y="107"/>
                  </a:lnTo>
                  <a:lnTo>
                    <a:pt x="15" y="85"/>
                  </a:lnTo>
                  <a:lnTo>
                    <a:pt x="5" y="82"/>
                  </a:lnTo>
                  <a:lnTo>
                    <a:pt x="0" y="67"/>
                  </a:lnTo>
                  <a:lnTo>
                    <a:pt x="5" y="42"/>
                  </a:lnTo>
                  <a:lnTo>
                    <a:pt x="22" y="30"/>
                  </a:lnTo>
                  <a:lnTo>
                    <a:pt x="12" y="20"/>
                  </a:lnTo>
                  <a:lnTo>
                    <a:pt x="17" y="5"/>
                  </a:lnTo>
                  <a:lnTo>
                    <a:pt x="32" y="3"/>
                  </a:lnTo>
                  <a:lnTo>
                    <a:pt x="54" y="0"/>
                  </a:lnTo>
                  <a:lnTo>
                    <a:pt x="64" y="8"/>
                  </a:lnTo>
                  <a:lnTo>
                    <a:pt x="99" y="10"/>
                  </a:lnTo>
                  <a:lnTo>
                    <a:pt x="102" y="28"/>
                  </a:lnTo>
                  <a:lnTo>
                    <a:pt x="114" y="33"/>
                  </a:lnTo>
                  <a:lnTo>
                    <a:pt x="112" y="45"/>
                  </a:lnTo>
                  <a:lnTo>
                    <a:pt x="102" y="47"/>
                  </a:lnTo>
                  <a:lnTo>
                    <a:pt x="99" y="75"/>
                  </a:lnTo>
                  <a:lnTo>
                    <a:pt x="102" y="105"/>
                  </a:lnTo>
                  <a:lnTo>
                    <a:pt x="57" y="105"/>
                  </a:lnTo>
                  <a:lnTo>
                    <a:pt x="37" y="1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1" name="Freeform 227"/>
            <p:cNvSpPr>
              <a:spLocks/>
            </p:cNvSpPr>
            <p:nvPr/>
          </p:nvSpPr>
          <p:spPr bwMode="auto">
            <a:xfrm>
              <a:off x="2405153" y="4261512"/>
              <a:ext cx="1011783" cy="1134118"/>
            </a:xfrm>
            <a:custGeom>
              <a:avLst/>
              <a:gdLst>
                <a:gd name="T0" fmla="*/ 72 w 703"/>
                <a:gd name="T1" fmla="*/ 70 h 788"/>
                <a:gd name="T2" fmla="*/ 74 w 703"/>
                <a:gd name="T3" fmla="*/ 122 h 788"/>
                <a:gd name="T4" fmla="*/ 69 w 703"/>
                <a:gd name="T5" fmla="*/ 162 h 788"/>
                <a:gd name="T6" fmla="*/ 34 w 703"/>
                <a:gd name="T7" fmla="*/ 182 h 788"/>
                <a:gd name="T8" fmla="*/ 19 w 703"/>
                <a:gd name="T9" fmla="*/ 219 h 788"/>
                <a:gd name="T10" fmla="*/ 0 w 703"/>
                <a:gd name="T11" fmla="*/ 247 h 788"/>
                <a:gd name="T12" fmla="*/ 19 w 703"/>
                <a:gd name="T13" fmla="*/ 281 h 788"/>
                <a:gd name="T14" fmla="*/ 49 w 703"/>
                <a:gd name="T15" fmla="*/ 296 h 788"/>
                <a:gd name="T16" fmla="*/ 87 w 703"/>
                <a:gd name="T17" fmla="*/ 319 h 788"/>
                <a:gd name="T18" fmla="*/ 116 w 703"/>
                <a:gd name="T19" fmla="*/ 311 h 788"/>
                <a:gd name="T20" fmla="*/ 131 w 703"/>
                <a:gd name="T21" fmla="*/ 289 h 788"/>
                <a:gd name="T22" fmla="*/ 166 w 703"/>
                <a:gd name="T23" fmla="*/ 344 h 788"/>
                <a:gd name="T24" fmla="*/ 198 w 703"/>
                <a:gd name="T25" fmla="*/ 353 h 788"/>
                <a:gd name="T26" fmla="*/ 233 w 703"/>
                <a:gd name="T27" fmla="*/ 368 h 788"/>
                <a:gd name="T28" fmla="*/ 253 w 703"/>
                <a:gd name="T29" fmla="*/ 391 h 788"/>
                <a:gd name="T30" fmla="*/ 251 w 703"/>
                <a:gd name="T31" fmla="*/ 423 h 788"/>
                <a:gd name="T32" fmla="*/ 281 w 703"/>
                <a:gd name="T33" fmla="*/ 443 h 788"/>
                <a:gd name="T34" fmla="*/ 300 w 703"/>
                <a:gd name="T35" fmla="*/ 463 h 788"/>
                <a:gd name="T36" fmla="*/ 283 w 703"/>
                <a:gd name="T37" fmla="*/ 500 h 788"/>
                <a:gd name="T38" fmla="*/ 298 w 703"/>
                <a:gd name="T39" fmla="*/ 532 h 788"/>
                <a:gd name="T40" fmla="*/ 328 w 703"/>
                <a:gd name="T41" fmla="*/ 547 h 788"/>
                <a:gd name="T42" fmla="*/ 363 w 703"/>
                <a:gd name="T43" fmla="*/ 572 h 788"/>
                <a:gd name="T44" fmla="*/ 370 w 703"/>
                <a:gd name="T45" fmla="*/ 639 h 788"/>
                <a:gd name="T46" fmla="*/ 368 w 703"/>
                <a:gd name="T47" fmla="*/ 657 h 788"/>
                <a:gd name="T48" fmla="*/ 340 w 703"/>
                <a:gd name="T49" fmla="*/ 687 h 788"/>
                <a:gd name="T50" fmla="*/ 330 w 703"/>
                <a:gd name="T51" fmla="*/ 719 h 788"/>
                <a:gd name="T52" fmla="*/ 392 w 703"/>
                <a:gd name="T53" fmla="*/ 776 h 788"/>
                <a:gd name="T54" fmla="*/ 407 w 703"/>
                <a:gd name="T55" fmla="*/ 754 h 788"/>
                <a:gd name="T56" fmla="*/ 420 w 703"/>
                <a:gd name="T57" fmla="*/ 714 h 788"/>
                <a:gd name="T58" fmla="*/ 417 w 703"/>
                <a:gd name="T59" fmla="*/ 741 h 788"/>
                <a:gd name="T60" fmla="*/ 447 w 703"/>
                <a:gd name="T61" fmla="*/ 711 h 788"/>
                <a:gd name="T62" fmla="*/ 469 w 703"/>
                <a:gd name="T63" fmla="*/ 617 h 788"/>
                <a:gd name="T64" fmla="*/ 494 w 703"/>
                <a:gd name="T65" fmla="*/ 587 h 788"/>
                <a:gd name="T66" fmla="*/ 559 w 703"/>
                <a:gd name="T67" fmla="*/ 560 h 788"/>
                <a:gd name="T68" fmla="*/ 596 w 703"/>
                <a:gd name="T69" fmla="*/ 518 h 788"/>
                <a:gd name="T70" fmla="*/ 616 w 703"/>
                <a:gd name="T71" fmla="*/ 450 h 788"/>
                <a:gd name="T72" fmla="*/ 646 w 703"/>
                <a:gd name="T73" fmla="*/ 346 h 788"/>
                <a:gd name="T74" fmla="*/ 658 w 703"/>
                <a:gd name="T75" fmla="*/ 304 h 788"/>
                <a:gd name="T76" fmla="*/ 686 w 703"/>
                <a:gd name="T77" fmla="*/ 279 h 788"/>
                <a:gd name="T78" fmla="*/ 691 w 703"/>
                <a:gd name="T79" fmla="*/ 244 h 788"/>
                <a:gd name="T80" fmla="*/ 691 w 703"/>
                <a:gd name="T81" fmla="*/ 227 h 788"/>
                <a:gd name="T82" fmla="*/ 666 w 703"/>
                <a:gd name="T83" fmla="*/ 182 h 788"/>
                <a:gd name="T84" fmla="*/ 629 w 703"/>
                <a:gd name="T85" fmla="*/ 160 h 788"/>
                <a:gd name="T86" fmla="*/ 596 w 703"/>
                <a:gd name="T87" fmla="*/ 140 h 788"/>
                <a:gd name="T88" fmla="*/ 559 w 703"/>
                <a:gd name="T89" fmla="*/ 135 h 788"/>
                <a:gd name="T90" fmla="*/ 522 w 703"/>
                <a:gd name="T91" fmla="*/ 112 h 788"/>
                <a:gd name="T92" fmla="*/ 472 w 703"/>
                <a:gd name="T93" fmla="*/ 102 h 788"/>
                <a:gd name="T94" fmla="*/ 440 w 703"/>
                <a:gd name="T95" fmla="*/ 125 h 788"/>
                <a:gd name="T96" fmla="*/ 445 w 703"/>
                <a:gd name="T97" fmla="*/ 92 h 788"/>
                <a:gd name="T98" fmla="*/ 410 w 703"/>
                <a:gd name="T99" fmla="*/ 110 h 788"/>
                <a:gd name="T100" fmla="*/ 405 w 703"/>
                <a:gd name="T101" fmla="*/ 100 h 788"/>
                <a:gd name="T102" fmla="*/ 427 w 703"/>
                <a:gd name="T103" fmla="*/ 60 h 788"/>
                <a:gd name="T104" fmla="*/ 390 w 703"/>
                <a:gd name="T105" fmla="*/ 18 h 788"/>
                <a:gd name="T106" fmla="*/ 370 w 703"/>
                <a:gd name="T107" fmla="*/ 50 h 788"/>
                <a:gd name="T108" fmla="*/ 318 w 703"/>
                <a:gd name="T109" fmla="*/ 40 h 788"/>
                <a:gd name="T110" fmla="*/ 281 w 703"/>
                <a:gd name="T111" fmla="*/ 58 h 788"/>
                <a:gd name="T112" fmla="*/ 256 w 703"/>
                <a:gd name="T113" fmla="*/ 58 h 788"/>
                <a:gd name="T114" fmla="*/ 248 w 703"/>
                <a:gd name="T115" fmla="*/ 5 h 788"/>
                <a:gd name="T116" fmla="*/ 198 w 703"/>
                <a:gd name="T117" fmla="*/ 13 h 788"/>
                <a:gd name="T118" fmla="*/ 166 w 703"/>
                <a:gd name="T119" fmla="*/ 10 h 788"/>
                <a:gd name="T120" fmla="*/ 176 w 703"/>
                <a:gd name="T121" fmla="*/ 45 h 788"/>
                <a:gd name="T122" fmla="*/ 141 w 703"/>
                <a:gd name="T123" fmla="*/ 73 h 788"/>
                <a:gd name="T124" fmla="*/ 109 w 703"/>
                <a:gd name="T125" fmla="*/ 4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3" h="788">
                  <a:moveTo>
                    <a:pt x="109" y="48"/>
                  </a:moveTo>
                  <a:lnTo>
                    <a:pt x="79" y="58"/>
                  </a:lnTo>
                  <a:lnTo>
                    <a:pt x="72" y="70"/>
                  </a:lnTo>
                  <a:lnTo>
                    <a:pt x="79" y="80"/>
                  </a:lnTo>
                  <a:lnTo>
                    <a:pt x="72" y="87"/>
                  </a:lnTo>
                  <a:lnTo>
                    <a:pt x="74" y="122"/>
                  </a:lnTo>
                  <a:lnTo>
                    <a:pt x="74" y="137"/>
                  </a:lnTo>
                  <a:lnTo>
                    <a:pt x="57" y="140"/>
                  </a:lnTo>
                  <a:lnTo>
                    <a:pt x="69" y="162"/>
                  </a:lnTo>
                  <a:lnTo>
                    <a:pt x="64" y="179"/>
                  </a:lnTo>
                  <a:lnTo>
                    <a:pt x="49" y="187"/>
                  </a:lnTo>
                  <a:lnTo>
                    <a:pt x="34" y="182"/>
                  </a:lnTo>
                  <a:lnTo>
                    <a:pt x="22" y="192"/>
                  </a:lnTo>
                  <a:lnTo>
                    <a:pt x="17" y="207"/>
                  </a:lnTo>
                  <a:lnTo>
                    <a:pt x="19" y="219"/>
                  </a:lnTo>
                  <a:lnTo>
                    <a:pt x="12" y="227"/>
                  </a:lnTo>
                  <a:lnTo>
                    <a:pt x="2" y="232"/>
                  </a:lnTo>
                  <a:lnTo>
                    <a:pt x="0" y="247"/>
                  </a:lnTo>
                  <a:lnTo>
                    <a:pt x="2" y="259"/>
                  </a:lnTo>
                  <a:lnTo>
                    <a:pt x="15" y="269"/>
                  </a:lnTo>
                  <a:lnTo>
                    <a:pt x="19" y="281"/>
                  </a:lnTo>
                  <a:lnTo>
                    <a:pt x="32" y="284"/>
                  </a:lnTo>
                  <a:lnTo>
                    <a:pt x="34" y="294"/>
                  </a:lnTo>
                  <a:lnTo>
                    <a:pt x="49" y="296"/>
                  </a:lnTo>
                  <a:lnTo>
                    <a:pt x="64" y="289"/>
                  </a:lnTo>
                  <a:lnTo>
                    <a:pt x="72" y="311"/>
                  </a:lnTo>
                  <a:lnTo>
                    <a:pt x="87" y="319"/>
                  </a:lnTo>
                  <a:lnTo>
                    <a:pt x="99" y="321"/>
                  </a:lnTo>
                  <a:lnTo>
                    <a:pt x="111" y="316"/>
                  </a:lnTo>
                  <a:lnTo>
                    <a:pt x="116" y="311"/>
                  </a:lnTo>
                  <a:lnTo>
                    <a:pt x="121" y="301"/>
                  </a:lnTo>
                  <a:lnTo>
                    <a:pt x="131" y="304"/>
                  </a:lnTo>
                  <a:lnTo>
                    <a:pt x="131" y="289"/>
                  </a:lnTo>
                  <a:lnTo>
                    <a:pt x="156" y="291"/>
                  </a:lnTo>
                  <a:lnTo>
                    <a:pt x="159" y="329"/>
                  </a:lnTo>
                  <a:lnTo>
                    <a:pt x="166" y="344"/>
                  </a:lnTo>
                  <a:lnTo>
                    <a:pt x="169" y="348"/>
                  </a:lnTo>
                  <a:lnTo>
                    <a:pt x="196" y="348"/>
                  </a:lnTo>
                  <a:lnTo>
                    <a:pt x="198" y="353"/>
                  </a:lnTo>
                  <a:lnTo>
                    <a:pt x="211" y="356"/>
                  </a:lnTo>
                  <a:lnTo>
                    <a:pt x="213" y="366"/>
                  </a:lnTo>
                  <a:lnTo>
                    <a:pt x="233" y="368"/>
                  </a:lnTo>
                  <a:lnTo>
                    <a:pt x="241" y="371"/>
                  </a:lnTo>
                  <a:lnTo>
                    <a:pt x="243" y="388"/>
                  </a:lnTo>
                  <a:lnTo>
                    <a:pt x="253" y="391"/>
                  </a:lnTo>
                  <a:lnTo>
                    <a:pt x="243" y="398"/>
                  </a:lnTo>
                  <a:lnTo>
                    <a:pt x="246" y="423"/>
                  </a:lnTo>
                  <a:lnTo>
                    <a:pt x="251" y="423"/>
                  </a:lnTo>
                  <a:lnTo>
                    <a:pt x="256" y="431"/>
                  </a:lnTo>
                  <a:lnTo>
                    <a:pt x="281" y="431"/>
                  </a:lnTo>
                  <a:lnTo>
                    <a:pt x="281" y="443"/>
                  </a:lnTo>
                  <a:lnTo>
                    <a:pt x="290" y="445"/>
                  </a:lnTo>
                  <a:lnTo>
                    <a:pt x="293" y="458"/>
                  </a:lnTo>
                  <a:lnTo>
                    <a:pt x="300" y="463"/>
                  </a:lnTo>
                  <a:lnTo>
                    <a:pt x="298" y="485"/>
                  </a:lnTo>
                  <a:lnTo>
                    <a:pt x="290" y="498"/>
                  </a:lnTo>
                  <a:lnTo>
                    <a:pt x="283" y="500"/>
                  </a:lnTo>
                  <a:lnTo>
                    <a:pt x="283" y="513"/>
                  </a:lnTo>
                  <a:lnTo>
                    <a:pt x="295" y="518"/>
                  </a:lnTo>
                  <a:lnTo>
                    <a:pt x="298" y="532"/>
                  </a:lnTo>
                  <a:lnTo>
                    <a:pt x="315" y="535"/>
                  </a:lnTo>
                  <a:lnTo>
                    <a:pt x="318" y="545"/>
                  </a:lnTo>
                  <a:lnTo>
                    <a:pt x="328" y="547"/>
                  </a:lnTo>
                  <a:lnTo>
                    <a:pt x="345" y="550"/>
                  </a:lnTo>
                  <a:lnTo>
                    <a:pt x="348" y="570"/>
                  </a:lnTo>
                  <a:lnTo>
                    <a:pt x="363" y="572"/>
                  </a:lnTo>
                  <a:lnTo>
                    <a:pt x="365" y="617"/>
                  </a:lnTo>
                  <a:lnTo>
                    <a:pt x="368" y="622"/>
                  </a:lnTo>
                  <a:lnTo>
                    <a:pt x="370" y="639"/>
                  </a:lnTo>
                  <a:lnTo>
                    <a:pt x="380" y="639"/>
                  </a:lnTo>
                  <a:lnTo>
                    <a:pt x="380" y="654"/>
                  </a:lnTo>
                  <a:lnTo>
                    <a:pt x="368" y="657"/>
                  </a:lnTo>
                  <a:lnTo>
                    <a:pt x="358" y="669"/>
                  </a:lnTo>
                  <a:lnTo>
                    <a:pt x="350" y="672"/>
                  </a:lnTo>
                  <a:lnTo>
                    <a:pt x="340" y="687"/>
                  </a:lnTo>
                  <a:lnTo>
                    <a:pt x="330" y="696"/>
                  </a:lnTo>
                  <a:lnTo>
                    <a:pt x="323" y="709"/>
                  </a:lnTo>
                  <a:lnTo>
                    <a:pt x="330" y="719"/>
                  </a:lnTo>
                  <a:lnTo>
                    <a:pt x="348" y="726"/>
                  </a:lnTo>
                  <a:lnTo>
                    <a:pt x="385" y="761"/>
                  </a:lnTo>
                  <a:lnTo>
                    <a:pt x="392" y="776"/>
                  </a:lnTo>
                  <a:lnTo>
                    <a:pt x="395" y="788"/>
                  </a:lnTo>
                  <a:lnTo>
                    <a:pt x="405" y="774"/>
                  </a:lnTo>
                  <a:lnTo>
                    <a:pt x="407" y="754"/>
                  </a:lnTo>
                  <a:lnTo>
                    <a:pt x="410" y="739"/>
                  </a:lnTo>
                  <a:lnTo>
                    <a:pt x="412" y="714"/>
                  </a:lnTo>
                  <a:lnTo>
                    <a:pt x="420" y="714"/>
                  </a:lnTo>
                  <a:lnTo>
                    <a:pt x="422" y="719"/>
                  </a:lnTo>
                  <a:lnTo>
                    <a:pt x="422" y="734"/>
                  </a:lnTo>
                  <a:lnTo>
                    <a:pt x="417" y="741"/>
                  </a:lnTo>
                  <a:lnTo>
                    <a:pt x="432" y="736"/>
                  </a:lnTo>
                  <a:lnTo>
                    <a:pt x="437" y="719"/>
                  </a:lnTo>
                  <a:lnTo>
                    <a:pt x="447" y="711"/>
                  </a:lnTo>
                  <a:lnTo>
                    <a:pt x="445" y="687"/>
                  </a:lnTo>
                  <a:lnTo>
                    <a:pt x="464" y="677"/>
                  </a:lnTo>
                  <a:lnTo>
                    <a:pt x="469" y="617"/>
                  </a:lnTo>
                  <a:lnTo>
                    <a:pt x="474" y="602"/>
                  </a:lnTo>
                  <a:lnTo>
                    <a:pt x="489" y="597"/>
                  </a:lnTo>
                  <a:lnTo>
                    <a:pt x="494" y="587"/>
                  </a:lnTo>
                  <a:lnTo>
                    <a:pt x="504" y="580"/>
                  </a:lnTo>
                  <a:lnTo>
                    <a:pt x="522" y="565"/>
                  </a:lnTo>
                  <a:lnTo>
                    <a:pt x="559" y="560"/>
                  </a:lnTo>
                  <a:lnTo>
                    <a:pt x="564" y="550"/>
                  </a:lnTo>
                  <a:lnTo>
                    <a:pt x="591" y="550"/>
                  </a:lnTo>
                  <a:lnTo>
                    <a:pt x="596" y="518"/>
                  </a:lnTo>
                  <a:lnTo>
                    <a:pt x="606" y="503"/>
                  </a:lnTo>
                  <a:lnTo>
                    <a:pt x="614" y="483"/>
                  </a:lnTo>
                  <a:lnTo>
                    <a:pt x="616" y="450"/>
                  </a:lnTo>
                  <a:lnTo>
                    <a:pt x="624" y="445"/>
                  </a:lnTo>
                  <a:lnTo>
                    <a:pt x="629" y="351"/>
                  </a:lnTo>
                  <a:lnTo>
                    <a:pt x="646" y="346"/>
                  </a:lnTo>
                  <a:lnTo>
                    <a:pt x="646" y="326"/>
                  </a:lnTo>
                  <a:lnTo>
                    <a:pt x="653" y="321"/>
                  </a:lnTo>
                  <a:lnTo>
                    <a:pt x="658" y="304"/>
                  </a:lnTo>
                  <a:lnTo>
                    <a:pt x="666" y="301"/>
                  </a:lnTo>
                  <a:lnTo>
                    <a:pt x="671" y="284"/>
                  </a:lnTo>
                  <a:lnTo>
                    <a:pt x="686" y="279"/>
                  </a:lnTo>
                  <a:lnTo>
                    <a:pt x="686" y="264"/>
                  </a:lnTo>
                  <a:lnTo>
                    <a:pt x="693" y="261"/>
                  </a:lnTo>
                  <a:lnTo>
                    <a:pt x="691" y="244"/>
                  </a:lnTo>
                  <a:lnTo>
                    <a:pt x="701" y="244"/>
                  </a:lnTo>
                  <a:lnTo>
                    <a:pt x="703" y="229"/>
                  </a:lnTo>
                  <a:lnTo>
                    <a:pt x="691" y="227"/>
                  </a:lnTo>
                  <a:lnTo>
                    <a:pt x="688" y="192"/>
                  </a:lnTo>
                  <a:lnTo>
                    <a:pt x="678" y="184"/>
                  </a:lnTo>
                  <a:lnTo>
                    <a:pt x="666" y="182"/>
                  </a:lnTo>
                  <a:lnTo>
                    <a:pt x="653" y="174"/>
                  </a:lnTo>
                  <a:lnTo>
                    <a:pt x="646" y="160"/>
                  </a:lnTo>
                  <a:lnTo>
                    <a:pt x="629" y="160"/>
                  </a:lnTo>
                  <a:lnTo>
                    <a:pt x="626" y="147"/>
                  </a:lnTo>
                  <a:lnTo>
                    <a:pt x="614" y="140"/>
                  </a:lnTo>
                  <a:lnTo>
                    <a:pt x="596" y="140"/>
                  </a:lnTo>
                  <a:lnTo>
                    <a:pt x="579" y="137"/>
                  </a:lnTo>
                  <a:lnTo>
                    <a:pt x="571" y="130"/>
                  </a:lnTo>
                  <a:lnTo>
                    <a:pt x="559" y="135"/>
                  </a:lnTo>
                  <a:lnTo>
                    <a:pt x="549" y="137"/>
                  </a:lnTo>
                  <a:lnTo>
                    <a:pt x="534" y="127"/>
                  </a:lnTo>
                  <a:lnTo>
                    <a:pt x="522" y="112"/>
                  </a:lnTo>
                  <a:lnTo>
                    <a:pt x="507" y="105"/>
                  </a:lnTo>
                  <a:lnTo>
                    <a:pt x="492" y="102"/>
                  </a:lnTo>
                  <a:lnTo>
                    <a:pt x="472" y="102"/>
                  </a:lnTo>
                  <a:lnTo>
                    <a:pt x="460" y="107"/>
                  </a:lnTo>
                  <a:lnTo>
                    <a:pt x="455" y="117"/>
                  </a:lnTo>
                  <a:lnTo>
                    <a:pt x="440" y="125"/>
                  </a:lnTo>
                  <a:lnTo>
                    <a:pt x="445" y="112"/>
                  </a:lnTo>
                  <a:lnTo>
                    <a:pt x="455" y="97"/>
                  </a:lnTo>
                  <a:lnTo>
                    <a:pt x="445" y="92"/>
                  </a:lnTo>
                  <a:lnTo>
                    <a:pt x="430" y="92"/>
                  </a:lnTo>
                  <a:lnTo>
                    <a:pt x="420" y="100"/>
                  </a:lnTo>
                  <a:lnTo>
                    <a:pt x="410" y="110"/>
                  </a:lnTo>
                  <a:lnTo>
                    <a:pt x="400" y="122"/>
                  </a:lnTo>
                  <a:lnTo>
                    <a:pt x="390" y="127"/>
                  </a:lnTo>
                  <a:lnTo>
                    <a:pt x="405" y="100"/>
                  </a:lnTo>
                  <a:lnTo>
                    <a:pt x="415" y="87"/>
                  </a:lnTo>
                  <a:lnTo>
                    <a:pt x="422" y="70"/>
                  </a:lnTo>
                  <a:lnTo>
                    <a:pt x="427" y="60"/>
                  </a:lnTo>
                  <a:lnTo>
                    <a:pt x="415" y="28"/>
                  </a:lnTo>
                  <a:lnTo>
                    <a:pt x="405" y="18"/>
                  </a:lnTo>
                  <a:lnTo>
                    <a:pt x="390" y="18"/>
                  </a:lnTo>
                  <a:lnTo>
                    <a:pt x="380" y="28"/>
                  </a:lnTo>
                  <a:lnTo>
                    <a:pt x="375" y="38"/>
                  </a:lnTo>
                  <a:lnTo>
                    <a:pt x="370" y="50"/>
                  </a:lnTo>
                  <a:lnTo>
                    <a:pt x="353" y="48"/>
                  </a:lnTo>
                  <a:lnTo>
                    <a:pt x="345" y="40"/>
                  </a:lnTo>
                  <a:lnTo>
                    <a:pt x="318" y="40"/>
                  </a:lnTo>
                  <a:lnTo>
                    <a:pt x="318" y="58"/>
                  </a:lnTo>
                  <a:lnTo>
                    <a:pt x="295" y="58"/>
                  </a:lnTo>
                  <a:lnTo>
                    <a:pt x="281" y="58"/>
                  </a:lnTo>
                  <a:lnTo>
                    <a:pt x="276" y="65"/>
                  </a:lnTo>
                  <a:lnTo>
                    <a:pt x="266" y="68"/>
                  </a:lnTo>
                  <a:lnTo>
                    <a:pt x="256" y="58"/>
                  </a:lnTo>
                  <a:lnTo>
                    <a:pt x="248" y="40"/>
                  </a:lnTo>
                  <a:lnTo>
                    <a:pt x="251" y="25"/>
                  </a:lnTo>
                  <a:lnTo>
                    <a:pt x="248" y="5"/>
                  </a:lnTo>
                  <a:lnTo>
                    <a:pt x="233" y="0"/>
                  </a:lnTo>
                  <a:lnTo>
                    <a:pt x="228" y="13"/>
                  </a:lnTo>
                  <a:lnTo>
                    <a:pt x="198" y="13"/>
                  </a:lnTo>
                  <a:lnTo>
                    <a:pt x="189" y="20"/>
                  </a:lnTo>
                  <a:lnTo>
                    <a:pt x="174" y="8"/>
                  </a:lnTo>
                  <a:lnTo>
                    <a:pt x="166" y="10"/>
                  </a:lnTo>
                  <a:lnTo>
                    <a:pt x="161" y="25"/>
                  </a:lnTo>
                  <a:lnTo>
                    <a:pt x="164" y="38"/>
                  </a:lnTo>
                  <a:lnTo>
                    <a:pt x="176" y="45"/>
                  </a:lnTo>
                  <a:lnTo>
                    <a:pt x="176" y="58"/>
                  </a:lnTo>
                  <a:lnTo>
                    <a:pt x="161" y="70"/>
                  </a:lnTo>
                  <a:lnTo>
                    <a:pt x="141" y="73"/>
                  </a:lnTo>
                  <a:lnTo>
                    <a:pt x="129" y="65"/>
                  </a:lnTo>
                  <a:lnTo>
                    <a:pt x="119" y="53"/>
                  </a:lnTo>
                  <a:lnTo>
                    <a:pt x="109" y="4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2" name="Freeform 228"/>
            <p:cNvSpPr>
              <a:spLocks/>
            </p:cNvSpPr>
            <p:nvPr/>
          </p:nvSpPr>
          <p:spPr bwMode="auto">
            <a:xfrm>
              <a:off x="5313848" y="3059751"/>
              <a:ext cx="96428" cy="136727"/>
            </a:xfrm>
            <a:custGeom>
              <a:avLst/>
              <a:gdLst>
                <a:gd name="T0" fmla="*/ 67 w 67"/>
                <a:gd name="T1" fmla="*/ 85 h 95"/>
                <a:gd name="T2" fmla="*/ 52 w 67"/>
                <a:gd name="T3" fmla="*/ 95 h 95"/>
                <a:gd name="T4" fmla="*/ 44 w 67"/>
                <a:gd name="T5" fmla="*/ 80 h 95"/>
                <a:gd name="T6" fmla="*/ 30 w 67"/>
                <a:gd name="T7" fmla="*/ 70 h 95"/>
                <a:gd name="T8" fmla="*/ 15 w 67"/>
                <a:gd name="T9" fmla="*/ 55 h 95"/>
                <a:gd name="T10" fmla="*/ 0 w 67"/>
                <a:gd name="T11" fmla="*/ 30 h 95"/>
                <a:gd name="T12" fmla="*/ 20 w 67"/>
                <a:gd name="T13" fmla="*/ 23 h 95"/>
                <a:gd name="T14" fmla="*/ 30 w 67"/>
                <a:gd name="T15" fmla="*/ 0 h 95"/>
                <a:gd name="T16" fmla="*/ 37 w 67"/>
                <a:gd name="T17" fmla="*/ 25 h 95"/>
                <a:gd name="T18" fmla="*/ 49 w 67"/>
                <a:gd name="T19" fmla="*/ 52 h 95"/>
                <a:gd name="T20" fmla="*/ 67 w 67"/>
                <a:gd name="T21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95">
                  <a:moveTo>
                    <a:pt x="67" y="85"/>
                  </a:moveTo>
                  <a:lnTo>
                    <a:pt x="52" y="95"/>
                  </a:lnTo>
                  <a:lnTo>
                    <a:pt x="44" y="80"/>
                  </a:lnTo>
                  <a:lnTo>
                    <a:pt x="30" y="70"/>
                  </a:lnTo>
                  <a:lnTo>
                    <a:pt x="15" y="55"/>
                  </a:lnTo>
                  <a:lnTo>
                    <a:pt x="0" y="30"/>
                  </a:lnTo>
                  <a:lnTo>
                    <a:pt x="20" y="23"/>
                  </a:lnTo>
                  <a:lnTo>
                    <a:pt x="30" y="0"/>
                  </a:lnTo>
                  <a:lnTo>
                    <a:pt x="37" y="25"/>
                  </a:lnTo>
                  <a:lnTo>
                    <a:pt x="49" y="52"/>
                  </a:lnTo>
                  <a:lnTo>
                    <a:pt x="67" y="8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3" name="Freeform 229"/>
            <p:cNvSpPr>
              <a:spLocks/>
            </p:cNvSpPr>
            <p:nvPr/>
          </p:nvSpPr>
          <p:spPr bwMode="auto">
            <a:xfrm>
              <a:off x="6390396" y="2734484"/>
              <a:ext cx="751281" cy="375640"/>
            </a:xfrm>
            <a:custGeom>
              <a:avLst/>
              <a:gdLst>
                <a:gd name="T0" fmla="*/ 0 w 522"/>
                <a:gd name="T1" fmla="*/ 99 h 261"/>
                <a:gd name="T2" fmla="*/ 12 w 522"/>
                <a:gd name="T3" fmla="*/ 90 h 261"/>
                <a:gd name="T4" fmla="*/ 35 w 522"/>
                <a:gd name="T5" fmla="*/ 85 h 261"/>
                <a:gd name="T6" fmla="*/ 87 w 522"/>
                <a:gd name="T7" fmla="*/ 80 h 261"/>
                <a:gd name="T8" fmla="*/ 92 w 522"/>
                <a:gd name="T9" fmla="*/ 87 h 261"/>
                <a:gd name="T10" fmla="*/ 112 w 522"/>
                <a:gd name="T11" fmla="*/ 90 h 261"/>
                <a:gd name="T12" fmla="*/ 119 w 522"/>
                <a:gd name="T13" fmla="*/ 97 h 261"/>
                <a:gd name="T14" fmla="*/ 154 w 522"/>
                <a:gd name="T15" fmla="*/ 92 h 261"/>
                <a:gd name="T16" fmla="*/ 147 w 522"/>
                <a:gd name="T17" fmla="*/ 72 h 261"/>
                <a:gd name="T18" fmla="*/ 139 w 522"/>
                <a:gd name="T19" fmla="*/ 62 h 261"/>
                <a:gd name="T20" fmla="*/ 154 w 522"/>
                <a:gd name="T21" fmla="*/ 62 h 261"/>
                <a:gd name="T22" fmla="*/ 154 w 522"/>
                <a:gd name="T23" fmla="*/ 32 h 261"/>
                <a:gd name="T24" fmla="*/ 154 w 522"/>
                <a:gd name="T25" fmla="*/ 0 h 261"/>
                <a:gd name="T26" fmla="*/ 186 w 522"/>
                <a:gd name="T27" fmla="*/ 12 h 261"/>
                <a:gd name="T28" fmla="*/ 209 w 522"/>
                <a:gd name="T29" fmla="*/ 12 h 261"/>
                <a:gd name="T30" fmla="*/ 224 w 522"/>
                <a:gd name="T31" fmla="*/ 30 h 261"/>
                <a:gd name="T32" fmla="*/ 231 w 522"/>
                <a:gd name="T33" fmla="*/ 45 h 261"/>
                <a:gd name="T34" fmla="*/ 259 w 522"/>
                <a:gd name="T35" fmla="*/ 45 h 261"/>
                <a:gd name="T36" fmla="*/ 296 w 522"/>
                <a:gd name="T37" fmla="*/ 47 h 261"/>
                <a:gd name="T38" fmla="*/ 318 w 522"/>
                <a:gd name="T39" fmla="*/ 60 h 261"/>
                <a:gd name="T40" fmla="*/ 336 w 522"/>
                <a:gd name="T41" fmla="*/ 65 h 261"/>
                <a:gd name="T42" fmla="*/ 341 w 522"/>
                <a:gd name="T43" fmla="*/ 80 h 261"/>
                <a:gd name="T44" fmla="*/ 385 w 522"/>
                <a:gd name="T45" fmla="*/ 72 h 261"/>
                <a:gd name="T46" fmla="*/ 393 w 522"/>
                <a:gd name="T47" fmla="*/ 60 h 261"/>
                <a:gd name="T48" fmla="*/ 410 w 522"/>
                <a:gd name="T49" fmla="*/ 70 h 261"/>
                <a:gd name="T50" fmla="*/ 430 w 522"/>
                <a:gd name="T51" fmla="*/ 50 h 261"/>
                <a:gd name="T52" fmla="*/ 447 w 522"/>
                <a:gd name="T53" fmla="*/ 50 h 261"/>
                <a:gd name="T54" fmla="*/ 462 w 522"/>
                <a:gd name="T55" fmla="*/ 57 h 261"/>
                <a:gd name="T56" fmla="*/ 457 w 522"/>
                <a:gd name="T57" fmla="*/ 72 h 261"/>
                <a:gd name="T58" fmla="*/ 460 w 522"/>
                <a:gd name="T59" fmla="*/ 112 h 261"/>
                <a:gd name="T60" fmla="*/ 465 w 522"/>
                <a:gd name="T61" fmla="*/ 119 h 261"/>
                <a:gd name="T62" fmla="*/ 480 w 522"/>
                <a:gd name="T63" fmla="*/ 114 h 261"/>
                <a:gd name="T64" fmla="*/ 507 w 522"/>
                <a:gd name="T65" fmla="*/ 112 h 261"/>
                <a:gd name="T66" fmla="*/ 522 w 522"/>
                <a:gd name="T67" fmla="*/ 129 h 261"/>
                <a:gd name="T68" fmla="*/ 490 w 522"/>
                <a:gd name="T69" fmla="*/ 144 h 261"/>
                <a:gd name="T70" fmla="*/ 465 w 522"/>
                <a:gd name="T71" fmla="*/ 159 h 261"/>
                <a:gd name="T72" fmla="*/ 450 w 522"/>
                <a:gd name="T73" fmla="*/ 172 h 261"/>
                <a:gd name="T74" fmla="*/ 433 w 522"/>
                <a:gd name="T75" fmla="*/ 189 h 261"/>
                <a:gd name="T76" fmla="*/ 408 w 522"/>
                <a:gd name="T77" fmla="*/ 182 h 261"/>
                <a:gd name="T78" fmla="*/ 410 w 522"/>
                <a:gd name="T79" fmla="*/ 201 h 261"/>
                <a:gd name="T80" fmla="*/ 405 w 522"/>
                <a:gd name="T81" fmla="*/ 224 h 261"/>
                <a:gd name="T82" fmla="*/ 378 w 522"/>
                <a:gd name="T83" fmla="*/ 246 h 261"/>
                <a:gd name="T84" fmla="*/ 343 w 522"/>
                <a:gd name="T85" fmla="*/ 241 h 261"/>
                <a:gd name="T86" fmla="*/ 328 w 522"/>
                <a:gd name="T87" fmla="*/ 251 h 261"/>
                <a:gd name="T88" fmla="*/ 303 w 522"/>
                <a:gd name="T89" fmla="*/ 261 h 261"/>
                <a:gd name="T90" fmla="*/ 276 w 522"/>
                <a:gd name="T91" fmla="*/ 246 h 261"/>
                <a:gd name="T92" fmla="*/ 256 w 522"/>
                <a:gd name="T93" fmla="*/ 239 h 261"/>
                <a:gd name="T94" fmla="*/ 157 w 522"/>
                <a:gd name="T95" fmla="*/ 231 h 261"/>
                <a:gd name="T96" fmla="*/ 144 w 522"/>
                <a:gd name="T97" fmla="*/ 221 h 261"/>
                <a:gd name="T98" fmla="*/ 132 w 522"/>
                <a:gd name="T99" fmla="*/ 199 h 261"/>
                <a:gd name="T100" fmla="*/ 112 w 522"/>
                <a:gd name="T101" fmla="*/ 186 h 261"/>
                <a:gd name="T102" fmla="*/ 94 w 522"/>
                <a:gd name="T103" fmla="*/ 184 h 261"/>
                <a:gd name="T104" fmla="*/ 55 w 522"/>
                <a:gd name="T105" fmla="*/ 174 h 261"/>
                <a:gd name="T106" fmla="*/ 42 w 522"/>
                <a:gd name="T107" fmla="*/ 147 h 261"/>
                <a:gd name="T108" fmla="*/ 35 w 522"/>
                <a:gd name="T109" fmla="*/ 127 h 261"/>
                <a:gd name="T110" fmla="*/ 10 w 522"/>
                <a:gd name="T111" fmla="*/ 112 h 261"/>
                <a:gd name="T112" fmla="*/ 0 w 522"/>
                <a:gd name="T113" fmla="*/ 99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2" h="261">
                  <a:moveTo>
                    <a:pt x="0" y="99"/>
                  </a:moveTo>
                  <a:lnTo>
                    <a:pt x="12" y="90"/>
                  </a:lnTo>
                  <a:lnTo>
                    <a:pt x="35" y="85"/>
                  </a:lnTo>
                  <a:lnTo>
                    <a:pt x="87" y="80"/>
                  </a:lnTo>
                  <a:lnTo>
                    <a:pt x="92" y="87"/>
                  </a:lnTo>
                  <a:lnTo>
                    <a:pt x="112" y="90"/>
                  </a:lnTo>
                  <a:lnTo>
                    <a:pt x="119" y="97"/>
                  </a:lnTo>
                  <a:lnTo>
                    <a:pt x="154" y="92"/>
                  </a:lnTo>
                  <a:lnTo>
                    <a:pt x="147" y="72"/>
                  </a:lnTo>
                  <a:lnTo>
                    <a:pt x="139" y="62"/>
                  </a:lnTo>
                  <a:lnTo>
                    <a:pt x="154" y="62"/>
                  </a:lnTo>
                  <a:lnTo>
                    <a:pt x="154" y="32"/>
                  </a:lnTo>
                  <a:lnTo>
                    <a:pt x="154" y="0"/>
                  </a:lnTo>
                  <a:lnTo>
                    <a:pt x="186" y="12"/>
                  </a:lnTo>
                  <a:lnTo>
                    <a:pt x="209" y="12"/>
                  </a:lnTo>
                  <a:lnTo>
                    <a:pt x="224" y="30"/>
                  </a:lnTo>
                  <a:lnTo>
                    <a:pt x="231" y="45"/>
                  </a:lnTo>
                  <a:lnTo>
                    <a:pt x="259" y="45"/>
                  </a:lnTo>
                  <a:lnTo>
                    <a:pt x="296" y="47"/>
                  </a:lnTo>
                  <a:lnTo>
                    <a:pt x="318" y="60"/>
                  </a:lnTo>
                  <a:lnTo>
                    <a:pt x="336" y="65"/>
                  </a:lnTo>
                  <a:lnTo>
                    <a:pt x="341" y="80"/>
                  </a:lnTo>
                  <a:lnTo>
                    <a:pt x="385" y="72"/>
                  </a:lnTo>
                  <a:lnTo>
                    <a:pt x="393" y="60"/>
                  </a:lnTo>
                  <a:lnTo>
                    <a:pt x="410" y="70"/>
                  </a:lnTo>
                  <a:lnTo>
                    <a:pt x="430" y="50"/>
                  </a:lnTo>
                  <a:lnTo>
                    <a:pt x="447" y="50"/>
                  </a:lnTo>
                  <a:lnTo>
                    <a:pt x="462" y="57"/>
                  </a:lnTo>
                  <a:lnTo>
                    <a:pt x="457" y="72"/>
                  </a:lnTo>
                  <a:lnTo>
                    <a:pt x="460" y="112"/>
                  </a:lnTo>
                  <a:lnTo>
                    <a:pt x="465" y="119"/>
                  </a:lnTo>
                  <a:lnTo>
                    <a:pt x="480" y="114"/>
                  </a:lnTo>
                  <a:lnTo>
                    <a:pt x="507" y="112"/>
                  </a:lnTo>
                  <a:lnTo>
                    <a:pt x="522" y="129"/>
                  </a:lnTo>
                  <a:lnTo>
                    <a:pt x="490" y="144"/>
                  </a:lnTo>
                  <a:lnTo>
                    <a:pt x="465" y="159"/>
                  </a:lnTo>
                  <a:lnTo>
                    <a:pt x="450" y="172"/>
                  </a:lnTo>
                  <a:lnTo>
                    <a:pt x="433" y="189"/>
                  </a:lnTo>
                  <a:lnTo>
                    <a:pt x="408" y="182"/>
                  </a:lnTo>
                  <a:lnTo>
                    <a:pt x="410" y="201"/>
                  </a:lnTo>
                  <a:lnTo>
                    <a:pt x="405" y="224"/>
                  </a:lnTo>
                  <a:lnTo>
                    <a:pt x="378" y="246"/>
                  </a:lnTo>
                  <a:lnTo>
                    <a:pt x="343" y="241"/>
                  </a:lnTo>
                  <a:lnTo>
                    <a:pt x="328" y="251"/>
                  </a:lnTo>
                  <a:lnTo>
                    <a:pt x="303" y="261"/>
                  </a:lnTo>
                  <a:lnTo>
                    <a:pt x="276" y="246"/>
                  </a:lnTo>
                  <a:lnTo>
                    <a:pt x="256" y="239"/>
                  </a:lnTo>
                  <a:lnTo>
                    <a:pt x="157" y="231"/>
                  </a:lnTo>
                  <a:lnTo>
                    <a:pt x="144" y="221"/>
                  </a:lnTo>
                  <a:lnTo>
                    <a:pt x="132" y="199"/>
                  </a:lnTo>
                  <a:lnTo>
                    <a:pt x="112" y="186"/>
                  </a:lnTo>
                  <a:lnTo>
                    <a:pt x="94" y="184"/>
                  </a:lnTo>
                  <a:lnTo>
                    <a:pt x="55" y="174"/>
                  </a:lnTo>
                  <a:lnTo>
                    <a:pt x="42" y="147"/>
                  </a:lnTo>
                  <a:lnTo>
                    <a:pt x="35" y="127"/>
                  </a:lnTo>
                  <a:lnTo>
                    <a:pt x="1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4" name="Freeform 230"/>
            <p:cNvSpPr>
              <a:spLocks/>
            </p:cNvSpPr>
            <p:nvPr/>
          </p:nvSpPr>
          <p:spPr bwMode="auto">
            <a:xfrm>
              <a:off x="1946037" y="2691307"/>
              <a:ext cx="71962" cy="132410"/>
            </a:xfrm>
            <a:custGeom>
              <a:avLst/>
              <a:gdLst>
                <a:gd name="T0" fmla="*/ 5 w 50"/>
                <a:gd name="T1" fmla="*/ 0 h 92"/>
                <a:gd name="T2" fmla="*/ 20 w 50"/>
                <a:gd name="T3" fmla="*/ 5 h 92"/>
                <a:gd name="T4" fmla="*/ 20 w 50"/>
                <a:gd name="T5" fmla="*/ 28 h 92"/>
                <a:gd name="T6" fmla="*/ 25 w 50"/>
                <a:gd name="T7" fmla="*/ 50 h 92"/>
                <a:gd name="T8" fmla="*/ 30 w 50"/>
                <a:gd name="T9" fmla="*/ 62 h 92"/>
                <a:gd name="T10" fmla="*/ 38 w 50"/>
                <a:gd name="T11" fmla="*/ 72 h 92"/>
                <a:gd name="T12" fmla="*/ 50 w 50"/>
                <a:gd name="T13" fmla="*/ 90 h 92"/>
                <a:gd name="T14" fmla="*/ 40 w 50"/>
                <a:gd name="T15" fmla="*/ 92 h 92"/>
                <a:gd name="T16" fmla="*/ 30 w 50"/>
                <a:gd name="T17" fmla="*/ 92 h 92"/>
                <a:gd name="T18" fmla="*/ 18 w 50"/>
                <a:gd name="T19" fmla="*/ 87 h 92"/>
                <a:gd name="T20" fmla="*/ 18 w 50"/>
                <a:gd name="T21" fmla="*/ 57 h 92"/>
                <a:gd name="T22" fmla="*/ 0 w 50"/>
                <a:gd name="T23" fmla="*/ 55 h 92"/>
                <a:gd name="T24" fmla="*/ 5 w 50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92">
                  <a:moveTo>
                    <a:pt x="5" y="0"/>
                  </a:moveTo>
                  <a:lnTo>
                    <a:pt x="20" y="5"/>
                  </a:lnTo>
                  <a:lnTo>
                    <a:pt x="20" y="28"/>
                  </a:lnTo>
                  <a:lnTo>
                    <a:pt x="25" y="50"/>
                  </a:lnTo>
                  <a:lnTo>
                    <a:pt x="30" y="62"/>
                  </a:lnTo>
                  <a:lnTo>
                    <a:pt x="38" y="72"/>
                  </a:lnTo>
                  <a:lnTo>
                    <a:pt x="50" y="90"/>
                  </a:lnTo>
                  <a:lnTo>
                    <a:pt x="40" y="92"/>
                  </a:lnTo>
                  <a:lnTo>
                    <a:pt x="30" y="92"/>
                  </a:lnTo>
                  <a:lnTo>
                    <a:pt x="18" y="87"/>
                  </a:lnTo>
                  <a:lnTo>
                    <a:pt x="18" y="57"/>
                  </a:lnTo>
                  <a:lnTo>
                    <a:pt x="0" y="5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5" name="Freeform 231"/>
            <p:cNvSpPr>
              <a:spLocks/>
            </p:cNvSpPr>
            <p:nvPr/>
          </p:nvSpPr>
          <p:spPr bwMode="auto">
            <a:xfrm>
              <a:off x="2078447" y="2874089"/>
              <a:ext cx="254744" cy="197176"/>
            </a:xfrm>
            <a:custGeom>
              <a:avLst/>
              <a:gdLst>
                <a:gd name="T0" fmla="*/ 55 w 177"/>
                <a:gd name="T1" fmla="*/ 2 h 137"/>
                <a:gd name="T2" fmla="*/ 35 w 177"/>
                <a:gd name="T3" fmla="*/ 7 h 137"/>
                <a:gd name="T4" fmla="*/ 43 w 177"/>
                <a:gd name="T5" fmla="*/ 12 h 137"/>
                <a:gd name="T6" fmla="*/ 0 w 177"/>
                <a:gd name="T7" fmla="*/ 42 h 137"/>
                <a:gd name="T8" fmla="*/ 0 w 177"/>
                <a:gd name="T9" fmla="*/ 55 h 137"/>
                <a:gd name="T10" fmla="*/ 25 w 177"/>
                <a:gd name="T11" fmla="*/ 65 h 137"/>
                <a:gd name="T12" fmla="*/ 58 w 177"/>
                <a:gd name="T13" fmla="*/ 30 h 137"/>
                <a:gd name="T14" fmla="*/ 58 w 177"/>
                <a:gd name="T15" fmla="*/ 35 h 137"/>
                <a:gd name="T16" fmla="*/ 87 w 177"/>
                <a:gd name="T17" fmla="*/ 42 h 137"/>
                <a:gd name="T18" fmla="*/ 107 w 177"/>
                <a:gd name="T19" fmla="*/ 67 h 137"/>
                <a:gd name="T20" fmla="*/ 127 w 177"/>
                <a:gd name="T21" fmla="*/ 94 h 137"/>
                <a:gd name="T22" fmla="*/ 120 w 177"/>
                <a:gd name="T23" fmla="*/ 129 h 137"/>
                <a:gd name="T24" fmla="*/ 135 w 177"/>
                <a:gd name="T25" fmla="*/ 119 h 137"/>
                <a:gd name="T26" fmla="*/ 152 w 177"/>
                <a:gd name="T27" fmla="*/ 137 h 137"/>
                <a:gd name="T28" fmla="*/ 162 w 177"/>
                <a:gd name="T29" fmla="*/ 97 h 137"/>
                <a:gd name="T30" fmla="*/ 177 w 177"/>
                <a:gd name="T31" fmla="*/ 99 h 137"/>
                <a:gd name="T32" fmla="*/ 162 w 177"/>
                <a:gd name="T33" fmla="*/ 72 h 137"/>
                <a:gd name="T34" fmla="*/ 132 w 177"/>
                <a:gd name="T35" fmla="*/ 55 h 137"/>
                <a:gd name="T36" fmla="*/ 117 w 177"/>
                <a:gd name="T37" fmla="*/ 37 h 137"/>
                <a:gd name="T38" fmla="*/ 90 w 177"/>
                <a:gd name="T39" fmla="*/ 0 h 137"/>
                <a:gd name="T40" fmla="*/ 55 w 177"/>
                <a:gd name="T41" fmla="*/ 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7" h="137">
                  <a:moveTo>
                    <a:pt x="55" y="2"/>
                  </a:moveTo>
                  <a:lnTo>
                    <a:pt x="35" y="7"/>
                  </a:lnTo>
                  <a:lnTo>
                    <a:pt x="43" y="12"/>
                  </a:lnTo>
                  <a:lnTo>
                    <a:pt x="0" y="42"/>
                  </a:lnTo>
                  <a:lnTo>
                    <a:pt x="0" y="55"/>
                  </a:lnTo>
                  <a:lnTo>
                    <a:pt x="25" y="65"/>
                  </a:lnTo>
                  <a:lnTo>
                    <a:pt x="58" y="30"/>
                  </a:lnTo>
                  <a:lnTo>
                    <a:pt x="58" y="35"/>
                  </a:lnTo>
                  <a:lnTo>
                    <a:pt x="87" y="42"/>
                  </a:lnTo>
                  <a:lnTo>
                    <a:pt x="107" y="67"/>
                  </a:lnTo>
                  <a:lnTo>
                    <a:pt x="127" y="94"/>
                  </a:lnTo>
                  <a:lnTo>
                    <a:pt x="120" y="129"/>
                  </a:lnTo>
                  <a:lnTo>
                    <a:pt x="135" y="119"/>
                  </a:lnTo>
                  <a:lnTo>
                    <a:pt x="152" y="137"/>
                  </a:lnTo>
                  <a:lnTo>
                    <a:pt x="162" y="97"/>
                  </a:lnTo>
                  <a:lnTo>
                    <a:pt x="177" y="99"/>
                  </a:lnTo>
                  <a:lnTo>
                    <a:pt x="162" y="72"/>
                  </a:lnTo>
                  <a:lnTo>
                    <a:pt x="132" y="55"/>
                  </a:lnTo>
                  <a:lnTo>
                    <a:pt x="117" y="37"/>
                  </a:lnTo>
                  <a:lnTo>
                    <a:pt x="90" y="0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6" name="Freeform 232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7" name="Freeform 233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8" name="Freeform 235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30 w 30"/>
                <a:gd name="T1" fmla="*/ 0 h 15"/>
                <a:gd name="T2" fmla="*/ 2 w 30"/>
                <a:gd name="T3" fmla="*/ 2 h 15"/>
                <a:gd name="T4" fmla="*/ 0 w 30"/>
                <a:gd name="T5" fmla="*/ 10 h 15"/>
                <a:gd name="T6" fmla="*/ 5 w 30"/>
                <a:gd name="T7" fmla="*/ 15 h 15"/>
                <a:gd name="T8" fmla="*/ 25 w 30"/>
                <a:gd name="T9" fmla="*/ 12 h 15"/>
                <a:gd name="T10" fmla="*/ 30 w 30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lnTo>
                    <a:pt x="2" y="2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25" y="12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19" name="Freeform 236"/>
            <p:cNvSpPr>
              <a:spLocks/>
            </p:cNvSpPr>
            <p:nvPr/>
          </p:nvSpPr>
          <p:spPr bwMode="auto">
            <a:xfrm>
              <a:off x="4994338" y="4408314"/>
              <a:ext cx="47494" cy="50374"/>
            </a:xfrm>
            <a:custGeom>
              <a:avLst/>
              <a:gdLst>
                <a:gd name="T0" fmla="*/ 15 w 33"/>
                <a:gd name="T1" fmla="*/ 0 h 35"/>
                <a:gd name="T2" fmla="*/ 5 w 33"/>
                <a:gd name="T3" fmla="*/ 5 h 35"/>
                <a:gd name="T4" fmla="*/ 8 w 33"/>
                <a:gd name="T5" fmla="*/ 18 h 35"/>
                <a:gd name="T6" fmla="*/ 0 w 33"/>
                <a:gd name="T7" fmla="*/ 25 h 35"/>
                <a:gd name="T8" fmla="*/ 3 w 33"/>
                <a:gd name="T9" fmla="*/ 35 h 35"/>
                <a:gd name="T10" fmla="*/ 13 w 33"/>
                <a:gd name="T11" fmla="*/ 33 h 35"/>
                <a:gd name="T12" fmla="*/ 28 w 33"/>
                <a:gd name="T13" fmla="*/ 33 h 35"/>
                <a:gd name="T14" fmla="*/ 33 w 33"/>
                <a:gd name="T15" fmla="*/ 25 h 35"/>
                <a:gd name="T16" fmla="*/ 30 w 33"/>
                <a:gd name="T17" fmla="*/ 5 h 35"/>
                <a:gd name="T18" fmla="*/ 15 w 33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5">
                  <a:moveTo>
                    <a:pt x="15" y="0"/>
                  </a:moveTo>
                  <a:lnTo>
                    <a:pt x="5" y="5"/>
                  </a:lnTo>
                  <a:lnTo>
                    <a:pt x="8" y="18"/>
                  </a:lnTo>
                  <a:lnTo>
                    <a:pt x="0" y="25"/>
                  </a:lnTo>
                  <a:lnTo>
                    <a:pt x="3" y="35"/>
                  </a:lnTo>
                  <a:lnTo>
                    <a:pt x="13" y="33"/>
                  </a:lnTo>
                  <a:lnTo>
                    <a:pt x="28" y="33"/>
                  </a:lnTo>
                  <a:lnTo>
                    <a:pt x="33" y="25"/>
                  </a:lnTo>
                  <a:lnTo>
                    <a:pt x="30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0" name="Freeform 237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157 w 214"/>
                <a:gd name="T1" fmla="*/ 0 h 211"/>
                <a:gd name="T2" fmla="*/ 152 w 214"/>
                <a:gd name="T3" fmla="*/ 12 h 211"/>
                <a:gd name="T4" fmla="*/ 139 w 214"/>
                <a:gd name="T5" fmla="*/ 17 h 211"/>
                <a:gd name="T6" fmla="*/ 132 w 214"/>
                <a:gd name="T7" fmla="*/ 29 h 211"/>
                <a:gd name="T8" fmla="*/ 127 w 214"/>
                <a:gd name="T9" fmla="*/ 84 h 211"/>
                <a:gd name="T10" fmla="*/ 134 w 214"/>
                <a:gd name="T11" fmla="*/ 92 h 211"/>
                <a:gd name="T12" fmla="*/ 147 w 214"/>
                <a:gd name="T13" fmla="*/ 92 h 211"/>
                <a:gd name="T14" fmla="*/ 149 w 214"/>
                <a:gd name="T15" fmla="*/ 114 h 211"/>
                <a:gd name="T16" fmla="*/ 144 w 214"/>
                <a:gd name="T17" fmla="*/ 126 h 211"/>
                <a:gd name="T18" fmla="*/ 127 w 214"/>
                <a:gd name="T19" fmla="*/ 126 h 211"/>
                <a:gd name="T20" fmla="*/ 120 w 214"/>
                <a:gd name="T21" fmla="*/ 116 h 211"/>
                <a:gd name="T22" fmla="*/ 115 w 214"/>
                <a:gd name="T23" fmla="*/ 97 h 211"/>
                <a:gd name="T24" fmla="*/ 100 w 214"/>
                <a:gd name="T25" fmla="*/ 89 h 211"/>
                <a:gd name="T26" fmla="*/ 100 w 214"/>
                <a:gd name="T27" fmla="*/ 84 h 211"/>
                <a:gd name="T28" fmla="*/ 85 w 214"/>
                <a:gd name="T29" fmla="*/ 87 h 211"/>
                <a:gd name="T30" fmla="*/ 80 w 214"/>
                <a:gd name="T31" fmla="*/ 97 h 211"/>
                <a:gd name="T32" fmla="*/ 70 w 214"/>
                <a:gd name="T33" fmla="*/ 94 h 211"/>
                <a:gd name="T34" fmla="*/ 65 w 214"/>
                <a:gd name="T35" fmla="*/ 77 h 211"/>
                <a:gd name="T36" fmla="*/ 47 w 214"/>
                <a:gd name="T37" fmla="*/ 74 h 211"/>
                <a:gd name="T38" fmla="*/ 45 w 214"/>
                <a:gd name="T39" fmla="*/ 114 h 211"/>
                <a:gd name="T40" fmla="*/ 28 w 214"/>
                <a:gd name="T41" fmla="*/ 114 h 211"/>
                <a:gd name="T42" fmla="*/ 23 w 214"/>
                <a:gd name="T43" fmla="*/ 104 h 211"/>
                <a:gd name="T44" fmla="*/ 15 w 214"/>
                <a:gd name="T45" fmla="*/ 104 h 211"/>
                <a:gd name="T46" fmla="*/ 15 w 214"/>
                <a:gd name="T47" fmla="*/ 114 h 211"/>
                <a:gd name="T48" fmla="*/ 3 w 214"/>
                <a:gd name="T49" fmla="*/ 116 h 211"/>
                <a:gd name="T50" fmla="*/ 0 w 214"/>
                <a:gd name="T51" fmla="*/ 164 h 211"/>
                <a:gd name="T52" fmla="*/ 3 w 214"/>
                <a:gd name="T53" fmla="*/ 179 h 211"/>
                <a:gd name="T54" fmla="*/ 18 w 214"/>
                <a:gd name="T55" fmla="*/ 196 h 211"/>
                <a:gd name="T56" fmla="*/ 18 w 214"/>
                <a:gd name="T57" fmla="*/ 206 h 211"/>
                <a:gd name="T58" fmla="*/ 28 w 214"/>
                <a:gd name="T59" fmla="*/ 208 h 211"/>
                <a:gd name="T60" fmla="*/ 75 w 214"/>
                <a:gd name="T61" fmla="*/ 211 h 211"/>
                <a:gd name="T62" fmla="*/ 85 w 214"/>
                <a:gd name="T63" fmla="*/ 208 h 211"/>
                <a:gd name="T64" fmla="*/ 100 w 214"/>
                <a:gd name="T65" fmla="*/ 208 h 211"/>
                <a:gd name="T66" fmla="*/ 110 w 214"/>
                <a:gd name="T67" fmla="*/ 203 h 211"/>
                <a:gd name="T68" fmla="*/ 112 w 214"/>
                <a:gd name="T69" fmla="*/ 191 h 211"/>
                <a:gd name="T70" fmla="*/ 122 w 214"/>
                <a:gd name="T71" fmla="*/ 189 h 211"/>
                <a:gd name="T72" fmla="*/ 129 w 214"/>
                <a:gd name="T73" fmla="*/ 184 h 211"/>
                <a:gd name="T74" fmla="*/ 132 w 214"/>
                <a:gd name="T75" fmla="*/ 171 h 211"/>
                <a:gd name="T76" fmla="*/ 147 w 214"/>
                <a:gd name="T77" fmla="*/ 169 h 211"/>
                <a:gd name="T78" fmla="*/ 154 w 214"/>
                <a:gd name="T79" fmla="*/ 159 h 211"/>
                <a:gd name="T80" fmla="*/ 182 w 214"/>
                <a:gd name="T81" fmla="*/ 154 h 211"/>
                <a:gd name="T82" fmla="*/ 187 w 214"/>
                <a:gd name="T83" fmla="*/ 141 h 211"/>
                <a:gd name="T84" fmla="*/ 202 w 214"/>
                <a:gd name="T85" fmla="*/ 134 h 211"/>
                <a:gd name="T86" fmla="*/ 204 w 214"/>
                <a:gd name="T87" fmla="*/ 102 h 211"/>
                <a:gd name="T88" fmla="*/ 214 w 214"/>
                <a:gd name="T89" fmla="*/ 94 h 211"/>
                <a:gd name="T90" fmla="*/ 209 w 214"/>
                <a:gd name="T91" fmla="*/ 72 h 211"/>
                <a:gd name="T92" fmla="*/ 211 w 214"/>
                <a:gd name="T93" fmla="*/ 47 h 211"/>
                <a:gd name="T94" fmla="*/ 199 w 214"/>
                <a:gd name="T95" fmla="*/ 29 h 211"/>
                <a:gd name="T96" fmla="*/ 184 w 214"/>
                <a:gd name="T97" fmla="*/ 22 h 211"/>
                <a:gd name="T98" fmla="*/ 172 w 214"/>
                <a:gd name="T99" fmla="*/ 10 h 211"/>
                <a:gd name="T100" fmla="*/ 169 w 214"/>
                <a:gd name="T101" fmla="*/ 0 h 211"/>
                <a:gd name="T102" fmla="*/ 157 w 214"/>
                <a:gd name="T103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157" y="0"/>
                  </a:move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1" name="Freeform 238"/>
            <p:cNvSpPr>
              <a:spLocks/>
            </p:cNvSpPr>
            <p:nvPr/>
          </p:nvSpPr>
          <p:spPr bwMode="auto">
            <a:xfrm>
              <a:off x="6286771" y="4090244"/>
              <a:ext cx="50373" cy="107942"/>
            </a:xfrm>
            <a:custGeom>
              <a:avLst/>
              <a:gdLst>
                <a:gd name="T0" fmla="*/ 12 w 35"/>
                <a:gd name="T1" fmla="*/ 0 h 75"/>
                <a:gd name="T2" fmla="*/ 2 w 35"/>
                <a:gd name="T3" fmla="*/ 23 h 75"/>
                <a:gd name="T4" fmla="*/ 0 w 35"/>
                <a:gd name="T5" fmla="*/ 50 h 75"/>
                <a:gd name="T6" fmla="*/ 10 w 35"/>
                <a:gd name="T7" fmla="*/ 75 h 75"/>
                <a:gd name="T8" fmla="*/ 35 w 35"/>
                <a:gd name="T9" fmla="*/ 70 h 75"/>
                <a:gd name="T10" fmla="*/ 35 w 35"/>
                <a:gd name="T11" fmla="*/ 25 h 75"/>
                <a:gd name="T12" fmla="*/ 27 w 35"/>
                <a:gd name="T13" fmla="*/ 15 h 75"/>
                <a:gd name="T14" fmla="*/ 12 w 35"/>
                <a:gd name="T1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75">
                  <a:moveTo>
                    <a:pt x="12" y="0"/>
                  </a:moveTo>
                  <a:lnTo>
                    <a:pt x="2" y="23"/>
                  </a:lnTo>
                  <a:lnTo>
                    <a:pt x="0" y="50"/>
                  </a:lnTo>
                  <a:lnTo>
                    <a:pt x="10" y="75"/>
                  </a:lnTo>
                  <a:lnTo>
                    <a:pt x="35" y="70"/>
                  </a:lnTo>
                  <a:lnTo>
                    <a:pt x="35" y="25"/>
                  </a:lnTo>
                  <a:lnTo>
                    <a:pt x="27" y="15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2" name="Freeform 239"/>
            <p:cNvSpPr>
              <a:spLocks/>
            </p:cNvSpPr>
            <p:nvPr/>
          </p:nvSpPr>
          <p:spPr bwMode="auto">
            <a:xfrm>
              <a:off x="4125040" y="3943442"/>
              <a:ext cx="201493" cy="146802"/>
            </a:xfrm>
            <a:custGeom>
              <a:avLst/>
              <a:gdLst>
                <a:gd name="T0" fmla="*/ 140 w 140"/>
                <a:gd name="T1" fmla="*/ 50 h 102"/>
                <a:gd name="T2" fmla="*/ 135 w 140"/>
                <a:gd name="T3" fmla="*/ 70 h 102"/>
                <a:gd name="T4" fmla="*/ 115 w 140"/>
                <a:gd name="T5" fmla="*/ 75 h 102"/>
                <a:gd name="T6" fmla="*/ 102 w 140"/>
                <a:gd name="T7" fmla="*/ 95 h 102"/>
                <a:gd name="T8" fmla="*/ 92 w 140"/>
                <a:gd name="T9" fmla="*/ 95 h 102"/>
                <a:gd name="T10" fmla="*/ 77 w 140"/>
                <a:gd name="T11" fmla="*/ 92 h 102"/>
                <a:gd name="T12" fmla="*/ 65 w 140"/>
                <a:gd name="T13" fmla="*/ 85 h 102"/>
                <a:gd name="T14" fmla="*/ 55 w 140"/>
                <a:gd name="T15" fmla="*/ 85 h 102"/>
                <a:gd name="T16" fmla="*/ 45 w 140"/>
                <a:gd name="T17" fmla="*/ 102 h 102"/>
                <a:gd name="T18" fmla="*/ 10 w 140"/>
                <a:gd name="T19" fmla="*/ 100 h 102"/>
                <a:gd name="T20" fmla="*/ 0 w 140"/>
                <a:gd name="T21" fmla="*/ 92 h 102"/>
                <a:gd name="T22" fmla="*/ 5 w 140"/>
                <a:gd name="T23" fmla="*/ 67 h 102"/>
                <a:gd name="T24" fmla="*/ 18 w 140"/>
                <a:gd name="T25" fmla="*/ 50 h 102"/>
                <a:gd name="T26" fmla="*/ 25 w 140"/>
                <a:gd name="T27" fmla="*/ 38 h 102"/>
                <a:gd name="T28" fmla="*/ 30 w 140"/>
                <a:gd name="T29" fmla="*/ 28 h 102"/>
                <a:gd name="T30" fmla="*/ 53 w 140"/>
                <a:gd name="T31" fmla="*/ 20 h 102"/>
                <a:gd name="T32" fmla="*/ 63 w 140"/>
                <a:gd name="T33" fmla="*/ 10 h 102"/>
                <a:gd name="T34" fmla="*/ 70 w 140"/>
                <a:gd name="T35" fmla="*/ 0 h 102"/>
                <a:gd name="T36" fmla="*/ 100 w 140"/>
                <a:gd name="T37" fmla="*/ 0 h 102"/>
                <a:gd name="T38" fmla="*/ 107 w 140"/>
                <a:gd name="T39" fmla="*/ 10 h 102"/>
                <a:gd name="T40" fmla="*/ 117 w 140"/>
                <a:gd name="T41" fmla="*/ 18 h 102"/>
                <a:gd name="T42" fmla="*/ 117 w 140"/>
                <a:gd name="T43" fmla="*/ 35 h 102"/>
                <a:gd name="T44" fmla="*/ 130 w 140"/>
                <a:gd name="T45" fmla="*/ 38 h 102"/>
                <a:gd name="T46" fmla="*/ 140 w 140"/>
                <a:gd name="T47" fmla="*/ 5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0" h="102">
                  <a:moveTo>
                    <a:pt x="140" y="50"/>
                  </a:moveTo>
                  <a:lnTo>
                    <a:pt x="135" y="70"/>
                  </a:lnTo>
                  <a:lnTo>
                    <a:pt x="115" y="75"/>
                  </a:lnTo>
                  <a:lnTo>
                    <a:pt x="102" y="95"/>
                  </a:lnTo>
                  <a:lnTo>
                    <a:pt x="92" y="95"/>
                  </a:lnTo>
                  <a:lnTo>
                    <a:pt x="77" y="92"/>
                  </a:lnTo>
                  <a:lnTo>
                    <a:pt x="65" y="85"/>
                  </a:lnTo>
                  <a:lnTo>
                    <a:pt x="55" y="85"/>
                  </a:lnTo>
                  <a:lnTo>
                    <a:pt x="45" y="102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5" y="67"/>
                  </a:lnTo>
                  <a:lnTo>
                    <a:pt x="18" y="50"/>
                  </a:lnTo>
                  <a:lnTo>
                    <a:pt x="25" y="38"/>
                  </a:lnTo>
                  <a:lnTo>
                    <a:pt x="30" y="28"/>
                  </a:lnTo>
                  <a:lnTo>
                    <a:pt x="53" y="20"/>
                  </a:lnTo>
                  <a:lnTo>
                    <a:pt x="63" y="10"/>
                  </a:lnTo>
                  <a:lnTo>
                    <a:pt x="70" y="0"/>
                  </a:lnTo>
                  <a:lnTo>
                    <a:pt x="100" y="0"/>
                  </a:lnTo>
                  <a:lnTo>
                    <a:pt x="107" y="10"/>
                  </a:lnTo>
                  <a:lnTo>
                    <a:pt x="117" y="18"/>
                  </a:lnTo>
                  <a:lnTo>
                    <a:pt x="117" y="35"/>
                  </a:lnTo>
                  <a:lnTo>
                    <a:pt x="130" y="38"/>
                  </a:lnTo>
                  <a:lnTo>
                    <a:pt x="14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3" name="Freeform 240"/>
            <p:cNvSpPr>
              <a:spLocks/>
            </p:cNvSpPr>
            <p:nvPr/>
          </p:nvSpPr>
          <p:spPr bwMode="auto">
            <a:xfrm>
              <a:off x="3881809" y="4008207"/>
              <a:ext cx="197176" cy="164073"/>
            </a:xfrm>
            <a:custGeom>
              <a:avLst/>
              <a:gdLst>
                <a:gd name="T0" fmla="*/ 0 w 137"/>
                <a:gd name="T1" fmla="*/ 20 h 114"/>
                <a:gd name="T2" fmla="*/ 10 w 137"/>
                <a:gd name="T3" fmla="*/ 7 h 114"/>
                <a:gd name="T4" fmla="*/ 30 w 137"/>
                <a:gd name="T5" fmla="*/ 0 h 114"/>
                <a:gd name="T6" fmla="*/ 55 w 137"/>
                <a:gd name="T7" fmla="*/ 5 h 114"/>
                <a:gd name="T8" fmla="*/ 75 w 137"/>
                <a:gd name="T9" fmla="*/ 5 h 114"/>
                <a:gd name="T10" fmla="*/ 92 w 137"/>
                <a:gd name="T11" fmla="*/ 10 h 114"/>
                <a:gd name="T12" fmla="*/ 115 w 137"/>
                <a:gd name="T13" fmla="*/ 12 h 114"/>
                <a:gd name="T14" fmla="*/ 127 w 137"/>
                <a:gd name="T15" fmla="*/ 27 h 114"/>
                <a:gd name="T16" fmla="*/ 132 w 137"/>
                <a:gd name="T17" fmla="*/ 52 h 114"/>
                <a:gd name="T18" fmla="*/ 127 w 137"/>
                <a:gd name="T19" fmla="*/ 67 h 114"/>
                <a:gd name="T20" fmla="*/ 137 w 137"/>
                <a:gd name="T21" fmla="*/ 77 h 114"/>
                <a:gd name="T22" fmla="*/ 120 w 137"/>
                <a:gd name="T23" fmla="*/ 89 h 114"/>
                <a:gd name="T24" fmla="*/ 115 w 137"/>
                <a:gd name="T25" fmla="*/ 114 h 114"/>
                <a:gd name="T26" fmla="*/ 100 w 137"/>
                <a:gd name="T27" fmla="*/ 109 h 114"/>
                <a:gd name="T28" fmla="*/ 90 w 137"/>
                <a:gd name="T29" fmla="*/ 87 h 114"/>
                <a:gd name="T30" fmla="*/ 85 w 137"/>
                <a:gd name="T31" fmla="*/ 67 h 114"/>
                <a:gd name="T32" fmla="*/ 65 w 137"/>
                <a:gd name="T33" fmla="*/ 57 h 114"/>
                <a:gd name="T34" fmla="*/ 50 w 137"/>
                <a:gd name="T35" fmla="*/ 65 h 114"/>
                <a:gd name="T36" fmla="*/ 30 w 137"/>
                <a:gd name="T37" fmla="*/ 70 h 114"/>
                <a:gd name="T38" fmla="*/ 8 w 137"/>
                <a:gd name="T39" fmla="*/ 47 h 114"/>
                <a:gd name="T40" fmla="*/ 0 w 137"/>
                <a:gd name="T41" fmla="*/ 2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14">
                  <a:moveTo>
                    <a:pt x="0" y="20"/>
                  </a:moveTo>
                  <a:lnTo>
                    <a:pt x="10" y="7"/>
                  </a:lnTo>
                  <a:lnTo>
                    <a:pt x="30" y="0"/>
                  </a:lnTo>
                  <a:lnTo>
                    <a:pt x="55" y="5"/>
                  </a:lnTo>
                  <a:lnTo>
                    <a:pt x="75" y="5"/>
                  </a:lnTo>
                  <a:lnTo>
                    <a:pt x="92" y="10"/>
                  </a:lnTo>
                  <a:lnTo>
                    <a:pt x="115" y="12"/>
                  </a:lnTo>
                  <a:lnTo>
                    <a:pt x="127" y="27"/>
                  </a:lnTo>
                  <a:lnTo>
                    <a:pt x="132" y="52"/>
                  </a:lnTo>
                  <a:lnTo>
                    <a:pt x="127" y="67"/>
                  </a:lnTo>
                  <a:lnTo>
                    <a:pt x="137" y="77"/>
                  </a:lnTo>
                  <a:lnTo>
                    <a:pt x="120" y="89"/>
                  </a:lnTo>
                  <a:lnTo>
                    <a:pt x="115" y="114"/>
                  </a:lnTo>
                  <a:lnTo>
                    <a:pt x="100" y="109"/>
                  </a:lnTo>
                  <a:lnTo>
                    <a:pt x="90" y="87"/>
                  </a:lnTo>
                  <a:lnTo>
                    <a:pt x="85" y="67"/>
                  </a:lnTo>
                  <a:lnTo>
                    <a:pt x="65" y="57"/>
                  </a:lnTo>
                  <a:lnTo>
                    <a:pt x="50" y="65"/>
                  </a:lnTo>
                  <a:lnTo>
                    <a:pt x="30" y="70"/>
                  </a:lnTo>
                  <a:lnTo>
                    <a:pt x="8" y="4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4" name="Freeform 241"/>
            <p:cNvSpPr>
              <a:spLocks/>
            </p:cNvSpPr>
            <p:nvPr/>
          </p:nvSpPr>
          <p:spPr bwMode="auto">
            <a:xfrm>
              <a:off x="4189805" y="4065776"/>
              <a:ext cx="93551" cy="164073"/>
            </a:xfrm>
            <a:custGeom>
              <a:avLst/>
              <a:gdLst>
                <a:gd name="T0" fmla="*/ 3 w 65"/>
                <a:gd name="T1" fmla="*/ 112 h 114"/>
                <a:gd name="T2" fmla="*/ 0 w 65"/>
                <a:gd name="T3" fmla="*/ 82 h 114"/>
                <a:gd name="T4" fmla="*/ 3 w 65"/>
                <a:gd name="T5" fmla="*/ 54 h 114"/>
                <a:gd name="T6" fmla="*/ 13 w 65"/>
                <a:gd name="T7" fmla="*/ 52 h 114"/>
                <a:gd name="T8" fmla="*/ 15 w 65"/>
                <a:gd name="T9" fmla="*/ 40 h 114"/>
                <a:gd name="T10" fmla="*/ 3 w 65"/>
                <a:gd name="T11" fmla="*/ 35 h 114"/>
                <a:gd name="T12" fmla="*/ 0 w 65"/>
                <a:gd name="T13" fmla="*/ 17 h 114"/>
                <a:gd name="T14" fmla="*/ 10 w 65"/>
                <a:gd name="T15" fmla="*/ 0 h 114"/>
                <a:gd name="T16" fmla="*/ 20 w 65"/>
                <a:gd name="T17" fmla="*/ 0 h 114"/>
                <a:gd name="T18" fmla="*/ 32 w 65"/>
                <a:gd name="T19" fmla="*/ 7 h 114"/>
                <a:gd name="T20" fmla="*/ 47 w 65"/>
                <a:gd name="T21" fmla="*/ 10 h 114"/>
                <a:gd name="T22" fmla="*/ 50 w 65"/>
                <a:gd name="T23" fmla="*/ 27 h 114"/>
                <a:gd name="T24" fmla="*/ 57 w 65"/>
                <a:gd name="T25" fmla="*/ 32 h 114"/>
                <a:gd name="T26" fmla="*/ 57 w 65"/>
                <a:gd name="T27" fmla="*/ 47 h 114"/>
                <a:gd name="T28" fmla="*/ 60 w 65"/>
                <a:gd name="T29" fmla="*/ 72 h 114"/>
                <a:gd name="T30" fmla="*/ 65 w 65"/>
                <a:gd name="T31" fmla="*/ 94 h 114"/>
                <a:gd name="T32" fmla="*/ 57 w 65"/>
                <a:gd name="T33" fmla="*/ 104 h 114"/>
                <a:gd name="T34" fmla="*/ 42 w 65"/>
                <a:gd name="T35" fmla="*/ 104 h 114"/>
                <a:gd name="T36" fmla="*/ 35 w 65"/>
                <a:gd name="T37" fmla="*/ 114 h 114"/>
                <a:gd name="T38" fmla="*/ 22 w 65"/>
                <a:gd name="T39" fmla="*/ 114 h 114"/>
                <a:gd name="T40" fmla="*/ 3 w 65"/>
                <a:gd name="T41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" h="114">
                  <a:moveTo>
                    <a:pt x="3" y="112"/>
                  </a:moveTo>
                  <a:lnTo>
                    <a:pt x="0" y="82"/>
                  </a:lnTo>
                  <a:lnTo>
                    <a:pt x="3" y="54"/>
                  </a:lnTo>
                  <a:lnTo>
                    <a:pt x="13" y="52"/>
                  </a:lnTo>
                  <a:lnTo>
                    <a:pt x="15" y="40"/>
                  </a:lnTo>
                  <a:lnTo>
                    <a:pt x="3" y="35"/>
                  </a:lnTo>
                  <a:lnTo>
                    <a:pt x="0" y="17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2" y="7"/>
                  </a:lnTo>
                  <a:lnTo>
                    <a:pt x="47" y="10"/>
                  </a:lnTo>
                  <a:lnTo>
                    <a:pt x="50" y="27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60" y="72"/>
                  </a:lnTo>
                  <a:lnTo>
                    <a:pt x="65" y="94"/>
                  </a:lnTo>
                  <a:lnTo>
                    <a:pt x="57" y="104"/>
                  </a:lnTo>
                  <a:lnTo>
                    <a:pt x="42" y="104"/>
                  </a:lnTo>
                  <a:lnTo>
                    <a:pt x="35" y="114"/>
                  </a:lnTo>
                  <a:lnTo>
                    <a:pt x="22" y="114"/>
                  </a:lnTo>
                  <a:lnTo>
                    <a:pt x="3" y="1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5" name="Freeform 242"/>
            <p:cNvSpPr>
              <a:spLocks/>
            </p:cNvSpPr>
            <p:nvPr/>
          </p:nvSpPr>
          <p:spPr bwMode="auto">
            <a:xfrm>
              <a:off x="5008730" y="4444296"/>
              <a:ext cx="43177" cy="47494"/>
            </a:xfrm>
            <a:custGeom>
              <a:avLst/>
              <a:gdLst>
                <a:gd name="T0" fmla="*/ 15 w 30"/>
                <a:gd name="T1" fmla="*/ 30 h 33"/>
                <a:gd name="T2" fmla="*/ 30 w 30"/>
                <a:gd name="T3" fmla="*/ 30 h 33"/>
                <a:gd name="T4" fmla="*/ 28 w 30"/>
                <a:gd name="T5" fmla="*/ 8 h 33"/>
                <a:gd name="T6" fmla="*/ 23 w 30"/>
                <a:gd name="T7" fmla="*/ 0 h 33"/>
                <a:gd name="T8" fmla="*/ 18 w 30"/>
                <a:gd name="T9" fmla="*/ 8 h 33"/>
                <a:gd name="T10" fmla="*/ 3 w 30"/>
                <a:gd name="T11" fmla="*/ 8 h 33"/>
                <a:gd name="T12" fmla="*/ 0 w 30"/>
                <a:gd name="T13" fmla="*/ 28 h 33"/>
                <a:gd name="T14" fmla="*/ 5 w 30"/>
                <a:gd name="T15" fmla="*/ 33 h 33"/>
                <a:gd name="T16" fmla="*/ 15 w 30"/>
                <a:gd name="T17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3">
                  <a:moveTo>
                    <a:pt x="15" y="30"/>
                  </a:moveTo>
                  <a:lnTo>
                    <a:pt x="30" y="30"/>
                  </a:lnTo>
                  <a:lnTo>
                    <a:pt x="28" y="8"/>
                  </a:lnTo>
                  <a:lnTo>
                    <a:pt x="23" y="0"/>
                  </a:lnTo>
                  <a:lnTo>
                    <a:pt x="18" y="8"/>
                  </a:lnTo>
                  <a:lnTo>
                    <a:pt x="3" y="8"/>
                  </a:lnTo>
                  <a:lnTo>
                    <a:pt x="0" y="28"/>
                  </a:lnTo>
                  <a:lnTo>
                    <a:pt x="5" y="33"/>
                  </a:lnTo>
                  <a:lnTo>
                    <a:pt x="1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6" name="Freeform 243"/>
            <p:cNvSpPr>
              <a:spLocks/>
            </p:cNvSpPr>
            <p:nvPr/>
          </p:nvSpPr>
          <p:spPr bwMode="auto">
            <a:xfrm>
              <a:off x="4676266" y="5027186"/>
              <a:ext cx="418818" cy="390033"/>
            </a:xfrm>
            <a:custGeom>
              <a:avLst/>
              <a:gdLst>
                <a:gd name="T0" fmla="*/ 266 w 291"/>
                <a:gd name="T1" fmla="*/ 13 h 271"/>
                <a:gd name="T2" fmla="*/ 246 w 291"/>
                <a:gd name="T3" fmla="*/ 13 h 271"/>
                <a:gd name="T4" fmla="*/ 241 w 291"/>
                <a:gd name="T5" fmla="*/ 5 h 271"/>
                <a:gd name="T6" fmla="*/ 229 w 291"/>
                <a:gd name="T7" fmla="*/ 0 h 271"/>
                <a:gd name="T8" fmla="*/ 226 w 291"/>
                <a:gd name="T9" fmla="*/ 10 h 271"/>
                <a:gd name="T10" fmla="*/ 214 w 291"/>
                <a:gd name="T11" fmla="*/ 20 h 271"/>
                <a:gd name="T12" fmla="*/ 204 w 291"/>
                <a:gd name="T13" fmla="*/ 30 h 271"/>
                <a:gd name="T14" fmla="*/ 192 w 291"/>
                <a:gd name="T15" fmla="*/ 38 h 271"/>
                <a:gd name="T16" fmla="*/ 187 w 291"/>
                <a:gd name="T17" fmla="*/ 55 h 271"/>
                <a:gd name="T18" fmla="*/ 174 w 291"/>
                <a:gd name="T19" fmla="*/ 58 h 271"/>
                <a:gd name="T20" fmla="*/ 167 w 291"/>
                <a:gd name="T21" fmla="*/ 68 h 271"/>
                <a:gd name="T22" fmla="*/ 157 w 291"/>
                <a:gd name="T23" fmla="*/ 80 h 271"/>
                <a:gd name="T24" fmla="*/ 139 w 291"/>
                <a:gd name="T25" fmla="*/ 80 h 271"/>
                <a:gd name="T26" fmla="*/ 127 w 291"/>
                <a:gd name="T27" fmla="*/ 73 h 271"/>
                <a:gd name="T28" fmla="*/ 117 w 291"/>
                <a:gd name="T29" fmla="*/ 73 h 271"/>
                <a:gd name="T30" fmla="*/ 112 w 291"/>
                <a:gd name="T31" fmla="*/ 82 h 271"/>
                <a:gd name="T32" fmla="*/ 107 w 291"/>
                <a:gd name="T33" fmla="*/ 92 h 271"/>
                <a:gd name="T34" fmla="*/ 97 w 291"/>
                <a:gd name="T35" fmla="*/ 100 h 271"/>
                <a:gd name="T36" fmla="*/ 75 w 291"/>
                <a:gd name="T37" fmla="*/ 95 h 271"/>
                <a:gd name="T38" fmla="*/ 70 w 291"/>
                <a:gd name="T39" fmla="*/ 75 h 271"/>
                <a:gd name="T40" fmla="*/ 62 w 291"/>
                <a:gd name="T41" fmla="*/ 68 h 271"/>
                <a:gd name="T42" fmla="*/ 57 w 291"/>
                <a:gd name="T43" fmla="*/ 137 h 271"/>
                <a:gd name="T44" fmla="*/ 47 w 291"/>
                <a:gd name="T45" fmla="*/ 147 h 271"/>
                <a:gd name="T46" fmla="*/ 25 w 291"/>
                <a:gd name="T47" fmla="*/ 145 h 271"/>
                <a:gd name="T48" fmla="*/ 15 w 291"/>
                <a:gd name="T49" fmla="*/ 130 h 271"/>
                <a:gd name="T50" fmla="*/ 13 w 291"/>
                <a:gd name="T51" fmla="*/ 137 h 271"/>
                <a:gd name="T52" fmla="*/ 0 w 291"/>
                <a:gd name="T53" fmla="*/ 137 h 271"/>
                <a:gd name="T54" fmla="*/ 3 w 291"/>
                <a:gd name="T55" fmla="*/ 145 h 271"/>
                <a:gd name="T56" fmla="*/ 3 w 291"/>
                <a:gd name="T57" fmla="*/ 164 h 271"/>
                <a:gd name="T58" fmla="*/ 15 w 291"/>
                <a:gd name="T59" fmla="*/ 169 h 271"/>
                <a:gd name="T60" fmla="*/ 15 w 291"/>
                <a:gd name="T61" fmla="*/ 194 h 271"/>
                <a:gd name="T62" fmla="*/ 25 w 291"/>
                <a:gd name="T63" fmla="*/ 197 h 271"/>
                <a:gd name="T64" fmla="*/ 25 w 291"/>
                <a:gd name="T65" fmla="*/ 204 h 271"/>
                <a:gd name="T66" fmla="*/ 33 w 291"/>
                <a:gd name="T67" fmla="*/ 204 h 271"/>
                <a:gd name="T68" fmla="*/ 30 w 291"/>
                <a:gd name="T69" fmla="*/ 219 h 271"/>
                <a:gd name="T70" fmla="*/ 20 w 291"/>
                <a:gd name="T71" fmla="*/ 227 h 271"/>
                <a:gd name="T72" fmla="*/ 52 w 291"/>
                <a:gd name="T73" fmla="*/ 269 h 271"/>
                <a:gd name="T74" fmla="*/ 75 w 291"/>
                <a:gd name="T75" fmla="*/ 271 h 271"/>
                <a:gd name="T76" fmla="*/ 85 w 291"/>
                <a:gd name="T77" fmla="*/ 264 h 271"/>
                <a:gd name="T78" fmla="*/ 95 w 291"/>
                <a:gd name="T79" fmla="*/ 249 h 271"/>
                <a:gd name="T80" fmla="*/ 132 w 291"/>
                <a:gd name="T81" fmla="*/ 251 h 271"/>
                <a:gd name="T82" fmla="*/ 137 w 291"/>
                <a:gd name="T83" fmla="*/ 256 h 271"/>
                <a:gd name="T84" fmla="*/ 157 w 291"/>
                <a:gd name="T85" fmla="*/ 249 h 271"/>
                <a:gd name="T86" fmla="*/ 164 w 291"/>
                <a:gd name="T87" fmla="*/ 242 h 271"/>
                <a:gd name="T88" fmla="*/ 192 w 291"/>
                <a:gd name="T89" fmla="*/ 239 h 271"/>
                <a:gd name="T90" fmla="*/ 204 w 291"/>
                <a:gd name="T91" fmla="*/ 229 h 271"/>
                <a:gd name="T92" fmla="*/ 219 w 291"/>
                <a:gd name="T93" fmla="*/ 207 h 271"/>
                <a:gd name="T94" fmla="*/ 234 w 291"/>
                <a:gd name="T95" fmla="*/ 194 h 271"/>
                <a:gd name="T96" fmla="*/ 256 w 291"/>
                <a:gd name="T97" fmla="*/ 174 h 271"/>
                <a:gd name="T98" fmla="*/ 261 w 291"/>
                <a:gd name="T99" fmla="*/ 155 h 271"/>
                <a:gd name="T100" fmla="*/ 266 w 291"/>
                <a:gd name="T101" fmla="*/ 137 h 271"/>
                <a:gd name="T102" fmla="*/ 279 w 291"/>
                <a:gd name="T103" fmla="*/ 135 h 271"/>
                <a:gd name="T104" fmla="*/ 291 w 291"/>
                <a:gd name="T105" fmla="*/ 115 h 271"/>
                <a:gd name="T106" fmla="*/ 276 w 291"/>
                <a:gd name="T107" fmla="*/ 110 h 271"/>
                <a:gd name="T108" fmla="*/ 271 w 291"/>
                <a:gd name="T109" fmla="*/ 95 h 271"/>
                <a:gd name="T110" fmla="*/ 266 w 291"/>
                <a:gd name="T111" fmla="*/ 82 h 271"/>
                <a:gd name="T112" fmla="*/ 266 w 291"/>
                <a:gd name="T113" fmla="*/ 65 h 271"/>
                <a:gd name="T114" fmla="*/ 266 w 291"/>
                <a:gd name="T115" fmla="*/ 43 h 271"/>
                <a:gd name="T116" fmla="*/ 266 w 291"/>
                <a:gd name="T117" fmla="*/ 1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71">
                  <a:moveTo>
                    <a:pt x="266" y="13"/>
                  </a:moveTo>
                  <a:lnTo>
                    <a:pt x="246" y="13"/>
                  </a:lnTo>
                  <a:lnTo>
                    <a:pt x="241" y="5"/>
                  </a:lnTo>
                  <a:lnTo>
                    <a:pt x="229" y="0"/>
                  </a:lnTo>
                  <a:lnTo>
                    <a:pt x="226" y="10"/>
                  </a:lnTo>
                  <a:lnTo>
                    <a:pt x="214" y="20"/>
                  </a:lnTo>
                  <a:lnTo>
                    <a:pt x="204" y="30"/>
                  </a:lnTo>
                  <a:lnTo>
                    <a:pt x="192" y="38"/>
                  </a:lnTo>
                  <a:lnTo>
                    <a:pt x="187" y="55"/>
                  </a:lnTo>
                  <a:lnTo>
                    <a:pt x="174" y="58"/>
                  </a:lnTo>
                  <a:lnTo>
                    <a:pt x="167" y="68"/>
                  </a:lnTo>
                  <a:lnTo>
                    <a:pt x="157" y="80"/>
                  </a:lnTo>
                  <a:lnTo>
                    <a:pt x="139" y="80"/>
                  </a:lnTo>
                  <a:lnTo>
                    <a:pt x="127" y="73"/>
                  </a:lnTo>
                  <a:lnTo>
                    <a:pt x="117" y="73"/>
                  </a:lnTo>
                  <a:lnTo>
                    <a:pt x="112" y="82"/>
                  </a:lnTo>
                  <a:lnTo>
                    <a:pt x="107" y="92"/>
                  </a:lnTo>
                  <a:lnTo>
                    <a:pt x="97" y="100"/>
                  </a:lnTo>
                  <a:lnTo>
                    <a:pt x="75" y="95"/>
                  </a:lnTo>
                  <a:lnTo>
                    <a:pt x="70" y="75"/>
                  </a:lnTo>
                  <a:lnTo>
                    <a:pt x="62" y="68"/>
                  </a:lnTo>
                  <a:lnTo>
                    <a:pt x="57" y="137"/>
                  </a:lnTo>
                  <a:lnTo>
                    <a:pt x="47" y="147"/>
                  </a:lnTo>
                  <a:lnTo>
                    <a:pt x="25" y="145"/>
                  </a:lnTo>
                  <a:lnTo>
                    <a:pt x="15" y="130"/>
                  </a:lnTo>
                  <a:lnTo>
                    <a:pt x="13" y="137"/>
                  </a:lnTo>
                  <a:lnTo>
                    <a:pt x="0" y="137"/>
                  </a:lnTo>
                  <a:lnTo>
                    <a:pt x="3" y="145"/>
                  </a:lnTo>
                  <a:lnTo>
                    <a:pt x="3" y="164"/>
                  </a:lnTo>
                  <a:lnTo>
                    <a:pt x="15" y="169"/>
                  </a:lnTo>
                  <a:lnTo>
                    <a:pt x="15" y="194"/>
                  </a:lnTo>
                  <a:lnTo>
                    <a:pt x="25" y="197"/>
                  </a:lnTo>
                  <a:lnTo>
                    <a:pt x="25" y="204"/>
                  </a:lnTo>
                  <a:lnTo>
                    <a:pt x="33" y="204"/>
                  </a:lnTo>
                  <a:lnTo>
                    <a:pt x="30" y="219"/>
                  </a:lnTo>
                  <a:lnTo>
                    <a:pt x="20" y="227"/>
                  </a:lnTo>
                  <a:lnTo>
                    <a:pt x="52" y="269"/>
                  </a:lnTo>
                  <a:lnTo>
                    <a:pt x="75" y="271"/>
                  </a:lnTo>
                  <a:lnTo>
                    <a:pt x="85" y="264"/>
                  </a:lnTo>
                  <a:lnTo>
                    <a:pt x="95" y="249"/>
                  </a:lnTo>
                  <a:lnTo>
                    <a:pt x="132" y="251"/>
                  </a:lnTo>
                  <a:lnTo>
                    <a:pt x="137" y="256"/>
                  </a:lnTo>
                  <a:lnTo>
                    <a:pt x="157" y="249"/>
                  </a:lnTo>
                  <a:lnTo>
                    <a:pt x="164" y="242"/>
                  </a:lnTo>
                  <a:lnTo>
                    <a:pt x="192" y="239"/>
                  </a:lnTo>
                  <a:lnTo>
                    <a:pt x="204" y="229"/>
                  </a:lnTo>
                  <a:lnTo>
                    <a:pt x="219" y="207"/>
                  </a:lnTo>
                  <a:lnTo>
                    <a:pt x="234" y="194"/>
                  </a:lnTo>
                  <a:lnTo>
                    <a:pt x="256" y="174"/>
                  </a:lnTo>
                  <a:lnTo>
                    <a:pt x="261" y="155"/>
                  </a:lnTo>
                  <a:lnTo>
                    <a:pt x="266" y="137"/>
                  </a:lnTo>
                  <a:lnTo>
                    <a:pt x="279" y="135"/>
                  </a:lnTo>
                  <a:lnTo>
                    <a:pt x="291" y="115"/>
                  </a:lnTo>
                  <a:lnTo>
                    <a:pt x="276" y="110"/>
                  </a:lnTo>
                  <a:lnTo>
                    <a:pt x="271" y="95"/>
                  </a:lnTo>
                  <a:lnTo>
                    <a:pt x="266" y="82"/>
                  </a:lnTo>
                  <a:lnTo>
                    <a:pt x="266" y="65"/>
                  </a:lnTo>
                  <a:lnTo>
                    <a:pt x="266" y="43"/>
                  </a:lnTo>
                  <a:lnTo>
                    <a:pt x="266" y="1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7" name="Freeform 244"/>
            <p:cNvSpPr>
              <a:spLocks/>
            </p:cNvSpPr>
            <p:nvPr/>
          </p:nvSpPr>
          <p:spPr bwMode="auto">
            <a:xfrm>
              <a:off x="5030318" y="4680330"/>
              <a:ext cx="264819" cy="512368"/>
            </a:xfrm>
            <a:custGeom>
              <a:avLst/>
              <a:gdLst>
                <a:gd name="T0" fmla="*/ 30 w 184"/>
                <a:gd name="T1" fmla="*/ 351 h 356"/>
                <a:gd name="T2" fmla="*/ 20 w 184"/>
                <a:gd name="T3" fmla="*/ 323 h 356"/>
                <a:gd name="T4" fmla="*/ 20 w 184"/>
                <a:gd name="T5" fmla="*/ 284 h 356"/>
                <a:gd name="T6" fmla="*/ 23 w 184"/>
                <a:gd name="T7" fmla="*/ 239 h 356"/>
                <a:gd name="T8" fmla="*/ 33 w 184"/>
                <a:gd name="T9" fmla="*/ 209 h 356"/>
                <a:gd name="T10" fmla="*/ 50 w 184"/>
                <a:gd name="T11" fmla="*/ 192 h 356"/>
                <a:gd name="T12" fmla="*/ 43 w 184"/>
                <a:gd name="T13" fmla="*/ 162 h 356"/>
                <a:gd name="T14" fmla="*/ 40 w 184"/>
                <a:gd name="T15" fmla="*/ 120 h 356"/>
                <a:gd name="T16" fmla="*/ 8 w 184"/>
                <a:gd name="T17" fmla="*/ 102 h 356"/>
                <a:gd name="T18" fmla="*/ 28 w 184"/>
                <a:gd name="T19" fmla="*/ 95 h 356"/>
                <a:gd name="T20" fmla="*/ 48 w 184"/>
                <a:gd name="T21" fmla="*/ 75 h 356"/>
                <a:gd name="T22" fmla="*/ 75 w 184"/>
                <a:gd name="T23" fmla="*/ 85 h 356"/>
                <a:gd name="T24" fmla="*/ 67 w 184"/>
                <a:gd name="T25" fmla="*/ 117 h 356"/>
                <a:gd name="T26" fmla="*/ 87 w 184"/>
                <a:gd name="T27" fmla="*/ 122 h 356"/>
                <a:gd name="T28" fmla="*/ 105 w 184"/>
                <a:gd name="T29" fmla="*/ 102 h 356"/>
                <a:gd name="T30" fmla="*/ 97 w 184"/>
                <a:gd name="T31" fmla="*/ 72 h 356"/>
                <a:gd name="T32" fmla="*/ 85 w 184"/>
                <a:gd name="T33" fmla="*/ 57 h 356"/>
                <a:gd name="T34" fmla="*/ 80 w 184"/>
                <a:gd name="T35" fmla="*/ 35 h 356"/>
                <a:gd name="T36" fmla="*/ 80 w 184"/>
                <a:gd name="T37" fmla="*/ 0 h 356"/>
                <a:gd name="T38" fmla="*/ 97 w 184"/>
                <a:gd name="T39" fmla="*/ 23 h 356"/>
                <a:gd name="T40" fmla="*/ 137 w 184"/>
                <a:gd name="T41" fmla="*/ 15 h 356"/>
                <a:gd name="T42" fmla="*/ 162 w 184"/>
                <a:gd name="T43" fmla="*/ 8 h 356"/>
                <a:gd name="T44" fmla="*/ 184 w 184"/>
                <a:gd name="T45" fmla="*/ 38 h 356"/>
                <a:gd name="T46" fmla="*/ 172 w 184"/>
                <a:gd name="T47" fmla="*/ 117 h 356"/>
                <a:gd name="T48" fmla="*/ 140 w 184"/>
                <a:gd name="T49" fmla="*/ 132 h 356"/>
                <a:gd name="T50" fmla="*/ 125 w 184"/>
                <a:gd name="T51" fmla="*/ 144 h 356"/>
                <a:gd name="T52" fmla="*/ 115 w 184"/>
                <a:gd name="T53" fmla="*/ 174 h 356"/>
                <a:gd name="T54" fmla="*/ 90 w 184"/>
                <a:gd name="T55" fmla="*/ 184 h 356"/>
                <a:gd name="T56" fmla="*/ 85 w 184"/>
                <a:gd name="T57" fmla="*/ 234 h 356"/>
                <a:gd name="T58" fmla="*/ 87 w 184"/>
                <a:gd name="T59" fmla="*/ 271 h 356"/>
                <a:gd name="T60" fmla="*/ 85 w 184"/>
                <a:gd name="T61" fmla="*/ 291 h 356"/>
                <a:gd name="T62" fmla="*/ 67 w 184"/>
                <a:gd name="T63" fmla="*/ 299 h 356"/>
                <a:gd name="T64" fmla="*/ 48 w 184"/>
                <a:gd name="T65" fmla="*/ 306 h 356"/>
                <a:gd name="T66" fmla="*/ 48 w 184"/>
                <a:gd name="T67" fmla="*/ 333 h 356"/>
                <a:gd name="T68" fmla="*/ 45 w 184"/>
                <a:gd name="T69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356">
                  <a:moveTo>
                    <a:pt x="45" y="356"/>
                  </a:moveTo>
                  <a:lnTo>
                    <a:pt x="30" y="351"/>
                  </a:lnTo>
                  <a:lnTo>
                    <a:pt x="25" y="336"/>
                  </a:lnTo>
                  <a:lnTo>
                    <a:pt x="20" y="323"/>
                  </a:lnTo>
                  <a:lnTo>
                    <a:pt x="20" y="306"/>
                  </a:lnTo>
                  <a:lnTo>
                    <a:pt x="20" y="284"/>
                  </a:lnTo>
                  <a:lnTo>
                    <a:pt x="20" y="254"/>
                  </a:lnTo>
                  <a:lnTo>
                    <a:pt x="23" y="239"/>
                  </a:lnTo>
                  <a:lnTo>
                    <a:pt x="33" y="234"/>
                  </a:lnTo>
                  <a:lnTo>
                    <a:pt x="33" y="209"/>
                  </a:lnTo>
                  <a:lnTo>
                    <a:pt x="45" y="202"/>
                  </a:lnTo>
                  <a:lnTo>
                    <a:pt x="50" y="192"/>
                  </a:lnTo>
                  <a:lnTo>
                    <a:pt x="45" y="177"/>
                  </a:lnTo>
                  <a:lnTo>
                    <a:pt x="43" y="162"/>
                  </a:lnTo>
                  <a:lnTo>
                    <a:pt x="50" y="140"/>
                  </a:lnTo>
                  <a:lnTo>
                    <a:pt x="40" y="120"/>
                  </a:lnTo>
                  <a:lnTo>
                    <a:pt x="15" y="117"/>
                  </a:lnTo>
                  <a:lnTo>
                    <a:pt x="8" y="102"/>
                  </a:lnTo>
                  <a:lnTo>
                    <a:pt x="0" y="100"/>
                  </a:lnTo>
                  <a:lnTo>
                    <a:pt x="28" y="95"/>
                  </a:lnTo>
                  <a:lnTo>
                    <a:pt x="33" y="82"/>
                  </a:lnTo>
                  <a:lnTo>
                    <a:pt x="48" y="75"/>
                  </a:lnTo>
                  <a:lnTo>
                    <a:pt x="60" y="82"/>
                  </a:lnTo>
                  <a:lnTo>
                    <a:pt x="75" y="85"/>
                  </a:lnTo>
                  <a:lnTo>
                    <a:pt x="72" y="100"/>
                  </a:lnTo>
                  <a:lnTo>
                    <a:pt x="67" y="117"/>
                  </a:lnTo>
                  <a:lnTo>
                    <a:pt x="75" y="125"/>
                  </a:lnTo>
                  <a:lnTo>
                    <a:pt x="87" y="122"/>
                  </a:lnTo>
                  <a:lnTo>
                    <a:pt x="92" y="110"/>
                  </a:lnTo>
                  <a:lnTo>
                    <a:pt x="105" y="102"/>
                  </a:lnTo>
                  <a:lnTo>
                    <a:pt x="102" y="85"/>
                  </a:lnTo>
                  <a:lnTo>
                    <a:pt x="97" y="72"/>
                  </a:lnTo>
                  <a:lnTo>
                    <a:pt x="90" y="62"/>
                  </a:lnTo>
                  <a:lnTo>
                    <a:pt x="85" y="57"/>
                  </a:lnTo>
                  <a:lnTo>
                    <a:pt x="77" y="48"/>
                  </a:lnTo>
                  <a:lnTo>
                    <a:pt x="80" y="35"/>
                  </a:lnTo>
                  <a:lnTo>
                    <a:pt x="82" y="18"/>
                  </a:lnTo>
                  <a:lnTo>
                    <a:pt x="80" y="0"/>
                  </a:lnTo>
                  <a:lnTo>
                    <a:pt x="95" y="13"/>
                  </a:lnTo>
                  <a:lnTo>
                    <a:pt x="97" y="23"/>
                  </a:lnTo>
                  <a:lnTo>
                    <a:pt x="135" y="28"/>
                  </a:lnTo>
                  <a:lnTo>
                    <a:pt x="137" y="15"/>
                  </a:lnTo>
                  <a:lnTo>
                    <a:pt x="159" y="15"/>
                  </a:lnTo>
                  <a:lnTo>
                    <a:pt x="162" y="8"/>
                  </a:lnTo>
                  <a:lnTo>
                    <a:pt x="184" y="3"/>
                  </a:lnTo>
                  <a:lnTo>
                    <a:pt x="184" y="38"/>
                  </a:lnTo>
                  <a:lnTo>
                    <a:pt x="184" y="105"/>
                  </a:lnTo>
                  <a:lnTo>
                    <a:pt x="172" y="117"/>
                  </a:lnTo>
                  <a:lnTo>
                    <a:pt x="169" y="127"/>
                  </a:lnTo>
                  <a:lnTo>
                    <a:pt x="140" y="132"/>
                  </a:lnTo>
                  <a:lnTo>
                    <a:pt x="137" y="142"/>
                  </a:lnTo>
                  <a:lnTo>
                    <a:pt x="125" y="144"/>
                  </a:lnTo>
                  <a:lnTo>
                    <a:pt x="120" y="152"/>
                  </a:lnTo>
                  <a:lnTo>
                    <a:pt x="115" y="174"/>
                  </a:lnTo>
                  <a:lnTo>
                    <a:pt x="100" y="177"/>
                  </a:lnTo>
                  <a:lnTo>
                    <a:pt x="90" y="184"/>
                  </a:lnTo>
                  <a:lnTo>
                    <a:pt x="85" y="194"/>
                  </a:lnTo>
                  <a:lnTo>
                    <a:pt x="85" y="234"/>
                  </a:lnTo>
                  <a:lnTo>
                    <a:pt x="87" y="236"/>
                  </a:lnTo>
                  <a:lnTo>
                    <a:pt x="87" y="271"/>
                  </a:lnTo>
                  <a:lnTo>
                    <a:pt x="90" y="289"/>
                  </a:lnTo>
                  <a:lnTo>
                    <a:pt x="85" y="291"/>
                  </a:lnTo>
                  <a:lnTo>
                    <a:pt x="82" y="299"/>
                  </a:lnTo>
                  <a:lnTo>
                    <a:pt x="67" y="299"/>
                  </a:lnTo>
                  <a:lnTo>
                    <a:pt x="65" y="304"/>
                  </a:lnTo>
                  <a:lnTo>
                    <a:pt x="48" y="306"/>
                  </a:lnTo>
                  <a:lnTo>
                    <a:pt x="48" y="321"/>
                  </a:lnTo>
                  <a:lnTo>
                    <a:pt x="48" y="333"/>
                  </a:lnTo>
                  <a:lnTo>
                    <a:pt x="48" y="346"/>
                  </a:lnTo>
                  <a:lnTo>
                    <a:pt x="45" y="35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8" name="Freeform 245"/>
            <p:cNvSpPr>
              <a:spLocks/>
            </p:cNvSpPr>
            <p:nvPr/>
          </p:nvSpPr>
          <p:spPr bwMode="auto">
            <a:xfrm>
              <a:off x="5015926" y="4408314"/>
              <a:ext cx="279212" cy="312315"/>
            </a:xfrm>
            <a:custGeom>
              <a:avLst/>
              <a:gdLst>
                <a:gd name="T0" fmla="*/ 194 w 194"/>
                <a:gd name="T1" fmla="*/ 192 h 217"/>
                <a:gd name="T2" fmla="*/ 172 w 194"/>
                <a:gd name="T3" fmla="*/ 197 h 217"/>
                <a:gd name="T4" fmla="*/ 169 w 194"/>
                <a:gd name="T5" fmla="*/ 204 h 217"/>
                <a:gd name="T6" fmla="*/ 147 w 194"/>
                <a:gd name="T7" fmla="*/ 204 h 217"/>
                <a:gd name="T8" fmla="*/ 145 w 194"/>
                <a:gd name="T9" fmla="*/ 217 h 217"/>
                <a:gd name="T10" fmla="*/ 107 w 194"/>
                <a:gd name="T11" fmla="*/ 212 h 217"/>
                <a:gd name="T12" fmla="*/ 105 w 194"/>
                <a:gd name="T13" fmla="*/ 202 h 217"/>
                <a:gd name="T14" fmla="*/ 90 w 194"/>
                <a:gd name="T15" fmla="*/ 189 h 217"/>
                <a:gd name="T16" fmla="*/ 75 w 194"/>
                <a:gd name="T17" fmla="*/ 182 h 217"/>
                <a:gd name="T18" fmla="*/ 67 w 194"/>
                <a:gd name="T19" fmla="*/ 177 h 217"/>
                <a:gd name="T20" fmla="*/ 55 w 194"/>
                <a:gd name="T21" fmla="*/ 159 h 217"/>
                <a:gd name="T22" fmla="*/ 40 w 194"/>
                <a:gd name="T23" fmla="*/ 152 h 217"/>
                <a:gd name="T24" fmla="*/ 28 w 194"/>
                <a:gd name="T25" fmla="*/ 140 h 217"/>
                <a:gd name="T26" fmla="*/ 25 w 194"/>
                <a:gd name="T27" fmla="*/ 130 h 217"/>
                <a:gd name="T28" fmla="*/ 13 w 194"/>
                <a:gd name="T29" fmla="*/ 130 h 217"/>
                <a:gd name="T30" fmla="*/ 13 w 194"/>
                <a:gd name="T31" fmla="*/ 120 h 217"/>
                <a:gd name="T32" fmla="*/ 13 w 194"/>
                <a:gd name="T33" fmla="*/ 107 h 217"/>
                <a:gd name="T34" fmla="*/ 8 w 194"/>
                <a:gd name="T35" fmla="*/ 97 h 217"/>
                <a:gd name="T36" fmla="*/ 5 w 194"/>
                <a:gd name="T37" fmla="*/ 87 h 217"/>
                <a:gd name="T38" fmla="*/ 5 w 194"/>
                <a:gd name="T39" fmla="*/ 70 h 217"/>
                <a:gd name="T40" fmla="*/ 0 w 194"/>
                <a:gd name="T41" fmla="*/ 58 h 217"/>
                <a:gd name="T42" fmla="*/ 10 w 194"/>
                <a:gd name="T43" fmla="*/ 55 h 217"/>
                <a:gd name="T44" fmla="*/ 25 w 194"/>
                <a:gd name="T45" fmla="*/ 55 h 217"/>
                <a:gd name="T46" fmla="*/ 23 w 194"/>
                <a:gd name="T47" fmla="*/ 33 h 217"/>
                <a:gd name="T48" fmla="*/ 18 w 194"/>
                <a:gd name="T49" fmla="*/ 25 h 217"/>
                <a:gd name="T50" fmla="*/ 15 w 194"/>
                <a:gd name="T51" fmla="*/ 5 h 217"/>
                <a:gd name="T52" fmla="*/ 23 w 194"/>
                <a:gd name="T53" fmla="*/ 0 h 217"/>
                <a:gd name="T54" fmla="*/ 43 w 194"/>
                <a:gd name="T55" fmla="*/ 0 h 217"/>
                <a:gd name="T56" fmla="*/ 77 w 194"/>
                <a:gd name="T57" fmla="*/ 0 h 217"/>
                <a:gd name="T58" fmla="*/ 92 w 194"/>
                <a:gd name="T59" fmla="*/ 0 h 217"/>
                <a:gd name="T60" fmla="*/ 127 w 194"/>
                <a:gd name="T61" fmla="*/ 30 h 217"/>
                <a:gd name="T62" fmla="*/ 147 w 194"/>
                <a:gd name="T63" fmla="*/ 35 h 217"/>
                <a:gd name="T64" fmla="*/ 147 w 194"/>
                <a:gd name="T65" fmla="*/ 50 h 217"/>
                <a:gd name="T66" fmla="*/ 174 w 194"/>
                <a:gd name="T67" fmla="*/ 65 h 217"/>
                <a:gd name="T68" fmla="*/ 177 w 194"/>
                <a:gd name="T69" fmla="*/ 75 h 217"/>
                <a:gd name="T70" fmla="*/ 177 w 194"/>
                <a:gd name="T71" fmla="*/ 90 h 217"/>
                <a:gd name="T72" fmla="*/ 169 w 194"/>
                <a:gd name="T73" fmla="*/ 97 h 217"/>
                <a:gd name="T74" fmla="*/ 167 w 194"/>
                <a:gd name="T75" fmla="*/ 110 h 217"/>
                <a:gd name="T76" fmla="*/ 177 w 194"/>
                <a:gd name="T77" fmla="*/ 112 h 217"/>
                <a:gd name="T78" fmla="*/ 177 w 194"/>
                <a:gd name="T79" fmla="*/ 132 h 217"/>
                <a:gd name="T80" fmla="*/ 179 w 194"/>
                <a:gd name="T81" fmla="*/ 152 h 217"/>
                <a:gd name="T82" fmla="*/ 182 w 194"/>
                <a:gd name="T83" fmla="*/ 174 h 217"/>
                <a:gd name="T84" fmla="*/ 189 w 194"/>
                <a:gd name="T85" fmla="*/ 182 h 217"/>
                <a:gd name="T86" fmla="*/ 194 w 194"/>
                <a:gd name="T87" fmla="*/ 19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4" h="217">
                  <a:moveTo>
                    <a:pt x="194" y="192"/>
                  </a:moveTo>
                  <a:lnTo>
                    <a:pt x="172" y="197"/>
                  </a:lnTo>
                  <a:lnTo>
                    <a:pt x="169" y="204"/>
                  </a:lnTo>
                  <a:lnTo>
                    <a:pt x="147" y="204"/>
                  </a:lnTo>
                  <a:lnTo>
                    <a:pt x="145" y="217"/>
                  </a:lnTo>
                  <a:lnTo>
                    <a:pt x="107" y="212"/>
                  </a:lnTo>
                  <a:lnTo>
                    <a:pt x="105" y="202"/>
                  </a:lnTo>
                  <a:lnTo>
                    <a:pt x="90" y="189"/>
                  </a:lnTo>
                  <a:lnTo>
                    <a:pt x="75" y="182"/>
                  </a:lnTo>
                  <a:lnTo>
                    <a:pt x="67" y="177"/>
                  </a:lnTo>
                  <a:lnTo>
                    <a:pt x="55" y="159"/>
                  </a:lnTo>
                  <a:lnTo>
                    <a:pt x="40" y="152"/>
                  </a:lnTo>
                  <a:lnTo>
                    <a:pt x="28" y="140"/>
                  </a:lnTo>
                  <a:lnTo>
                    <a:pt x="25" y="130"/>
                  </a:lnTo>
                  <a:lnTo>
                    <a:pt x="13" y="130"/>
                  </a:lnTo>
                  <a:lnTo>
                    <a:pt x="13" y="120"/>
                  </a:lnTo>
                  <a:lnTo>
                    <a:pt x="13" y="107"/>
                  </a:lnTo>
                  <a:lnTo>
                    <a:pt x="8" y="97"/>
                  </a:lnTo>
                  <a:lnTo>
                    <a:pt x="5" y="87"/>
                  </a:lnTo>
                  <a:lnTo>
                    <a:pt x="5" y="70"/>
                  </a:lnTo>
                  <a:lnTo>
                    <a:pt x="0" y="58"/>
                  </a:lnTo>
                  <a:lnTo>
                    <a:pt x="10" y="55"/>
                  </a:lnTo>
                  <a:lnTo>
                    <a:pt x="25" y="55"/>
                  </a:lnTo>
                  <a:lnTo>
                    <a:pt x="23" y="33"/>
                  </a:lnTo>
                  <a:lnTo>
                    <a:pt x="18" y="25"/>
                  </a:lnTo>
                  <a:lnTo>
                    <a:pt x="15" y="5"/>
                  </a:lnTo>
                  <a:lnTo>
                    <a:pt x="23" y="0"/>
                  </a:lnTo>
                  <a:lnTo>
                    <a:pt x="43" y="0"/>
                  </a:lnTo>
                  <a:lnTo>
                    <a:pt x="77" y="0"/>
                  </a:lnTo>
                  <a:lnTo>
                    <a:pt x="92" y="0"/>
                  </a:lnTo>
                  <a:lnTo>
                    <a:pt x="127" y="30"/>
                  </a:lnTo>
                  <a:lnTo>
                    <a:pt x="147" y="35"/>
                  </a:lnTo>
                  <a:lnTo>
                    <a:pt x="147" y="50"/>
                  </a:lnTo>
                  <a:lnTo>
                    <a:pt x="174" y="65"/>
                  </a:lnTo>
                  <a:lnTo>
                    <a:pt x="177" y="75"/>
                  </a:lnTo>
                  <a:lnTo>
                    <a:pt x="177" y="90"/>
                  </a:lnTo>
                  <a:lnTo>
                    <a:pt x="169" y="97"/>
                  </a:lnTo>
                  <a:lnTo>
                    <a:pt x="167" y="110"/>
                  </a:lnTo>
                  <a:lnTo>
                    <a:pt x="177" y="112"/>
                  </a:lnTo>
                  <a:lnTo>
                    <a:pt x="177" y="132"/>
                  </a:lnTo>
                  <a:lnTo>
                    <a:pt x="179" y="152"/>
                  </a:lnTo>
                  <a:lnTo>
                    <a:pt x="182" y="174"/>
                  </a:lnTo>
                  <a:lnTo>
                    <a:pt x="189" y="182"/>
                  </a:lnTo>
                  <a:lnTo>
                    <a:pt x="194" y="19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29" name="Freeform 246"/>
            <p:cNvSpPr>
              <a:spLocks/>
            </p:cNvSpPr>
            <p:nvPr/>
          </p:nvSpPr>
          <p:spPr bwMode="auto">
            <a:xfrm>
              <a:off x="5015926" y="4261512"/>
              <a:ext cx="125214" cy="153999"/>
            </a:xfrm>
            <a:custGeom>
              <a:avLst/>
              <a:gdLst>
                <a:gd name="T0" fmla="*/ 77 w 87"/>
                <a:gd name="T1" fmla="*/ 0 h 107"/>
                <a:gd name="T2" fmla="*/ 87 w 87"/>
                <a:gd name="T3" fmla="*/ 18 h 107"/>
                <a:gd name="T4" fmla="*/ 87 w 87"/>
                <a:gd name="T5" fmla="*/ 50 h 107"/>
                <a:gd name="T6" fmla="*/ 77 w 87"/>
                <a:gd name="T7" fmla="*/ 70 h 107"/>
                <a:gd name="T8" fmla="*/ 72 w 87"/>
                <a:gd name="T9" fmla="*/ 90 h 107"/>
                <a:gd name="T10" fmla="*/ 77 w 87"/>
                <a:gd name="T11" fmla="*/ 102 h 107"/>
                <a:gd name="T12" fmla="*/ 43 w 87"/>
                <a:gd name="T13" fmla="*/ 102 h 107"/>
                <a:gd name="T14" fmla="*/ 23 w 87"/>
                <a:gd name="T15" fmla="*/ 102 h 107"/>
                <a:gd name="T16" fmla="*/ 15 w 87"/>
                <a:gd name="T17" fmla="*/ 107 h 107"/>
                <a:gd name="T18" fmla="*/ 0 w 87"/>
                <a:gd name="T19" fmla="*/ 102 h 107"/>
                <a:gd name="T20" fmla="*/ 5 w 87"/>
                <a:gd name="T21" fmla="*/ 60 h 107"/>
                <a:gd name="T22" fmla="*/ 25 w 87"/>
                <a:gd name="T23" fmla="*/ 53 h 107"/>
                <a:gd name="T24" fmla="*/ 35 w 87"/>
                <a:gd name="T25" fmla="*/ 48 h 107"/>
                <a:gd name="T26" fmla="*/ 35 w 87"/>
                <a:gd name="T27" fmla="*/ 38 h 107"/>
                <a:gd name="T28" fmla="*/ 25 w 87"/>
                <a:gd name="T29" fmla="*/ 35 h 107"/>
                <a:gd name="T30" fmla="*/ 25 w 87"/>
                <a:gd name="T31" fmla="*/ 28 h 107"/>
                <a:gd name="T32" fmla="*/ 20 w 87"/>
                <a:gd name="T33" fmla="*/ 5 h 107"/>
                <a:gd name="T34" fmla="*/ 40 w 87"/>
                <a:gd name="T35" fmla="*/ 5 h 107"/>
                <a:gd name="T36" fmla="*/ 58 w 87"/>
                <a:gd name="T37" fmla="*/ 5 h 107"/>
                <a:gd name="T38" fmla="*/ 77 w 87"/>
                <a:gd name="T3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7">
                  <a:moveTo>
                    <a:pt x="77" y="0"/>
                  </a:moveTo>
                  <a:lnTo>
                    <a:pt x="87" y="18"/>
                  </a:lnTo>
                  <a:lnTo>
                    <a:pt x="87" y="50"/>
                  </a:lnTo>
                  <a:lnTo>
                    <a:pt x="77" y="70"/>
                  </a:lnTo>
                  <a:lnTo>
                    <a:pt x="72" y="90"/>
                  </a:lnTo>
                  <a:lnTo>
                    <a:pt x="77" y="102"/>
                  </a:lnTo>
                  <a:lnTo>
                    <a:pt x="43" y="102"/>
                  </a:lnTo>
                  <a:lnTo>
                    <a:pt x="23" y="102"/>
                  </a:lnTo>
                  <a:lnTo>
                    <a:pt x="15" y="107"/>
                  </a:lnTo>
                  <a:lnTo>
                    <a:pt x="0" y="102"/>
                  </a:lnTo>
                  <a:lnTo>
                    <a:pt x="5" y="60"/>
                  </a:lnTo>
                  <a:lnTo>
                    <a:pt x="25" y="53"/>
                  </a:lnTo>
                  <a:lnTo>
                    <a:pt x="35" y="48"/>
                  </a:lnTo>
                  <a:lnTo>
                    <a:pt x="35" y="38"/>
                  </a:lnTo>
                  <a:lnTo>
                    <a:pt x="25" y="35"/>
                  </a:lnTo>
                  <a:lnTo>
                    <a:pt x="25" y="28"/>
                  </a:lnTo>
                  <a:lnTo>
                    <a:pt x="20" y="5"/>
                  </a:lnTo>
                  <a:lnTo>
                    <a:pt x="40" y="5"/>
                  </a:lnTo>
                  <a:lnTo>
                    <a:pt x="58" y="5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0" name="Freeform 247"/>
            <p:cNvSpPr>
              <a:spLocks/>
            </p:cNvSpPr>
            <p:nvPr/>
          </p:nvSpPr>
          <p:spPr bwMode="auto">
            <a:xfrm>
              <a:off x="5316727" y="4022599"/>
              <a:ext cx="53251" cy="53252"/>
            </a:xfrm>
            <a:custGeom>
              <a:avLst/>
              <a:gdLst>
                <a:gd name="T0" fmla="*/ 20 w 37"/>
                <a:gd name="T1" fmla="*/ 37 h 37"/>
                <a:gd name="T2" fmla="*/ 0 w 37"/>
                <a:gd name="T3" fmla="*/ 32 h 37"/>
                <a:gd name="T4" fmla="*/ 3 w 37"/>
                <a:gd name="T5" fmla="*/ 0 h 37"/>
                <a:gd name="T6" fmla="*/ 37 w 37"/>
                <a:gd name="T7" fmla="*/ 20 h 37"/>
                <a:gd name="T8" fmla="*/ 20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0" y="37"/>
                  </a:moveTo>
                  <a:lnTo>
                    <a:pt x="0" y="32"/>
                  </a:lnTo>
                  <a:lnTo>
                    <a:pt x="3" y="0"/>
                  </a:lnTo>
                  <a:lnTo>
                    <a:pt x="37" y="20"/>
                  </a:lnTo>
                  <a:lnTo>
                    <a:pt x="2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1" name="Freeform 248"/>
            <p:cNvSpPr>
              <a:spLocks/>
            </p:cNvSpPr>
            <p:nvPr/>
          </p:nvSpPr>
          <p:spPr bwMode="auto">
            <a:xfrm>
              <a:off x="4933890" y="5228678"/>
              <a:ext cx="64765" cy="63326"/>
            </a:xfrm>
            <a:custGeom>
              <a:avLst/>
              <a:gdLst>
                <a:gd name="T0" fmla="*/ 15 w 45"/>
                <a:gd name="T1" fmla="*/ 2 h 44"/>
                <a:gd name="T2" fmla="*/ 10 w 45"/>
                <a:gd name="T3" fmla="*/ 12 h 44"/>
                <a:gd name="T4" fmla="*/ 0 w 45"/>
                <a:gd name="T5" fmla="*/ 15 h 44"/>
                <a:gd name="T6" fmla="*/ 0 w 45"/>
                <a:gd name="T7" fmla="*/ 42 h 44"/>
                <a:gd name="T8" fmla="*/ 15 w 45"/>
                <a:gd name="T9" fmla="*/ 39 h 44"/>
                <a:gd name="T10" fmla="*/ 20 w 45"/>
                <a:gd name="T11" fmla="*/ 44 h 44"/>
                <a:gd name="T12" fmla="*/ 28 w 45"/>
                <a:gd name="T13" fmla="*/ 44 h 44"/>
                <a:gd name="T14" fmla="*/ 33 w 45"/>
                <a:gd name="T15" fmla="*/ 37 h 44"/>
                <a:gd name="T16" fmla="*/ 37 w 45"/>
                <a:gd name="T17" fmla="*/ 27 h 44"/>
                <a:gd name="T18" fmla="*/ 45 w 45"/>
                <a:gd name="T19" fmla="*/ 27 h 44"/>
                <a:gd name="T20" fmla="*/ 45 w 45"/>
                <a:gd name="T21" fmla="*/ 2 h 44"/>
                <a:gd name="T22" fmla="*/ 28 w 45"/>
                <a:gd name="T23" fmla="*/ 0 h 44"/>
                <a:gd name="T24" fmla="*/ 15 w 45"/>
                <a:gd name="T25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4">
                  <a:moveTo>
                    <a:pt x="15" y="2"/>
                  </a:moveTo>
                  <a:lnTo>
                    <a:pt x="10" y="12"/>
                  </a:lnTo>
                  <a:lnTo>
                    <a:pt x="0" y="15"/>
                  </a:lnTo>
                  <a:lnTo>
                    <a:pt x="0" y="42"/>
                  </a:lnTo>
                  <a:lnTo>
                    <a:pt x="15" y="39"/>
                  </a:lnTo>
                  <a:lnTo>
                    <a:pt x="20" y="44"/>
                  </a:lnTo>
                  <a:lnTo>
                    <a:pt x="28" y="44"/>
                  </a:lnTo>
                  <a:lnTo>
                    <a:pt x="33" y="37"/>
                  </a:lnTo>
                  <a:lnTo>
                    <a:pt x="37" y="27"/>
                  </a:lnTo>
                  <a:lnTo>
                    <a:pt x="45" y="27"/>
                  </a:lnTo>
                  <a:lnTo>
                    <a:pt x="45" y="2"/>
                  </a:lnTo>
                  <a:lnTo>
                    <a:pt x="28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2" name="Freeform 249"/>
            <p:cNvSpPr>
              <a:spLocks/>
            </p:cNvSpPr>
            <p:nvPr/>
          </p:nvSpPr>
          <p:spPr bwMode="auto">
            <a:xfrm>
              <a:off x="5338315" y="3815349"/>
              <a:ext cx="257624" cy="192858"/>
            </a:xfrm>
            <a:custGeom>
              <a:avLst/>
              <a:gdLst>
                <a:gd name="T0" fmla="*/ 65 w 179"/>
                <a:gd name="T1" fmla="*/ 72 h 134"/>
                <a:gd name="T2" fmla="*/ 65 w 179"/>
                <a:gd name="T3" fmla="*/ 57 h 134"/>
                <a:gd name="T4" fmla="*/ 65 w 179"/>
                <a:gd name="T5" fmla="*/ 45 h 134"/>
                <a:gd name="T6" fmla="*/ 57 w 179"/>
                <a:gd name="T7" fmla="*/ 42 h 134"/>
                <a:gd name="T8" fmla="*/ 35 w 179"/>
                <a:gd name="T9" fmla="*/ 40 h 134"/>
                <a:gd name="T10" fmla="*/ 15 w 179"/>
                <a:gd name="T11" fmla="*/ 42 h 134"/>
                <a:gd name="T12" fmla="*/ 0 w 179"/>
                <a:gd name="T13" fmla="*/ 49 h 134"/>
                <a:gd name="T14" fmla="*/ 3 w 179"/>
                <a:gd name="T15" fmla="*/ 89 h 134"/>
                <a:gd name="T16" fmla="*/ 3 w 179"/>
                <a:gd name="T17" fmla="*/ 112 h 134"/>
                <a:gd name="T18" fmla="*/ 10 w 179"/>
                <a:gd name="T19" fmla="*/ 124 h 134"/>
                <a:gd name="T20" fmla="*/ 30 w 179"/>
                <a:gd name="T21" fmla="*/ 134 h 134"/>
                <a:gd name="T22" fmla="*/ 42 w 179"/>
                <a:gd name="T23" fmla="*/ 122 h 134"/>
                <a:gd name="T24" fmla="*/ 60 w 179"/>
                <a:gd name="T25" fmla="*/ 104 h 134"/>
                <a:gd name="T26" fmla="*/ 67 w 179"/>
                <a:gd name="T27" fmla="*/ 97 h 134"/>
                <a:gd name="T28" fmla="*/ 112 w 179"/>
                <a:gd name="T29" fmla="*/ 97 h 134"/>
                <a:gd name="T30" fmla="*/ 124 w 179"/>
                <a:gd name="T31" fmla="*/ 84 h 134"/>
                <a:gd name="T32" fmla="*/ 164 w 179"/>
                <a:gd name="T33" fmla="*/ 74 h 134"/>
                <a:gd name="T34" fmla="*/ 164 w 179"/>
                <a:gd name="T35" fmla="*/ 62 h 134"/>
                <a:gd name="T36" fmla="*/ 179 w 179"/>
                <a:gd name="T37" fmla="*/ 49 h 134"/>
                <a:gd name="T38" fmla="*/ 169 w 179"/>
                <a:gd name="T39" fmla="*/ 22 h 134"/>
                <a:gd name="T40" fmla="*/ 162 w 179"/>
                <a:gd name="T41" fmla="*/ 0 h 134"/>
                <a:gd name="T42" fmla="*/ 109 w 179"/>
                <a:gd name="T43" fmla="*/ 10 h 134"/>
                <a:gd name="T44" fmla="*/ 95 w 179"/>
                <a:gd name="T45" fmla="*/ 27 h 134"/>
                <a:gd name="T46" fmla="*/ 87 w 179"/>
                <a:gd name="T47" fmla="*/ 54 h 134"/>
                <a:gd name="T48" fmla="*/ 65 w 179"/>
                <a:gd name="T49" fmla="*/ 7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34">
                  <a:moveTo>
                    <a:pt x="65" y="72"/>
                  </a:moveTo>
                  <a:lnTo>
                    <a:pt x="65" y="57"/>
                  </a:lnTo>
                  <a:lnTo>
                    <a:pt x="65" y="45"/>
                  </a:lnTo>
                  <a:lnTo>
                    <a:pt x="57" y="42"/>
                  </a:lnTo>
                  <a:lnTo>
                    <a:pt x="35" y="40"/>
                  </a:lnTo>
                  <a:lnTo>
                    <a:pt x="15" y="42"/>
                  </a:lnTo>
                  <a:lnTo>
                    <a:pt x="0" y="49"/>
                  </a:lnTo>
                  <a:lnTo>
                    <a:pt x="3" y="89"/>
                  </a:lnTo>
                  <a:lnTo>
                    <a:pt x="3" y="112"/>
                  </a:lnTo>
                  <a:lnTo>
                    <a:pt x="10" y="124"/>
                  </a:lnTo>
                  <a:lnTo>
                    <a:pt x="30" y="134"/>
                  </a:lnTo>
                  <a:lnTo>
                    <a:pt x="42" y="122"/>
                  </a:lnTo>
                  <a:lnTo>
                    <a:pt x="60" y="104"/>
                  </a:lnTo>
                  <a:lnTo>
                    <a:pt x="67" y="97"/>
                  </a:lnTo>
                  <a:lnTo>
                    <a:pt x="112" y="97"/>
                  </a:lnTo>
                  <a:lnTo>
                    <a:pt x="124" y="84"/>
                  </a:lnTo>
                  <a:lnTo>
                    <a:pt x="164" y="74"/>
                  </a:lnTo>
                  <a:lnTo>
                    <a:pt x="164" y="62"/>
                  </a:lnTo>
                  <a:lnTo>
                    <a:pt x="179" y="49"/>
                  </a:lnTo>
                  <a:lnTo>
                    <a:pt x="169" y="22"/>
                  </a:lnTo>
                  <a:lnTo>
                    <a:pt x="162" y="0"/>
                  </a:lnTo>
                  <a:lnTo>
                    <a:pt x="109" y="10"/>
                  </a:lnTo>
                  <a:lnTo>
                    <a:pt x="95" y="27"/>
                  </a:lnTo>
                  <a:lnTo>
                    <a:pt x="87" y="54"/>
                  </a:lnTo>
                  <a:lnTo>
                    <a:pt x="65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3" name="Freeform 250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75 w 214"/>
                <a:gd name="T1" fmla="*/ 211 h 211"/>
                <a:gd name="T2" fmla="*/ 85 w 214"/>
                <a:gd name="T3" fmla="*/ 208 h 211"/>
                <a:gd name="T4" fmla="*/ 100 w 214"/>
                <a:gd name="T5" fmla="*/ 208 h 211"/>
                <a:gd name="T6" fmla="*/ 110 w 214"/>
                <a:gd name="T7" fmla="*/ 203 h 211"/>
                <a:gd name="T8" fmla="*/ 112 w 214"/>
                <a:gd name="T9" fmla="*/ 191 h 211"/>
                <a:gd name="T10" fmla="*/ 122 w 214"/>
                <a:gd name="T11" fmla="*/ 189 h 211"/>
                <a:gd name="T12" fmla="*/ 129 w 214"/>
                <a:gd name="T13" fmla="*/ 184 h 211"/>
                <a:gd name="T14" fmla="*/ 132 w 214"/>
                <a:gd name="T15" fmla="*/ 171 h 211"/>
                <a:gd name="T16" fmla="*/ 147 w 214"/>
                <a:gd name="T17" fmla="*/ 169 h 211"/>
                <a:gd name="T18" fmla="*/ 154 w 214"/>
                <a:gd name="T19" fmla="*/ 159 h 211"/>
                <a:gd name="T20" fmla="*/ 182 w 214"/>
                <a:gd name="T21" fmla="*/ 154 h 211"/>
                <a:gd name="T22" fmla="*/ 187 w 214"/>
                <a:gd name="T23" fmla="*/ 141 h 211"/>
                <a:gd name="T24" fmla="*/ 202 w 214"/>
                <a:gd name="T25" fmla="*/ 134 h 211"/>
                <a:gd name="T26" fmla="*/ 204 w 214"/>
                <a:gd name="T27" fmla="*/ 102 h 211"/>
                <a:gd name="T28" fmla="*/ 214 w 214"/>
                <a:gd name="T29" fmla="*/ 94 h 211"/>
                <a:gd name="T30" fmla="*/ 209 w 214"/>
                <a:gd name="T31" fmla="*/ 72 h 211"/>
                <a:gd name="T32" fmla="*/ 211 w 214"/>
                <a:gd name="T33" fmla="*/ 47 h 211"/>
                <a:gd name="T34" fmla="*/ 199 w 214"/>
                <a:gd name="T35" fmla="*/ 29 h 211"/>
                <a:gd name="T36" fmla="*/ 184 w 214"/>
                <a:gd name="T37" fmla="*/ 22 h 211"/>
                <a:gd name="T38" fmla="*/ 172 w 214"/>
                <a:gd name="T39" fmla="*/ 10 h 211"/>
                <a:gd name="T40" fmla="*/ 169 w 214"/>
                <a:gd name="T41" fmla="*/ 0 h 211"/>
                <a:gd name="T42" fmla="*/ 157 w 214"/>
                <a:gd name="T43" fmla="*/ 0 h 211"/>
                <a:gd name="T44" fmla="*/ 152 w 214"/>
                <a:gd name="T45" fmla="*/ 12 h 211"/>
                <a:gd name="T46" fmla="*/ 139 w 214"/>
                <a:gd name="T47" fmla="*/ 17 h 211"/>
                <a:gd name="T48" fmla="*/ 132 w 214"/>
                <a:gd name="T49" fmla="*/ 29 h 211"/>
                <a:gd name="T50" fmla="*/ 127 w 214"/>
                <a:gd name="T51" fmla="*/ 84 h 211"/>
                <a:gd name="T52" fmla="*/ 134 w 214"/>
                <a:gd name="T53" fmla="*/ 92 h 211"/>
                <a:gd name="T54" fmla="*/ 147 w 214"/>
                <a:gd name="T55" fmla="*/ 92 h 211"/>
                <a:gd name="T56" fmla="*/ 149 w 214"/>
                <a:gd name="T57" fmla="*/ 114 h 211"/>
                <a:gd name="T58" fmla="*/ 144 w 214"/>
                <a:gd name="T59" fmla="*/ 126 h 211"/>
                <a:gd name="T60" fmla="*/ 127 w 214"/>
                <a:gd name="T61" fmla="*/ 126 h 211"/>
                <a:gd name="T62" fmla="*/ 120 w 214"/>
                <a:gd name="T63" fmla="*/ 116 h 211"/>
                <a:gd name="T64" fmla="*/ 115 w 214"/>
                <a:gd name="T65" fmla="*/ 97 h 211"/>
                <a:gd name="T66" fmla="*/ 100 w 214"/>
                <a:gd name="T67" fmla="*/ 89 h 211"/>
                <a:gd name="T68" fmla="*/ 100 w 214"/>
                <a:gd name="T69" fmla="*/ 84 h 211"/>
                <a:gd name="T70" fmla="*/ 85 w 214"/>
                <a:gd name="T71" fmla="*/ 87 h 211"/>
                <a:gd name="T72" fmla="*/ 80 w 214"/>
                <a:gd name="T73" fmla="*/ 97 h 211"/>
                <a:gd name="T74" fmla="*/ 70 w 214"/>
                <a:gd name="T75" fmla="*/ 94 h 211"/>
                <a:gd name="T76" fmla="*/ 65 w 214"/>
                <a:gd name="T77" fmla="*/ 77 h 211"/>
                <a:gd name="T78" fmla="*/ 47 w 214"/>
                <a:gd name="T79" fmla="*/ 74 h 211"/>
                <a:gd name="T80" fmla="*/ 45 w 214"/>
                <a:gd name="T81" fmla="*/ 114 h 211"/>
                <a:gd name="T82" fmla="*/ 28 w 214"/>
                <a:gd name="T83" fmla="*/ 114 h 211"/>
                <a:gd name="T84" fmla="*/ 23 w 214"/>
                <a:gd name="T85" fmla="*/ 104 h 211"/>
                <a:gd name="T86" fmla="*/ 15 w 214"/>
                <a:gd name="T87" fmla="*/ 104 h 211"/>
                <a:gd name="T88" fmla="*/ 15 w 214"/>
                <a:gd name="T89" fmla="*/ 114 h 211"/>
                <a:gd name="T90" fmla="*/ 3 w 214"/>
                <a:gd name="T91" fmla="*/ 116 h 211"/>
                <a:gd name="T92" fmla="*/ 0 w 214"/>
                <a:gd name="T93" fmla="*/ 164 h 211"/>
                <a:gd name="T94" fmla="*/ 3 w 214"/>
                <a:gd name="T95" fmla="*/ 179 h 211"/>
                <a:gd name="T96" fmla="*/ 18 w 214"/>
                <a:gd name="T97" fmla="*/ 196 h 211"/>
                <a:gd name="T98" fmla="*/ 18 w 214"/>
                <a:gd name="T99" fmla="*/ 206 h 211"/>
                <a:gd name="T100" fmla="*/ 28 w 214"/>
                <a:gd name="T101" fmla="*/ 208 h 211"/>
                <a:gd name="T102" fmla="*/ 75 w 214"/>
                <a:gd name="T10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75" y="211"/>
                  </a:move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4" name="Freeform 251"/>
            <p:cNvSpPr>
              <a:spLocks/>
            </p:cNvSpPr>
            <p:nvPr/>
          </p:nvSpPr>
          <p:spPr bwMode="auto">
            <a:xfrm>
              <a:off x="4601426" y="3707407"/>
              <a:ext cx="272016" cy="461994"/>
            </a:xfrm>
            <a:custGeom>
              <a:avLst/>
              <a:gdLst>
                <a:gd name="T0" fmla="*/ 27 w 189"/>
                <a:gd name="T1" fmla="*/ 0 h 321"/>
                <a:gd name="T2" fmla="*/ 30 w 189"/>
                <a:gd name="T3" fmla="*/ 10 h 321"/>
                <a:gd name="T4" fmla="*/ 35 w 189"/>
                <a:gd name="T5" fmla="*/ 18 h 321"/>
                <a:gd name="T6" fmla="*/ 42 w 189"/>
                <a:gd name="T7" fmla="*/ 37 h 321"/>
                <a:gd name="T8" fmla="*/ 37 w 189"/>
                <a:gd name="T9" fmla="*/ 134 h 321"/>
                <a:gd name="T10" fmla="*/ 25 w 189"/>
                <a:gd name="T11" fmla="*/ 137 h 321"/>
                <a:gd name="T12" fmla="*/ 17 w 189"/>
                <a:gd name="T13" fmla="*/ 149 h 321"/>
                <a:gd name="T14" fmla="*/ 5 w 189"/>
                <a:gd name="T15" fmla="*/ 157 h 321"/>
                <a:gd name="T16" fmla="*/ 0 w 189"/>
                <a:gd name="T17" fmla="*/ 167 h 321"/>
                <a:gd name="T18" fmla="*/ 0 w 189"/>
                <a:gd name="T19" fmla="*/ 184 h 321"/>
                <a:gd name="T20" fmla="*/ 7 w 189"/>
                <a:gd name="T21" fmla="*/ 184 h 321"/>
                <a:gd name="T22" fmla="*/ 10 w 189"/>
                <a:gd name="T23" fmla="*/ 197 h 321"/>
                <a:gd name="T24" fmla="*/ 15 w 189"/>
                <a:gd name="T25" fmla="*/ 207 h 321"/>
                <a:gd name="T26" fmla="*/ 22 w 189"/>
                <a:gd name="T27" fmla="*/ 221 h 321"/>
                <a:gd name="T28" fmla="*/ 22 w 189"/>
                <a:gd name="T29" fmla="*/ 231 h 321"/>
                <a:gd name="T30" fmla="*/ 15 w 189"/>
                <a:gd name="T31" fmla="*/ 236 h 321"/>
                <a:gd name="T32" fmla="*/ 20 w 189"/>
                <a:gd name="T33" fmla="*/ 239 h 321"/>
                <a:gd name="T34" fmla="*/ 22 w 189"/>
                <a:gd name="T35" fmla="*/ 251 h 321"/>
                <a:gd name="T36" fmla="*/ 30 w 189"/>
                <a:gd name="T37" fmla="*/ 259 h 321"/>
                <a:gd name="T38" fmla="*/ 27 w 189"/>
                <a:gd name="T39" fmla="*/ 269 h 321"/>
                <a:gd name="T40" fmla="*/ 20 w 189"/>
                <a:gd name="T41" fmla="*/ 274 h 321"/>
                <a:gd name="T42" fmla="*/ 20 w 189"/>
                <a:gd name="T43" fmla="*/ 284 h 321"/>
                <a:gd name="T44" fmla="*/ 35 w 189"/>
                <a:gd name="T45" fmla="*/ 301 h 321"/>
                <a:gd name="T46" fmla="*/ 45 w 189"/>
                <a:gd name="T47" fmla="*/ 321 h 321"/>
                <a:gd name="T48" fmla="*/ 55 w 189"/>
                <a:gd name="T49" fmla="*/ 313 h 321"/>
                <a:gd name="T50" fmla="*/ 72 w 189"/>
                <a:gd name="T51" fmla="*/ 316 h 321"/>
                <a:gd name="T52" fmla="*/ 77 w 189"/>
                <a:gd name="T53" fmla="*/ 303 h 321"/>
                <a:gd name="T54" fmla="*/ 94 w 189"/>
                <a:gd name="T55" fmla="*/ 303 h 321"/>
                <a:gd name="T56" fmla="*/ 104 w 189"/>
                <a:gd name="T57" fmla="*/ 291 h 321"/>
                <a:gd name="T58" fmla="*/ 122 w 189"/>
                <a:gd name="T59" fmla="*/ 286 h 321"/>
                <a:gd name="T60" fmla="*/ 127 w 189"/>
                <a:gd name="T61" fmla="*/ 274 h 321"/>
                <a:gd name="T62" fmla="*/ 139 w 189"/>
                <a:gd name="T63" fmla="*/ 269 h 321"/>
                <a:gd name="T64" fmla="*/ 147 w 189"/>
                <a:gd name="T65" fmla="*/ 254 h 321"/>
                <a:gd name="T66" fmla="*/ 159 w 189"/>
                <a:gd name="T67" fmla="*/ 244 h 321"/>
                <a:gd name="T68" fmla="*/ 167 w 189"/>
                <a:gd name="T69" fmla="*/ 239 h 321"/>
                <a:gd name="T70" fmla="*/ 169 w 189"/>
                <a:gd name="T71" fmla="*/ 234 h 321"/>
                <a:gd name="T72" fmla="*/ 169 w 189"/>
                <a:gd name="T73" fmla="*/ 224 h 321"/>
                <a:gd name="T74" fmla="*/ 162 w 189"/>
                <a:gd name="T75" fmla="*/ 221 h 321"/>
                <a:gd name="T76" fmla="*/ 159 w 189"/>
                <a:gd name="T77" fmla="*/ 207 h 321"/>
                <a:gd name="T78" fmla="*/ 144 w 189"/>
                <a:gd name="T79" fmla="*/ 202 h 321"/>
                <a:gd name="T80" fmla="*/ 147 w 189"/>
                <a:gd name="T81" fmla="*/ 189 h 321"/>
                <a:gd name="T82" fmla="*/ 162 w 189"/>
                <a:gd name="T83" fmla="*/ 189 h 321"/>
                <a:gd name="T84" fmla="*/ 164 w 189"/>
                <a:gd name="T85" fmla="*/ 172 h 321"/>
                <a:gd name="T86" fmla="*/ 176 w 189"/>
                <a:gd name="T87" fmla="*/ 152 h 321"/>
                <a:gd name="T88" fmla="*/ 186 w 189"/>
                <a:gd name="T89" fmla="*/ 147 h 321"/>
                <a:gd name="T90" fmla="*/ 189 w 189"/>
                <a:gd name="T91" fmla="*/ 95 h 321"/>
                <a:gd name="T92" fmla="*/ 176 w 189"/>
                <a:gd name="T93" fmla="*/ 95 h 321"/>
                <a:gd name="T94" fmla="*/ 147 w 189"/>
                <a:gd name="T95" fmla="*/ 70 h 321"/>
                <a:gd name="T96" fmla="*/ 134 w 189"/>
                <a:gd name="T97" fmla="*/ 65 h 321"/>
                <a:gd name="T98" fmla="*/ 107 w 189"/>
                <a:gd name="T99" fmla="*/ 50 h 321"/>
                <a:gd name="T100" fmla="*/ 99 w 189"/>
                <a:gd name="T101" fmla="*/ 35 h 321"/>
                <a:gd name="T102" fmla="*/ 67 w 189"/>
                <a:gd name="T103" fmla="*/ 30 h 321"/>
                <a:gd name="T104" fmla="*/ 62 w 189"/>
                <a:gd name="T105" fmla="*/ 15 h 321"/>
                <a:gd name="T106" fmla="*/ 47 w 189"/>
                <a:gd name="T107" fmla="*/ 10 h 321"/>
                <a:gd name="T108" fmla="*/ 45 w 189"/>
                <a:gd name="T109" fmla="*/ 3 h 321"/>
                <a:gd name="T110" fmla="*/ 27 w 189"/>
                <a:gd name="T111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321">
                  <a:moveTo>
                    <a:pt x="27" y="0"/>
                  </a:moveTo>
                  <a:lnTo>
                    <a:pt x="30" y="10"/>
                  </a:lnTo>
                  <a:lnTo>
                    <a:pt x="35" y="18"/>
                  </a:lnTo>
                  <a:lnTo>
                    <a:pt x="42" y="37"/>
                  </a:lnTo>
                  <a:lnTo>
                    <a:pt x="37" y="134"/>
                  </a:lnTo>
                  <a:lnTo>
                    <a:pt x="25" y="137"/>
                  </a:lnTo>
                  <a:lnTo>
                    <a:pt x="17" y="149"/>
                  </a:lnTo>
                  <a:lnTo>
                    <a:pt x="5" y="157"/>
                  </a:lnTo>
                  <a:lnTo>
                    <a:pt x="0" y="167"/>
                  </a:lnTo>
                  <a:lnTo>
                    <a:pt x="0" y="184"/>
                  </a:lnTo>
                  <a:lnTo>
                    <a:pt x="7" y="184"/>
                  </a:lnTo>
                  <a:lnTo>
                    <a:pt x="10" y="197"/>
                  </a:lnTo>
                  <a:lnTo>
                    <a:pt x="15" y="207"/>
                  </a:lnTo>
                  <a:lnTo>
                    <a:pt x="22" y="221"/>
                  </a:lnTo>
                  <a:lnTo>
                    <a:pt x="22" y="231"/>
                  </a:lnTo>
                  <a:lnTo>
                    <a:pt x="15" y="236"/>
                  </a:lnTo>
                  <a:lnTo>
                    <a:pt x="20" y="239"/>
                  </a:lnTo>
                  <a:lnTo>
                    <a:pt x="22" y="251"/>
                  </a:lnTo>
                  <a:lnTo>
                    <a:pt x="30" y="259"/>
                  </a:lnTo>
                  <a:lnTo>
                    <a:pt x="27" y="269"/>
                  </a:lnTo>
                  <a:lnTo>
                    <a:pt x="20" y="274"/>
                  </a:lnTo>
                  <a:lnTo>
                    <a:pt x="20" y="284"/>
                  </a:lnTo>
                  <a:lnTo>
                    <a:pt x="35" y="301"/>
                  </a:lnTo>
                  <a:lnTo>
                    <a:pt x="45" y="321"/>
                  </a:lnTo>
                  <a:lnTo>
                    <a:pt x="55" y="313"/>
                  </a:lnTo>
                  <a:lnTo>
                    <a:pt x="72" y="316"/>
                  </a:lnTo>
                  <a:lnTo>
                    <a:pt x="77" y="303"/>
                  </a:lnTo>
                  <a:lnTo>
                    <a:pt x="94" y="303"/>
                  </a:lnTo>
                  <a:lnTo>
                    <a:pt x="104" y="291"/>
                  </a:lnTo>
                  <a:lnTo>
                    <a:pt x="122" y="286"/>
                  </a:lnTo>
                  <a:lnTo>
                    <a:pt x="127" y="274"/>
                  </a:lnTo>
                  <a:lnTo>
                    <a:pt x="139" y="269"/>
                  </a:lnTo>
                  <a:lnTo>
                    <a:pt x="147" y="254"/>
                  </a:lnTo>
                  <a:lnTo>
                    <a:pt x="159" y="244"/>
                  </a:lnTo>
                  <a:lnTo>
                    <a:pt x="167" y="239"/>
                  </a:lnTo>
                  <a:lnTo>
                    <a:pt x="169" y="234"/>
                  </a:lnTo>
                  <a:lnTo>
                    <a:pt x="169" y="224"/>
                  </a:lnTo>
                  <a:lnTo>
                    <a:pt x="162" y="221"/>
                  </a:lnTo>
                  <a:lnTo>
                    <a:pt x="159" y="207"/>
                  </a:lnTo>
                  <a:lnTo>
                    <a:pt x="144" y="202"/>
                  </a:lnTo>
                  <a:lnTo>
                    <a:pt x="147" y="189"/>
                  </a:lnTo>
                  <a:lnTo>
                    <a:pt x="162" y="189"/>
                  </a:lnTo>
                  <a:lnTo>
                    <a:pt x="164" y="172"/>
                  </a:lnTo>
                  <a:lnTo>
                    <a:pt x="176" y="152"/>
                  </a:lnTo>
                  <a:lnTo>
                    <a:pt x="186" y="147"/>
                  </a:lnTo>
                  <a:lnTo>
                    <a:pt x="189" y="95"/>
                  </a:lnTo>
                  <a:lnTo>
                    <a:pt x="176" y="95"/>
                  </a:lnTo>
                  <a:lnTo>
                    <a:pt x="147" y="70"/>
                  </a:lnTo>
                  <a:lnTo>
                    <a:pt x="134" y="65"/>
                  </a:lnTo>
                  <a:lnTo>
                    <a:pt x="107" y="50"/>
                  </a:lnTo>
                  <a:lnTo>
                    <a:pt x="99" y="35"/>
                  </a:lnTo>
                  <a:lnTo>
                    <a:pt x="67" y="30"/>
                  </a:lnTo>
                  <a:lnTo>
                    <a:pt x="62" y="15"/>
                  </a:lnTo>
                  <a:lnTo>
                    <a:pt x="47" y="10"/>
                  </a:lnTo>
                  <a:lnTo>
                    <a:pt x="45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5" name="Freeform 252"/>
            <p:cNvSpPr>
              <a:spLocks/>
            </p:cNvSpPr>
            <p:nvPr/>
          </p:nvSpPr>
          <p:spPr bwMode="auto">
            <a:xfrm>
              <a:off x="4268963" y="3685818"/>
              <a:ext cx="392911" cy="329585"/>
            </a:xfrm>
            <a:custGeom>
              <a:avLst/>
              <a:gdLst>
                <a:gd name="T0" fmla="*/ 62 w 273"/>
                <a:gd name="T1" fmla="*/ 229 h 229"/>
                <a:gd name="T2" fmla="*/ 67 w 273"/>
                <a:gd name="T3" fmla="*/ 219 h 229"/>
                <a:gd name="T4" fmla="*/ 74 w 273"/>
                <a:gd name="T5" fmla="*/ 207 h 229"/>
                <a:gd name="T6" fmla="*/ 92 w 273"/>
                <a:gd name="T7" fmla="*/ 202 h 229"/>
                <a:gd name="T8" fmla="*/ 104 w 273"/>
                <a:gd name="T9" fmla="*/ 204 h 229"/>
                <a:gd name="T10" fmla="*/ 114 w 273"/>
                <a:gd name="T11" fmla="*/ 217 h 229"/>
                <a:gd name="T12" fmla="*/ 114 w 273"/>
                <a:gd name="T13" fmla="*/ 209 h 229"/>
                <a:gd name="T14" fmla="*/ 137 w 273"/>
                <a:gd name="T15" fmla="*/ 207 h 229"/>
                <a:gd name="T16" fmla="*/ 149 w 273"/>
                <a:gd name="T17" fmla="*/ 204 h 229"/>
                <a:gd name="T18" fmla="*/ 159 w 273"/>
                <a:gd name="T19" fmla="*/ 214 h 229"/>
                <a:gd name="T20" fmla="*/ 174 w 273"/>
                <a:gd name="T21" fmla="*/ 217 h 229"/>
                <a:gd name="T22" fmla="*/ 176 w 273"/>
                <a:gd name="T23" fmla="*/ 207 h 229"/>
                <a:gd name="T24" fmla="*/ 201 w 273"/>
                <a:gd name="T25" fmla="*/ 207 h 229"/>
                <a:gd name="T26" fmla="*/ 209 w 273"/>
                <a:gd name="T27" fmla="*/ 217 h 229"/>
                <a:gd name="T28" fmla="*/ 216 w 273"/>
                <a:gd name="T29" fmla="*/ 207 h 229"/>
                <a:gd name="T30" fmla="*/ 231 w 273"/>
                <a:gd name="T31" fmla="*/ 199 h 229"/>
                <a:gd name="T32" fmla="*/ 231 w 273"/>
                <a:gd name="T33" fmla="*/ 182 h 229"/>
                <a:gd name="T34" fmla="*/ 236 w 273"/>
                <a:gd name="T35" fmla="*/ 172 h 229"/>
                <a:gd name="T36" fmla="*/ 248 w 273"/>
                <a:gd name="T37" fmla="*/ 164 h 229"/>
                <a:gd name="T38" fmla="*/ 256 w 273"/>
                <a:gd name="T39" fmla="*/ 152 h 229"/>
                <a:gd name="T40" fmla="*/ 268 w 273"/>
                <a:gd name="T41" fmla="*/ 149 h 229"/>
                <a:gd name="T42" fmla="*/ 273 w 273"/>
                <a:gd name="T43" fmla="*/ 52 h 229"/>
                <a:gd name="T44" fmla="*/ 266 w 273"/>
                <a:gd name="T45" fmla="*/ 33 h 229"/>
                <a:gd name="T46" fmla="*/ 261 w 273"/>
                <a:gd name="T47" fmla="*/ 25 h 229"/>
                <a:gd name="T48" fmla="*/ 258 w 273"/>
                <a:gd name="T49" fmla="*/ 15 h 229"/>
                <a:gd name="T50" fmla="*/ 248 w 273"/>
                <a:gd name="T51" fmla="*/ 10 h 229"/>
                <a:gd name="T52" fmla="*/ 229 w 273"/>
                <a:gd name="T53" fmla="*/ 8 h 229"/>
                <a:gd name="T54" fmla="*/ 224 w 273"/>
                <a:gd name="T55" fmla="*/ 0 h 229"/>
                <a:gd name="T56" fmla="*/ 201 w 273"/>
                <a:gd name="T57" fmla="*/ 0 h 229"/>
                <a:gd name="T58" fmla="*/ 196 w 273"/>
                <a:gd name="T59" fmla="*/ 8 h 229"/>
                <a:gd name="T60" fmla="*/ 179 w 273"/>
                <a:gd name="T61" fmla="*/ 15 h 229"/>
                <a:gd name="T62" fmla="*/ 164 w 273"/>
                <a:gd name="T63" fmla="*/ 28 h 229"/>
                <a:gd name="T64" fmla="*/ 156 w 273"/>
                <a:gd name="T65" fmla="*/ 40 h 229"/>
                <a:gd name="T66" fmla="*/ 127 w 273"/>
                <a:gd name="T67" fmla="*/ 50 h 229"/>
                <a:gd name="T68" fmla="*/ 124 w 273"/>
                <a:gd name="T69" fmla="*/ 62 h 229"/>
                <a:gd name="T70" fmla="*/ 114 w 273"/>
                <a:gd name="T71" fmla="*/ 67 h 229"/>
                <a:gd name="T72" fmla="*/ 99 w 273"/>
                <a:gd name="T73" fmla="*/ 82 h 229"/>
                <a:gd name="T74" fmla="*/ 72 w 273"/>
                <a:gd name="T75" fmla="*/ 82 h 229"/>
                <a:gd name="T76" fmla="*/ 69 w 273"/>
                <a:gd name="T77" fmla="*/ 92 h 229"/>
                <a:gd name="T78" fmla="*/ 72 w 273"/>
                <a:gd name="T79" fmla="*/ 152 h 229"/>
                <a:gd name="T80" fmla="*/ 59 w 273"/>
                <a:gd name="T81" fmla="*/ 152 h 229"/>
                <a:gd name="T82" fmla="*/ 59 w 273"/>
                <a:gd name="T83" fmla="*/ 164 h 229"/>
                <a:gd name="T84" fmla="*/ 15 w 273"/>
                <a:gd name="T85" fmla="*/ 169 h 229"/>
                <a:gd name="T86" fmla="*/ 0 w 273"/>
                <a:gd name="T87" fmla="*/ 179 h 229"/>
                <a:gd name="T88" fmla="*/ 7 w 273"/>
                <a:gd name="T89" fmla="*/ 189 h 229"/>
                <a:gd name="T90" fmla="*/ 17 w 273"/>
                <a:gd name="T91" fmla="*/ 197 h 229"/>
                <a:gd name="T92" fmla="*/ 17 w 273"/>
                <a:gd name="T93" fmla="*/ 214 h 229"/>
                <a:gd name="T94" fmla="*/ 30 w 273"/>
                <a:gd name="T95" fmla="*/ 217 h 229"/>
                <a:gd name="T96" fmla="*/ 40 w 273"/>
                <a:gd name="T97" fmla="*/ 229 h 229"/>
                <a:gd name="T98" fmla="*/ 57 w 273"/>
                <a:gd name="T99" fmla="*/ 229 h 229"/>
                <a:gd name="T100" fmla="*/ 62 w 273"/>
                <a:gd name="T101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229">
                  <a:moveTo>
                    <a:pt x="62" y="229"/>
                  </a:moveTo>
                  <a:lnTo>
                    <a:pt x="67" y="219"/>
                  </a:lnTo>
                  <a:lnTo>
                    <a:pt x="74" y="207"/>
                  </a:lnTo>
                  <a:lnTo>
                    <a:pt x="92" y="202"/>
                  </a:lnTo>
                  <a:lnTo>
                    <a:pt x="104" y="204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37" y="207"/>
                  </a:lnTo>
                  <a:lnTo>
                    <a:pt x="149" y="204"/>
                  </a:lnTo>
                  <a:lnTo>
                    <a:pt x="159" y="214"/>
                  </a:lnTo>
                  <a:lnTo>
                    <a:pt x="174" y="217"/>
                  </a:lnTo>
                  <a:lnTo>
                    <a:pt x="176" y="207"/>
                  </a:lnTo>
                  <a:lnTo>
                    <a:pt x="201" y="207"/>
                  </a:lnTo>
                  <a:lnTo>
                    <a:pt x="209" y="217"/>
                  </a:lnTo>
                  <a:lnTo>
                    <a:pt x="216" y="207"/>
                  </a:lnTo>
                  <a:lnTo>
                    <a:pt x="231" y="199"/>
                  </a:lnTo>
                  <a:lnTo>
                    <a:pt x="231" y="182"/>
                  </a:lnTo>
                  <a:lnTo>
                    <a:pt x="236" y="172"/>
                  </a:lnTo>
                  <a:lnTo>
                    <a:pt x="248" y="164"/>
                  </a:lnTo>
                  <a:lnTo>
                    <a:pt x="256" y="152"/>
                  </a:lnTo>
                  <a:lnTo>
                    <a:pt x="268" y="149"/>
                  </a:lnTo>
                  <a:lnTo>
                    <a:pt x="273" y="52"/>
                  </a:lnTo>
                  <a:lnTo>
                    <a:pt x="266" y="33"/>
                  </a:lnTo>
                  <a:lnTo>
                    <a:pt x="261" y="25"/>
                  </a:lnTo>
                  <a:lnTo>
                    <a:pt x="258" y="15"/>
                  </a:lnTo>
                  <a:lnTo>
                    <a:pt x="248" y="10"/>
                  </a:lnTo>
                  <a:lnTo>
                    <a:pt x="229" y="8"/>
                  </a:lnTo>
                  <a:lnTo>
                    <a:pt x="224" y="0"/>
                  </a:lnTo>
                  <a:lnTo>
                    <a:pt x="201" y="0"/>
                  </a:lnTo>
                  <a:lnTo>
                    <a:pt x="196" y="8"/>
                  </a:lnTo>
                  <a:lnTo>
                    <a:pt x="179" y="15"/>
                  </a:lnTo>
                  <a:lnTo>
                    <a:pt x="164" y="28"/>
                  </a:lnTo>
                  <a:lnTo>
                    <a:pt x="156" y="40"/>
                  </a:lnTo>
                  <a:lnTo>
                    <a:pt x="127" y="50"/>
                  </a:lnTo>
                  <a:lnTo>
                    <a:pt x="124" y="62"/>
                  </a:lnTo>
                  <a:lnTo>
                    <a:pt x="114" y="67"/>
                  </a:lnTo>
                  <a:lnTo>
                    <a:pt x="99" y="82"/>
                  </a:lnTo>
                  <a:lnTo>
                    <a:pt x="72" y="82"/>
                  </a:lnTo>
                  <a:lnTo>
                    <a:pt x="69" y="92"/>
                  </a:lnTo>
                  <a:lnTo>
                    <a:pt x="72" y="152"/>
                  </a:lnTo>
                  <a:lnTo>
                    <a:pt x="59" y="152"/>
                  </a:lnTo>
                  <a:lnTo>
                    <a:pt x="59" y="164"/>
                  </a:lnTo>
                  <a:lnTo>
                    <a:pt x="15" y="169"/>
                  </a:lnTo>
                  <a:lnTo>
                    <a:pt x="0" y="179"/>
                  </a:lnTo>
                  <a:lnTo>
                    <a:pt x="7" y="189"/>
                  </a:lnTo>
                  <a:lnTo>
                    <a:pt x="17" y="197"/>
                  </a:lnTo>
                  <a:lnTo>
                    <a:pt x="17" y="214"/>
                  </a:lnTo>
                  <a:lnTo>
                    <a:pt x="30" y="217"/>
                  </a:lnTo>
                  <a:lnTo>
                    <a:pt x="40" y="229"/>
                  </a:lnTo>
                  <a:lnTo>
                    <a:pt x="57" y="229"/>
                  </a:lnTo>
                  <a:lnTo>
                    <a:pt x="62" y="22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6" name="Freeform 253"/>
            <p:cNvSpPr>
              <a:spLocks/>
            </p:cNvSpPr>
            <p:nvPr/>
          </p:nvSpPr>
          <p:spPr bwMode="auto">
            <a:xfrm>
              <a:off x="5051907" y="3302981"/>
              <a:ext cx="54691" cy="25906"/>
            </a:xfrm>
            <a:custGeom>
              <a:avLst/>
              <a:gdLst>
                <a:gd name="T0" fmla="*/ 18 w 38"/>
                <a:gd name="T1" fmla="*/ 13 h 18"/>
                <a:gd name="T2" fmla="*/ 10 w 38"/>
                <a:gd name="T3" fmla="*/ 15 h 18"/>
                <a:gd name="T4" fmla="*/ 3 w 38"/>
                <a:gd name="T5" fmla="*/ 18 h 18"/>
                <a:gd name="T6" fmla="*/ 0 w 38"/>
                <a:gd name="T7" fmla="*/ 15 h 18"/>
                <a:gd name="T8" fmla="*/ 0 w 38"/>
                <a:gd name="T9" fmla="*/ 13 h 18"/>
                <a:gd name="T10" fmla="*/ 0 w 38"/>
                <a:gd name="T11" fmla="*/ 5 h 18"/>
                <a:gd name="T12" fmla="*/ 3 w 38"/>
                <a:gd name="T13" fmla="*/ 5 h 18"/>
                <a:gd name="T14" fmla="*/ 5 w 38"/>
                <a:gd name="T15" fmla="*/ 5 h 18"/>
                <a:gd name="T16" fmla="*/ 15 w 38"/>
                <a:gd name="T17" fmla="*/ 5 h 18"/>
                <a:gd name="T18" fmla="*/ 28 w 38"/>
                <a:gd name="T19" fmla="*/ 3 h 18"/>
                <a:gd name="T20" fmla="*/ 35 w 38"/>
                <a:gd name="T21" fmla="*/ 0 h 18"/>
                <a:gd name="T22" fmla="*/ 38 w 38"/>
                <a:gd name="T23" fmla="*/ 3 h 18"/>
                <a:gd name="T24" fmla="*/ 35 w 38"/>
                <a:gd name="T25" fmla="*/ 5 h 18"/>
                <a:gd name="T26" fmla="*/ 33 w 38"/>
                <a:gd name="T27" fmla="*/ 8 h 18"/>
                <a:gd name="T28" fmla="*/ 30 w 38"/>
                <a:gd name="T29" fmla="*/ 13 h 18"/>
                <a:gd name="T30" fmla="*/ 20 w 38"/>
                <a:gd name="T31" fmla="*/ 13 h 18"/>
                <a:gd name="T32" fmla="*/ 18 w 38"/>
                <a:gd name="T3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18">
                  <a:moveTo>
                    <a:pt x="18" y="13"/>
                  </a:moveTo>
                  <a:lnTo>
                    <a:pt x="10" y="15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15" y="5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5" y="5"/>
                  </a:lnTo>
                  <a:lnTo>
                    <a:pt x="33" y="8"/>
                  </a:lnTo>
                  <a:lnTo>
                    <a:pt x="30" y="13"/>
                  </a:lnTo>
                  <a:lnTo>
                    <a:pt x="20" y="13"/>
                  </a:lnTo>
                  <a:lnTo>
                    <a:pt x="18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7" name="Freeform 255"/>
            <p:cNvSpPr>
              <a:spLocks/>
            </p:cNvSpPr>
            <p:nvPr/>
          </p:nvSpPr>
          <p:spPr bwMode="auto">
            <a:xfrm>
              <a:off x="5123869" y="3385018"/>
              <a:ext cx="103625" cy="125213"/>
            </a:xfrm>
            <a:custGeom>
              <a:avLst/>
              <a:gdLst>
                <a:gd name="T0" fmla="*/ 22 w 72"/>
                <a:gd name="T1" fmla="*/ 87 h 87"/>
                <a:gd name="T2" fmla="*/ 37 w 72"/>
                <a:gd name="T3" fmla="*/ 73 h 87"/>
                <a:gd name="T4" fmla="*/ 55 w 72"/>
                <a:gd name="T5" fmla="*/ 60 h 87"/>
                <a:gd name="T6" fmla="*/ 55 w 72"/>
                <a:gd name="T7" fmla="*/ 35 h 87"/>
                <a:gd name="T8" fmla="*/ 72 w 72"/>
                <a:gd name="T9" fmla="*/ 18 h 87"/>
                <a:gd name="T10" fmla="*/ 62 w 72"/>
                <a:gd name="T11" fmla="*/ 0 h 87"/>
                <a:gd name="T12" fmla="*/ 40 w 72"/>
                <a:gd name="T13" fmla="*/ 15 h 87"/>
                <a:gd name="T14" fmla="*/ 17 w 72"/>
                <a:gd name="T15" fmla="*/ 13 h 87"/>
                <a:gd name="T16" fmla="*/ 5 w 72"/>
                <a:gd name="T17" fmla="*/ 3 h 87"/>
                <a:gd name="T18" fmla="*/ 5 w 72"/>
                <a:gd name="T19" fmla="*/ 45 h 87"/>
                <a:gd name="T20" fmla="*/ 0 w 72"/>
                <a:gd name="T21" fmla="*/ 65 h 87"/>
                <a:gd name="T22" fmla="*/ 0 w 72"/>
                <a:gd name="T23" fmla="*/ 87 h 87"/>
                <a:gd name="T24" fmla="*/ 22 w 72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87">
                  <a:moveTo>
                    <a:pt x="22" y="87"/>
                  </a:moveTo>
                  <a:lnTo>
                    <a:pt x="37" y="73"/>
                  </a:lnTo>
                  <a:lnTo>
                    <a:pt x="55" y="60"/>
                  </a:lnTo>
                  <a:lnTo>
                    <a:pt x="55" y="35"/>
                  </a:lnTo>
                  <a:lnTo>
                    <a:pt x="72" y="18"/>
                  </a:lnTo>
                  <a:lnTo>
                    <a:pt x="62" y="0"/>
                  </a:lnTo>
                  <a:lnTo>
                    <a:pt x="40" y="15"/>
                  </a:lnTo>
                  <a:lnTo>
                    <a:pt x="17" y="13"/>
                  </a:lnTo>
                  <a:lnTo>
                    <a:pt x="5" y="3"/>
                  </a:lnTo>
                  <a:lnTo>
                    <a:pt x="5" y="45"/>
                  </a:lnTo>
                  <a:lnTo>
                    <a:pt x="0" y="65"/>
                  </a:lnTo>
                  <a:lnTo>
                    <a:pt x="0" y="87"/>
                  </a:lnTo>
                  <a:lnTo>
                    <a:pt x="22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8" name="Freeform 256"/>
            <p:cNvSpPr>
              <a:spLocks/>
            </p:cNvSpPr>
            <p:nvPr/>
          </p:nvSpPr>
          <p:spPr bwMode="auto">
            <a:xfrm>
              <a:off x="5131065" y="3259804"/>
              <a:ext cx="146802" cy="146802"/>
            </a:xfrm>
            <a:custGeom>
              <a:avLst/>
              <a:gdLst>
                <a:gd name="T0" fmla="*/ 0 w 102"/>
                <a:gd name="T1" fmla="*/ 90 h 102"/>
                <a:gd name="T2" fmla="*/ 12 w 102"/>
                <a:gd name="T3" fmla="*/ 100 h 102"/>
                <a:gd name="T4" fmla="*/ 35 w 102"/>
                <a:gd name="T5" fmla="*/ 102 h 102"/>
                <a:gd name="T6" fmla="*/ 57 w 102"/>
                <a:gd name="T7" fmla="*/ 87 h 102"/>
                <a:gd name="T8" fmla="*/ 74 w 102"/>
                <a:gd name="T9" fmla="*/ 75 h 102"/>
                <a:gd name="T10" fmla="*/ 99 w 102"/>
                <a:gd name="T11" fmla="*/ 60 h 102"/>
                <a:gd name="T12" fmla="*/ 102 w 102"/>
                <a:gd name="T13" fmla="*/ 43 h 102"/>
                <a:gd name="T14" fmla="*/ 102 w 102"/>
                <a:gd name="T15" fmla="*/ 20 h 102"/>
                <a:gd name="T16" fmla="*/ 97 w 102"/>
                <a:gd name="T17" fmla="*/ 0 h 102"/>
                <a:gd name="T18" fmla="*/ 72 w 102"/>
                <a:gd name="T19" fmla="*/ 5 h 102"/>
                <a:gd name="T20" fmla="*/ 55 w 102"/>
                <a:gd name="T21" fmla="*/ 5 h 102"/>
                <a:gd name="T22" fmla="*/ 25 w 102"/>
                <a:gd name="T23" fmla="*/ 10 h 102"/>
                <a:gd name="T24" fmla="*/ 10 w 102"/>
                <a:gd name="T25" fmla="*/ 13 h 102"/>
                <a:gd name="T26" fmla="*/ 5 w 102"/>
                <a:gd name="T27" fmla="*/ 30 h 102"/>
                <a:gd name="T28" fmla="*/ 10 w 102"/>
                <a:gd name="T29" fmla="*/ 50 h 102"/>
                <a:gd name="T30" fmla="*/ 25 w 102"/>
                <a:gd name="T31" fmla="*/ 60 h 102"/>
                <a:gd name="T32" fmla="*/ 17 w 102"/>
                <a:gd name="T33" fmla="*/ 80 h 102"/>
                <a:gd name="T34" fmla="*/ 0 w 102"/>
                <a:gd name="T35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2" h="102">
                  <a:moveTo>
                    <a:pt x="0" y="90"/>
                  </a:moveTo>
                  <a:lnTo>
                    <a:pt x="12" y="100"/>
                  </a:lnTo>
                  <a:lnTo>
                    <a:pt x="35" y="102"/>
                  </a:lnTo>
                  <a:lnTo>
                    <a:pt x="57" y="87"/>
                  </a:lnTo>
                  <a:lnTo>
                    <a:pt x="74" y="75"/>
                  </a:lnTo>
                  <a:lnTo>
                    <a:pt x="99" y="60"/>
                  </a:lnTo>
                  <a:lnTo>
                    <a:pt x="102" y="43"/>
                  </a:lnTo>
                  <a:lnTo>
                    <a:pt x="102" y="20"/>
                  </a:lnTo>
                  <a:lnTo>
                    <a:pt x="97" y="0"/>
                  </a:lnTo>
                  <a:lnTo>
                    <a:pt x="72" y="5"/>
                  </a:lnTo>
                  <a:lnTo>
                    <a:pt x="55" y="5"/>
                  </a:lnTo>
                  <a:lnTo>
                    <a:pt x="25" y="10"/>
                  </a:lnTo>
                  <a:lnTo>
                    <a:pt x="10" y="13"/>
                  </a:lnTo>
                  <a:lnTo>
                    <a:pt x="5" y="30"/>
                  </a:lnTo>
                  <a:lnTo>
                    <a:pt x="10" y="50"/>
                  </a:lnTo>
                  <a:lnTo>
                    <a:pt x="25" y="60"/>
                  </a:lnTo>
                  <a:lnTo>
                    <a:pt x="17" y="80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39" name="Freeform 257"/>
            <p:cNvSpPr>
              <a:spLocks/>
            </p:cNvSpPr>
            <p:nvPr/>
          </p:nvSpPr>
          <p:spPr bwMode="auto">
            <a:xfrm>
              <a:off x="5764328" y="3220946"/>
              <a:ext cx="336781" cy="303678"/>
            </a:xfrm>
            <a:custGeom>
              <a:avLst/>
              <a:gdLst>
                <a:gd name="T0" fmla="*/ 234 w 234"/>
                <a:gd name="T1" fmla="*/ 35 h 211"/>
                <a:gd name="T2" fmla="*/ 196 w 234"/>
                <a:gd name="T3" fmla="*/ 32 h 211"/>
                <a:gd name="T4" fmla="*/ 176 w 234"/>
                <a:gd name="T5" fmla="*/ 25 h 211"/>
                <a:gd name="T6" fmla="*/ 166 w 234"/>
                <a:gd name="T7" fmla="*/ 3 h 211"/>
                <a:gd name="T8" fmla="*/ 159 w 234"/>
                <a:gd name="T9" fmla="*/ 0 h 211"/>
                <a:gd name="T10" fmla="*/ 152 w 234"/>
                <a:gd name="T11" fmla="*/ 15 h 211"/>
                <a:gd name="T12" fmla="*/ 124 w 234"/>
                <a:gd name="T13" fmla="*/ 22 h 211"/>
                <a:gd name="T14" fmla="*/ 112 w 234"/>
                <a:gd name="T15" fmla="*/ 27 h 211"/>
                <a:gd name="T16" fmla="*/ 99 w 234"/>
                <a:gd name="T17" fmla="*/ 22 h 211"/>
                <a:gd name="T18" fmla="*/ 75 w 234"/>
                <a:gd name="T19" fmla="*/ 20 h 211"/>
                <a:gd name="T20" fmla="*/ 67 w 234"/>
                <a:gd name="T21" fmla="*/ 27 h 211"/>
                <a:gd name="T22" fmla="*/ 52 w 234"/>
                <a:gd name="T23" fmla="*/ 30 h 211"/>
                <a:gd name="T24" fmla="*/ 47 w 234"/>
                <a:gd name="T25" fmla="*/ 40 h 211"/>
                <a:gd name="T26" fmla="*/ 35 w 234"/>
                <a:gd name="T27" fmla="*/ 47 h 211"/>
                <a:gd name="T28" fmla="*/ 32 w 234"/>
                <a:gd name="T29" fmla="*/ 62 h 211"/>
                <a:gd name="T30" fmla="*/ 15 w 234"/>
                <a:gd name="T31" fmla="*/ 65 h 211"/>
                <a:gd name="T32" fmla="*/ 0 w 234"/>
                <a:gd name="T33" fmla="*/ 80 h 211"/>
                <a:gd name="T34" fmla="*/ 2 w 234"/>
                <a:gd name="T35" fmla="*/ 107 h 211"/>
                <a:gd name="T36" fmla="*/ 0 w 234"/>
                <a:gd name="T37" fmla="*/ 152 h 211"/>
                <a:gd name="T38" fmla="*/ 20 w 234"/>
                <a:gd name="T39" fmla="*/ 152 h 211"/>
                <a:gd name="T40" fmla="*/ 27 w 234"/>
                <a:gd name="T41" fmla="*/ 172 h 211"/>
                <a:gd name="T42" fmla="*/ 17 w 234"/>
                <a:gd name="T43" fmla="*/ 184 h 211"/>
                <a:gd name="T44" fmla="*/ 15 w 234"/>
                <a:gd name="T45" fmla="*/ 201 h 211"/>
                <a:gd name="T46" fmla="*/ 35 w 234"/>
                <a:gd name="T47" fmla="*/ 211 h 211"/>
                <a:gd name="T48" fmla="*/ 42 w 234"/>
                <a:gd name="T49" fmla="*/ 196 h 211"/>
                <a:gd name="T50" fmla="*/ 94 w 234"/>
                <a:gd name="T51" fmla="*/ 192 h 211"/>
                <a:gd name="T52" fmla="*/ 102 w 234"/>
                <a:gd name="T53" fmla="*/ 172 h 211"/>
                <a:gd name="T54" fmla="*/ 117 w 234"/>
                <a:gd name="T55" fmla="*/ 162 h 211"/>
                <a:gd name="T56" fmla="*/ 134 w 234"/>
                <a:gd name="T57" fmla="*/ 149 h 211"/>
                <a:gd name="T58" fmla="*/ 152 w 234"/>
                <a:gd name="T59" fmla="*/ 147 h 211"/>
                <a:gd name="T60" fmla="*/ 157 w 234"/>
                <a:gd name="T61" fmla="*/ 127 h 211"/>
                <a:gd name="T62" fmla="*/ 166 w 234"/>
                <a:gd name="T63" fmla="*/ 119 h 211"/>
                <a:gd name="T64" fmla="*/ 174 w 234"/>
                <a:gd name="T65" fmla="*/ 100 h 211"/>
                <a:gd name="T66" fmla="*/ 181 w 234"/>
                <a:gd name="T67" fmla="*/ 77 h 211"/>
                <a:gd name="T68" fmla="*/ 186 w 234"/>
                <a:gd name="T69" fmla="*/ 57 h 211"/>
                <a:gd name="T70" fmla="*/ 204 w 234"/>
                <a:gd name="T71" fmla="*/ 52 h 211"/>
                <a:gd name="T72" fmla="*/ 214 w 234"/>
                <a:gd name="T73" fmla="*/ 55 h 211"/>
                <a:gd name="T74" fmla="*/ 229 w 234"/>
                <a:gd name="T75" fmla="*/ 62 h 211"/>
                <a:gd name="T76" fmla="*/ 234 w 234"/>
                <a:gd name="T77" fmla="*/ 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4" h="211">
                  <a:moveTo>
                    <a:pt x="234" y="35"/>
                  </a:moveTo>
                  <a:lnTo>
                    <a:pt x="196" y="32"/>
                  </a:lnTo>
                  <a:lnTo>
                    <a:pt x="176" y="25"/>
                  </a:lnTo>
                  <a:lnTo>
                    <a:pt x="166" y="3"/>
                  </a:lnTo>
                  <a:lnTo>
                    <a:pt x="159" y="0"/>
                  </a:lnTo>
                  <a:lnTo>
                    <a:pt x="152" y="15"/>
                  </a:lnTo>
                  <a:lnTo>
                    <a:pt x="124" y="22"/>
                  </a:lnTo>
                  <a:lnTo>
                    <a:pt x="112" y="27"/>
                  </a:lnTo>
                  <a:lnTo>
                    <a:pt x="99" y="22"/>
                  </a:lnTo>
                  <a:lnTo>
                    <a:pt x="75" y="20"/>
                  </a:lnTo>
                  <a:lnTo>
                    <a:pt x="67" y="27"/>
                  </a:lnTo>
                  <a:lnTo>
                    <a:pt x="52" y="30"/>
                  </a:lnTo>
                  <a:lnTo>
                    <a:pt x="47" y="40"/>
                  </a:lnTo>
                  <a:lnTo>
                    <a:pt x="35" y="47"/>
                  </a:lnTo>
                  <a:lnTo>
                    <a:pt x="32" y="62"/>
                  </a:lnTo>
                  <a:lnTo>
                    <a:pt x="15" y="65"/>
                  </a:lnTo>
                  <a:lnTo>
                    <a:pt x="0" y="80"/>
                  </a:lnTo>
                  <a:lnTo>
                    <a:pt x="2" y="107"/>
                  </a:lnTo>
                  <a:lnTo>
                    <a:pt x="0" y="152"/>
                  </a:lnTo>
                  <a:lnTo>
                    <a:pt x="20" y="152"/>
                  </a:lnTo>
                  <a:lnTo>
                    <a:pt x="27" y="172"/>
                  </a:lnTo>
                  <a:lnTo>
                    <a:pt x="17" y="184"/>
                  </a:lnTo>
                  <a:lnTo>
                    <a:pt x="15" y="201"/>
                  </a:lnTo>
                  <a:lnTo>
                    <a:pt x="35" y="211"/>
                  </a:lnTo>
                  <a:lnTo>
                    <a:pt x="42" y="196"/>
                  </a:lnTo>
                  <a:lnTo>
                    <a:pt x="94" y="192"/>
                  </a:lnTo>
                  <a:lnTo>
                    <a:pt x="102" y="172"/>
                  </a:lnTo>
                  <a:lnTo>
                    <a:pt x="117" y="162"/>
                  </a:lnTo>
                  <a:lnTo>
                    <a:pt x="134" y="149"/>
                  </a:lnTo>
                  <a:lnTo>
                    <a:pt x="152" y="147"/>
                  </a:lnTo>
                  <a:lnTo>
                    <a:pt x="157" y="127"/>
                  </a:lnTo>
                  <a:lnTo>
                    <a:pt x="166" y="119"/>
                  </a:lnTo>
                  <a:lnTo>
                    <a:pt x="174" y="100"/>
                  </a:lnTo>
                  <a:lnTo>
                    <a:pt x="181" y="77"/>
                  </a:lnTo>
                  <a:lnTo>
                    <a:pt x="186" y="57"/>
                  </a:lnTo>
                  <a:lnTo>
                    <a:pt x="204" y="52"/>
                  </a:lnTo>
                  <a:lnTo>
                    <a:pt x="214" y="55"/>
                  </a:lnTo>
                  <a:lnTo>
                    <a:pt x="229" y="62"/>
                  </a:lnTo>
                  <a:lnTo>
                    <a:pt x="234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0" name="Freeform 258"/>
            <p:cNvSpPr>
              <a:spLocks/>
            </p:cNvSpPr>
            <p:nvPr/>
          </p:nvSpPr>
          <p:spPr bwMode="auto">
            <a:xfrm>
              <a:off x="5552761" y="3107245"/>
              <a:ext cx="322389" cy="228839"/>
            </a:xfrm>
            <a:custGeom>
              <a:avLst/>
              <a:gdLst>
                <a:gd name="T0" fmla="*/ 222 w 224"/>
                <a:gd name="T1" fmla="*/ 99 h 159"/>
                <a:gd name="T2" fmla="*/ 214 w 224"/>
                <a:gd name="T3" fmla="*/ 106 h 159"/>
                <a:gd name="T4" fmla="*/ 199 w 224"/>
                <a:gd name="T5" fmla="*/ 109 h 159"/>
                <a:gd name="T6" fmla="*/ 194 w 224"/>
                <a:gd name="T7" fmla="*/ 119 h 159"/>
                <a:gd name="T8" fmla="*/ 182 w 224"/>
                <a:gd name="T9" fmla="*/ 126 h 159"/>
                <a:gd name="T10" fmla="*/ 179 w 224"/>
                <a:gd name="T11" fmla="*/ 141 h 159"/>
                <a:gd name="T12" fmla="*/ 162 w 224"/>
                <a:gd name="T13" fmla="*/ 144 h 159"/>
                <a:gd name="T14" fmla="*/ 147 w 224"/>
                <a:gd name="T15" fmla="*/ 159 h 159"/>
                <a:gd name="T16" fmla="*/ 152 w 224"/>
                <a:gd name="T17" fmla="*/ 119 h 159"/>
                <a:gd name="T18" fmla="*/ 127 w 224"/>
                <a:gd name="T19" fmla="*/ 106 h 159"/>
                <a:gd name="T20" fmla="*/ 100 w 224"/>
                <a:gd name="T21" fmla="*/ 87 h 159"/>
                <a:gd name="T22" fmla="*/ 80 w 224"/>
                <a:gd name="T23" fmla="*/ 84 h 159"/>
                <a:gd name="T24" fmla="*/ 47 w 224"/>
                <a:gd name="T25" fmla="*/ 79 h 159"/>
                <a:gd name="T26" fmla="*/ 40 w 224"/>
                <a:gd name="T27" fmla="*/ 94 h 159"/>
                <a:gd name="T28" fmla="*/ 23 w 224"/>
                <a:gd name="T29" fmla="*/ 101 h 159"/>
                <a:gd name="T30" fmla="*/ 20 w 224"/>
                <a:gd name="T31" fmla="*/ 79 h 159"/>
                <a:gd name="T32" fmla="*/ 18 w 224"/>
                <a:gd name="T33" fmla="*/ 67 h 159"/>
                <a:gd name="T34" fmla="*/ 13 w 224"/>
                <a:gd name="T35" fmla="*/ 57 h 159"/>
                <a:gd name="T36" fmla="*/ 10 w 224"/>
                <a:gd name="T37" fmla="*/ 37 h 159"/>
                <a:gd name="T38" fmla="*/ 3 w 224"/>
                <a:gd name="T39" fmla="*/ 29 h 159"/>
                <a:gd name="T40" fmla="*/ 8 w 224"/>
                <a:gd name="T41" fmla="*/ 22 h 159"/>
                <a:gd name="T42" fmla="*/ 0 w 224"/>
                <a:gd name="T43" fmla="*/ 17 h 159"/>
                <a:gd name="T44" fmla="*/ 0 w 224"/>
                <a:gd name="T45" fmla="*/ 5 h 159"/>
                <a:gd name="T46" fmla="*/ 20 w 224"/>
                <a:gd name="T47" fmla="*/ 22 h 159"/>
                <a:gd name="T48" fmla="*/ 30 w 224"/>
                <a:gd name="T49" fmla="*/ 7 h 159"/>
                <a:gd name="T50" fmla="*/ 45 w 224"/>
                <a:gd name="T51" fmla="*/ 0 h 159"/>
                <a:gd name="T52" fmla="*/ 60 w 224"/>
                <a:gd name="T53" fmla="*/ 5 h 159"/>
                <a:gd name="T54" fmla="*/ 60 w 224"/>
                <a:gd name="T55" fmla="*/ 17 h 159"/>
                <a:gd name="T56" fmla="*/ 77 w 224"/>
                <a:gd name="T57" fmla="*/ 22 h 159"/>
                <a:gd name="T58" fmla="*/ 100 w 224"/>
                <a:gd name="T59" fmla="*/ 29 h 159"/>
                <a:gd name="T60" fmla="*/ 102 w 224"/>
                <a:gd name="T61" fmla="*/ 17 h 159"/>
                <a:gd name="T62" fmla="*/ 112 w 224"/>
                <a:gd name="T63" fmla="*/ 12 h 159"/>
                <a:gd name="T64" fmla="*/ 125 w 224"/>
                <a:gd name="T65" fmla="*/ 7 h 159"/>
                <a:gd name="T66" fmla="*/ 130 w 224"/>
                <a:gd name="T67" fmla="*/ 17 h 159"/>
                <a:gd name="T68" fmla="*/ 139 w 224"/>
                <a:gd name="T69" fmla="*/ 24 h 159"/>
                <a:gd name="T70" fmla="*/ 135 w 224"/>
                <a:gd name="T71" fmla="*/ 32 h 159"/>
                <a:gd name="T72" fmla="*/ 149 w 224"/>
                <a:gd name="T73" fmla="*/ 37 h 159"/>
                <a:gd name="T74" fmla="*/ 157 w 224"/>
                <a:gd name="T75" fmla="*/ 37 h 159"/>
                <a:gd name="T76" fmla="*/ 167 w 224"/>
                <a:gd name="T77" fmla="*/ 42 h 159"/>
                <a:gd name="T78" fmla="*/ 162 w 224"/>
                <a:gd name="T79" fmla="*/ 54 h 159"/>
                <a:gd name="T80" fmla="*/ 204 w 224"/>
                <a:gd name="T81" fmla="*/ 89 h 159"/>
                <a:gd name="T82" fmla="*/ 214 w 224"/>
                <a:gd name="T83" fmla="*/ 82 h 159"/>
                <a:gd name="T84" fmla="*/ 224 w 224"/>
                <a:gd name="T85" fmla="*/ 87 h 159"/>
                <a:gd name="T86" fmla="*/ 222 w 224"/>
                <a:gd name="T87" fmla="*/ 9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159">
                  <a:moveTo>
                    <a:pt x="222" y="99"/>
                  </a:moveTo>
                  <a:lnTo>
                    <a:pt x="214" y="106"/>
                  </a:lnTo>
                  <a:lnTo>
                    <a:pt x="199" y="109"/>
                  </a:lnTo>
                  <a:lnTo>
                    <a:pt x="194" y="119"/>
                  </a:lnTo>
                  <a:lnTo>
                    <a:pt x="182" y="126"/>
                  </a:lnTo>
                  <a:lnTo>
                    <a:pt x="179" y="141"/>
                  </a:lnTo>
                  <a:lnTo>
                    <a:pt x="162" y="144"/>
                  </a:lnTo>
                  <a:lnTo>
                    <a:pt x="147" y="159"/>
                  </a:lnTo>
                  <a:lnTo>
                    <a:pt x="152" y="119"/>
                  </a:lnTo>
                  <a:lnTo>
                    <a:pt x="127" y="106"/>
                  </a:lnTo>
                  <a:lnTo>
                    <a:pt x="100" y="87"/>
                  </a:lnTo>
                  <a:lnTo>
                    <a:pt x="80" y="84"/>
                  </a:lnTo>
                  <a:lnTo>
                    <a:pt x="47" y="79"/>
                  </a:lnTo>
                  <a:lnTo>
                    <a:pt x="40" y="94"/>
                  </a:lnTo>
                  <a:lnTo>
                    <a:pt x="23" y="101"/>
                  </a:lnTo>
                  <a:lnTo>
                    <a:pt x="20" y="79"/>
                  </a:lnTo>
                  <a:lnTo>
                    <a:pt x="18" y="67"/>
                  </a:lnTo>
                  <a:lnTo>
                    <a:pt x="13" y="57"/>
                  </a:lnTo>
                  <a:lnTo>
                    <a:pt x="10" y="37"/>
                  </a:lnTo>
                  <a:lnTo>
                    <a:pt x="3" y="29"/>
                  </a:lnTo>
                  <a:lnTo>
                    <a:pt x="8" y="22"/>
                  </a:lnTo>
                  <a:lnTo>
                    <a:pt x="0" y="17"/>
                  </a:lnTo>
                  <a:lnTo>
                    <a:pt x="0" y="5"/>
                  </a:lnTo>
                  <a:lnTo>
                    <a:pt x="20" y="22"/>
                  </a:lnTo>
                  <a:lnTo>
                    <a:pt x="30" y="7"/>
                  </a:lnTo>
                  <a:lnTo>
                    <a:pt x="45" y="0"/>
                  </a:lnTo>
                  <a:lnTo>
                    <a:pt x="60" y="5"/>
                  </a:lnTo>
                  <a:lnTo>
                    <a:pt x="60" y="17"/>
                  </a:lnTo>
                  <a:lnTo>
                    <a:pt x="77" y="22"/>
                  </a:lnTo>
                  <a:lnTo>
                    <a:pt x="100" y="29"/>
                  </a:lnTo>
                  <a:lnTo>
                    <a:pt x="102" y="17"/>
                  </a:lnTo>
                  <a:lnTo>
                    <a:pt x="112" y="12"/>
                  </a:lnTo>
                  <a:lnTo>
                    <a:pt x="125" y="7"/>
                  </a:lnTo>
                  <a:lnTo>
                    <a:pt x="130" y="17"/>
                  </a:lnTo>
                  <a:lnTo>
                    <a:pt x="139" y="24"/>
                  </a:lnTo>
                  <a:lnTo>
                    <a:pt x="135" y="32"/>
                  </a:lnTo>
                  <a:lnTo>
                    <a:pt x="149" y="37"/>
                  </a:lnTo>
                  <a:lnTo>
                    <a:pt x="157" y="37"/>
                  </a:lnTo>
                  <a:lnTo>
                    <a:pt x="167" y="42"/>
                  </a:lnTo>
                  <a:lnTo>
                    <a:pt x="162" y="54"/>
                  </a:lnTo>
                  <a:lnTo>
                    <a:pt x="204" y="89"/>
                  </a:lnTo>
                  <a:lnTo>
                    <a:pt x="214" y="82"/>
                  </a:lnTo>
                  <a:lnTo>
                    <a:pt x="224" y="87"/>
                  </a:lnTo>
                  <a:lnTo>
                    <a:pt x="222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1" name="Freeform 259"/>
            <p:cNvSpPr>
              <a:spLocks/>
            </p:cNvSpPr>
            <p:nvPr/>
          </p:nvSpPr>
          <p:spPr bwMode="auto">
            <a:xfrm>
              <a:off x="5925523" y="3138909"/>
              <a:ext cx="207250" cy="132410"/>
            </a:xfrm>
            <a:custGeom>
              <a:avLst/>
              <a:gdLst>
                <a:gd name="T0" fmla="*/ 45 w 144"/>
                <a:gd name="T1" fmla="*/ 10 h 92"/>
                <a:gd name="T2" fmla="*/ 35 w 144"/>
                <a:gd name="T3" fmla="*/ 30 h 92"/>
                <a:gd name="T4" fmla="*/ 20 w 144"/>
                <a:gd name="T5" fmla="*/ 50 h 92"/>
                <a:gd name="T6" fmla="*/ 0 w 144"/>
                <a:gd name="T7" fmla="*/ 84 h 92"/>
                <a:gd name="T8" fmla="*/ 12 w 144"/>
                <a:gd name="T9" fmla="*/ 79 h 92"/>
                <a:gd name="T10" fmla="*/ 40 w 144"/>
                <a:gd name="T11" fmla="*/ 72 h 92"/>
                <a:gd name="T12" fmla="*/ 47 w 144"/>
                <a:gd name="T13" fmla="*/ 57 h 92"/>
                <a:gd name="T14" fmla="*/ 54 w 144"/>
                <a:gd name="T15" fmla="*/ 60 h 92"/>
                <a:gd name="T16" fmla="*/ 64 w 144"/>
                <a:gd name="T17" fmla="*/ 82 h 92"/>
                <a:gd name="T18" fmla="*/ 84 w 144"/>
                <a:gd name="T19" fmla="*/ 89 h 92"/>
                <a:gd name="T20" fmla="*/ 122 w 144"/>
                <a:gd name="T21" fmla="*/ 92 h 92"/>
                <a:gd name="T22" fmla="*/ 122 w 144"/>
                <a:gd name="T23" fmla="*/ 75 h 92"/>
                <a:gd name="T24" fmla="*/ 119 w 144"/>
                <a:gd name="T25" fmla="*/ 77 h 92"/>
                <a:gd name="T26" fmla="*/ 99 w 144"/>
                <a:gd name="T27" fmla="*/ 65 h 92"/>
                <a:gd name="T28" fmla="*/ 102 w 144"/>
                <a:gd name="T29" fmla="*/ 37 h 92"/>
                <a:gd name="T30" fmla="*/ 117 w 144"/>
                <a:gd name="T31" fmla="*/ 27 h 92"/>
                <a:gd name="T32" fmla="*/ 144 w 144"/>
                <a:gd name="T33" fmla="*/ 45 h 92"/>
                <a:gd name="T34" fmla="*/ 127 w 144"/>
                <a:gd name="T35" fmla="*/ 0 h 92"/>
                <a:gd name="T36" fmla="*/ 107 w 144"/>
                <a:gd name="T37" fmla="*/ 15 h 92"/>
                <a:gd name="T38" fmla="*/ 87 w 144"/>
                <a:gd name="T39" fmla="*/ 17 h 92"/>
                <a:gd name="T40" fmla="*/ 45 w 144"/>
                <a:gd name="T41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92">
                  <a:moveTo>
                    <a:pt x="45" y="10"/>
                  </a:moveTo>
                  <a:lnTo>
                    <a:pt x="35" y="30"/>
                  </a:lnTo>
                  <a:lnTo>
                    <a:pt x="20" y="50"/>
                  </a:lnTo>
                  <a:lnTo>
                    <a:pt x="0" y="84"/>
                  </a:lnTo>
                  <a:lnTo>
                    <a:pt x="12" y="79"/>
                  </a:lnTo>
                  <a:lnTo>
                    <a:pt x="40" y="72"/>
                  </a:lnTo>
                  <a:lnTo>
                    <a:pt x="47" y="57"/>
                  </a:lnTo>
                  <a:lnTo>
                    <a:pt x="54" y="60"/>
                  </a:lnTo>
                  <a:lnTo>
                    <a:pt x="64" y="82"/>
                  </a:lnTo>
                  <a:lnTo>
                    <a:pt x="84" y="89"/>
                  </a:lnTo>
                  <a:lnTo>
                    <a:pt x="122" y="92"/>
                  </a:lnTo>
                  <a:lnTo>
                    <a:pt x="122" y="75"/>
                  </a:lnTo>
                  <a:lnTo>
                    <a:pt x="119" y="77"/>
                  </a:lnTo>
                  <a:lnTo>
                    <a:pt x="99" y="65"/>
                  </a:lnTo>
                  <a:lnTo>
                    <a:pt x="102" y="37"/>
                  </a:lnTo>
                  <a:lnTo>
                    <a:pt x="117" y="27"/>
                  </a:lnTo>
                  <a:lnTo>
                    <a:pt x="144" y="45"/>
                  </a:lnTo>
                  <a:lnTo>
                    <a:pt x="127" y="0"/>
                  </a:lnTo>
                  <a:lnTo>
                    <a:pt x="107" y="15"/>
                  </a:lnTo>
                  <a:lnTo>
                    <a:pt x="87" y="17"/>
                  </a:lnTo>
                  <a:lnTo>
                    <a:pt x="4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2" name="Freeform 260"/>
            <p:cNvSpPr>
              <a:spLocks/>
            </p:cNvSpPr>
            <p:nvPr/>
          </p:nvSpPr>
          <p:spPr bwMode="auto">
            <a:xfrm>
              <a:off x="5663582" y="2967640"/>
              <a:ext cx="326707" cy="292164"/>
            </a:xfrm>
            <a:custGeom>
              <a:avLst/>
              <a:gdLst>
                <a:gd name="T0" fmla="*/ 182 w 227"/>
                <a:gd name="T1" fmla="*/ 203 h 203"/>
                <a:gd name="T2" fmla="*/ 169 w 227"/>
                <a:gd name="T3" fmla="*/ 198 h 203"/>
                <a:gd name="T4" fmla="*/ 145 w 227"/>
                <a:gd name="T5" fmla="*/ 196 h 203"/>
                <a:gd name="T6" fmla="*/ 147 w 227"/>
                <a:gd name="T7" fmla="*/ 184 h 203"/>
                <a:gd name="T8" fmla="*/ 137 w 227"/>
                <a:gd name="T9" fmla="*/ 179 h 203"/>
                <a:gd name="T10" fmla="*/ 127 w 227"/>
                <a:gd name="T11" fmla="*/ 186 h 203"/>
                <a:gd name="T12" fmla="*/ 85 w 227"/>
                <a:gd name="T13" fmla="*/ 151 h 203"/>
                <a:gd name="T14" fmla="*/ 90 w 227"/>
                <a:gd name="T15" fmla="*/ 139 h 203"/>
                <a:gd name="T16" fmla="*/ 80 w 227"/>
                <a:gd name="T17" fmla="*/ 134 h 203"/>
                <a:gd name="T18" fmla="*/ 72 w 227"/>
                <a:gd name="T19" fmla="*/ 134 h 203"/>
                <a:gd name="T20" fmla="*/ 58 w 227"/>
                <a:gd name="T21" fmla="*/ 129 h 203"/>
                <a:gd name="T22" fmla="*/ 62 w 227"/>
                <a:gd name="T23" fmla="*/ 121 h 203"/>
                <a:gd name="T24" fmla="*/ 53 w 227"/>
                <a:gd name="T25" fmla="*/ 114 h 203"/>
                <a:gd name="T26" fmla="*/ 48 w 227"/>
                <a:gd name="T27" fmla="*/ 104 h 203"/>
                <a:gd name="T28" fmla="*/ 35 w 227"/>
                <a:gd name="T29" fmla="*/ 109 h 203"/>
                <a:gd name="T30" fmla="*/ 25 w 227"/>
                <a:gd name="T31" fmla="*/ 114 h 203"/>
                <a:gd name="T32" fmla="*/ 23 w 227"/>
                <a:gd name="T33" fmla="*/ 126 h 203"/>
                <a:gd name="T34" fmla="*/ 0 w 227"/>
                <a:gd name="T35" fmla="*/ 119 h 203"/>
                <a:gd name="T36" fmla="*/ 13 w 227"/>
                <a:gd name="T37" fmla="*/ 29 h 203"/>
                <a:gd name="T38" fmla="*/ 50 w 227"/>
                <a:gd name="T39" fmla="*/ 0 h 203"/>
                <a:gd name="T40" fmla="*/ 55 w 227"/>
                <a:gd name="T41" fmla="*/ 44 h 203"/>
                <a:gd name="T42" fmla="*/ 72 w 227"/>
                <a:gd name="T43" fmla="*/ 44 h 203"/>
                <a:gd name="T44" fmla="*/ 82 w 227"/>
                <a:gd name="T45" fmla="*/ 54 h 203"/>
                <a:gd name="T46" fmla="*/ 105 w 227"/>
                <a:gd name="T47" fmla="*/ 54 h 203"/>
                <a:gd name="T48" fmla="*/ 105 w 227"/>
                <a:gd name="T49" fmla="*/ 24 h 203"/>
                <a:gd name="T50" fmla="*/ 117 w 227"/>
                <a:gd name="T51" fmla="*/ 47 h 203"/>
                <a:gd name="T52" fmla="*/ 122 w 227"/>
                <a:gd name="T53" fmla="*/ 62 h 203"/>
                <a:gd name="T54" fmla="*/ 145 w 227"/>
                <a:gd name="T55" fmla="*/ 54 h 203"/>
                <a:gd name="T56" fmla="*/ 164 w 227"/>
                <a:gd name="T57" fmla="*/ 59 h 203"/>
                <a:gd name="T58" fmla="*/ 184 w 227"/>
                <a:gd name="T59" fmla="*/ 67 h 203"/>
                <a:gd name="T60" fmla="*/ 187 w 227"/>
                <a:gd name="T61" fmla="*/ 94 h 203"/>
                <a:gd name="T62" fmla="*/ 192 w 227"/>
                <a:gd name="T63" fmla="*/ 109 h 203"/>
                <a:gd name="T64" fmla="*/ 214 w 227"/>
                <a:gd name="T65" fmla="*/ 119 h 203"/>
                <a:gd name="T66" fmla="*/ 227 w 227"/>
                <a:gd name="T67" fmla="*/ 129 h 203"/>
                <a:gd name="T68" fmla="*/ 217 w 227"/>
                <a:gd name="T69" fmla="*/ 149 h 203"/>
                <a:gd name="T70" fmla="*/ 202 w 227"/>
                <a:gd name="T71" fmla="*/ 169 h 203"/>
                <a:gd name="T72" fmla="*/ 182 w 227"/>
                <a:gd name="T7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7" h="203">
                  <a:moveTo>
                    <a:pt x="182" y="203"/>
                  </a:moveTo>
                  <a:lnTo>
                    <a:pt x="169" y="198"/>
                  </a:lnTo>
                  <a:lnTo>
                    <a:pt x="145" y="196"/>
                  </a:lnTo>
                  <a:lnTo>
                    <a:pt x="147" y="184"/>
                  </a:lnTo>
                  <a:lnTo>
                    <a:pt x="137" y="179"/>
                  </a:lnTo>
                  <a:lnTo>
                    <a:pt x="127" y="186"/>
                  </a:lnTo>
                  <a:lnTo>
                    <a:pt x="85" y="151"/>
                  </a:lnTo>
                  <a:lnTo>
                    <a:pt x="90" y="139"/>
                  </a:lnTo>
                  <a:lnTo>
                    <a:pt x="80" y="134"/>
                  </a:lnTo>
                  <a:lnTo>
                    <a:pt x="72" y="134"/>
                  </a:lnTo>
                  <a:lnTo>
                    <a:pt x="58" y="129"/>
                  </a:lnTo>
                  <a:lnTo>
                    <a:pt x="62" y="121"/>
                  </a:lnTo>
                  <a:lnTo>
                    <a:pt x="53" y="114"/>
                  </a:lnTo>
                  <a:lnTo>
                    <a:pt x="48" y="104"/>
                  </a:lnTo>
                  <a:lnTo>
                    <a:pt x="35" y="109"/>
                  </a:lnTo>
                  <a:lnTo>
                    <a:pt x="25" y="114"/>
                  </a:lnTo>
                  <a:lnTo>
                    <a:pt x="23" y="126"/>
                  </a:lnTo>
                  <a:lnTo>
                    <a:pt x="0" y="119"/>
                  </a:lnTo>
                  <a:lnTo>
                    <a:pt x="13" y="29"/>
                  </a:lnTo>
                  <a:lnTo>
                    <a:pt x="50" y="0"/>
                  </a:lnTo>
                  <a:lnTo>
                    <a:pt x="55" y="44"/>
                  </a:lnTo>
                  <a:lnTo>
                    <a:pt x="72" y="44"/>
                  </a:lnTo>
                  <a:lnTo>
                    <a:pt x="82" y="54"/>
                  </a:lnTo>
                  <a:lnTo>
                    <a:pt x="105" y="54"/>
                  </a:lnTo>
                  <a:lnTo>
                    <a:pt x="105" y="24"/>
                  </a:lnTo>
                  <a:lnTo>
                    <a:pt x="117" y="47"/>
                  </a:lnTo>
                  <a:lnTo>
                    <a:pt x="122" y="62"/>
                  </a:lnTo>
                  <a:lnTo>
                    <a:pt x="145" y="54"/>
                  </a:lnTo>
                  <a:lnTo>
                    <a:pt x="164" y="59"/>
                  </a:lnTo>
                  <a:lnTo>
                    <a:pt x="184" y="67"/>
                  </a:lnTo>
                  <a:lnTo>
                    <a:pt x="187" y="94"/>
                  </a:lnTo>
                  <a:lnTo>
                    <a:pt x="192" y="109"/>
                  </a:lnTo>
                  <a:lnTo>
                    <a:pt x="214" y="119"/>
                  </a:lnTo>
                  <a:lnTo>
                    <a:pt x="227" y="129"/>
                  </a:lnTo>
                  <a:lnTo>
                    <a:pt x="217" y="149"/>
                  </a:lnTo>
                  <a:lnTo>
                    <a:pt x="202" y="169"/>
                  </a:lnTo>
                  <a:lnTo>
                    <a:pt x="182" y="20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3" name="Freeform 261"/>
            <p:cNvSpPr>
              <a:spLocks/>
            </p:cNvSpPr>
            <p:nvPr/>
          </p:nvSpPr>
          <p:spPr bwMode="auto">
            <a:xfrm>
              <a:off x="5357025" y="3045359"/>
              <a:ext cx="132410" cy="153998"/>
            </a:xfrm>
            <a:custGeom>
              <a:avLst/>
              <a:gdLst>
                <a:gd name="T0" fmla="*/ 0 w 92"/>
                <a:gd name="T1" fmla="*/ 10 h 107"/>
                <a:gd name="T2" fmla="*/ 7 w 92"/>
                <a:gd name="T3" fmla="*/ 35 h 107"/>
                <a:gd name="T4" fmla="*/ 19 w 92"/>
                <a:gd name="T5" fmla="*/ 62 h 107"/>
                <a:gd name="T6" fmla="*/ 37 w 92"/>
                <a:gd name="T7" fmla="*/ 95 h 107"/>
                <a:gd name="T8" fmla="*/ 22 w 92"/>
                <a:gd name="T9" fmla="*/ 105 h 107"/>
                <a:gd name="T10" fmla="*/ 44 w 92"/>
                <a:gd name="T11" fmla="*/ 105 h 107"/>
                <a:gd name="T12" fmla="*/ 49 w 92"/>
                <a:gd name="T13" fmla="*/ 90 h 107"/>
                <a:gd name="T14" fmla="*/ 59 w 92"/>
                <a:gd name="T15" fmla="*/ 85 h 107"/>
                <a:gd name="T16" fmla="*/ 67 w 92"/>
                <a:gd name="T17" fmla="*/ 107 h 107"/>
                <a:gd name="T18" fmla="*/ 77 w 92"/>
                <a:gd name="T19" fmla="*/ 100 h 107"/>
                <a:gd name="T20" fmla="*/ 82 w 92"/>
                <a:gd name="T21" fmla="*/ 80 h 107"/>
                <a:gd name="T22" fmla="*/ 92 w 92"/>
                <a:gd name="T23" fmla="*/ 75 h 107"/>
                <a:gd name="T24" fmla="*/ 89 w 92"/>
                <a:gd name="T25" fmla="*/ 65 h 107"/>
                <a:gd name="T26" fmla="*/ 72 w 92"/>
                <a:gd name="T27" fmla="*/ 53 h 107"/>
                <a:gd name="T28" fmla="*/ 54 w 92"/>
                <a:gd name="T29" fmla="*/ 35 h 107"/>
                <a:gd name="T30" fmla="*/ 34 w 92"/>
                <a:gd name="T31" fmla="*/ 0 h 107"/>
                <a:gd name="T32" fmla="*/ 0 w 92"/>
                <a:gd name="T3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7">
                  <a:moveTo>
                    <a:pt x="0" y="10"/>
                  </a:moveTo>
                  <a:lnTo>
                    <a:pt x="7" y="35"/>
                  </a:lnTo>
                  <a:lnTo>
                    <a:pt x="19" y="62"/>
                  </a:lnTo>
                  <a:lnTo>
                    <a:pt x="37" y="95"/>
                  </a:lnTo>
                  <a:lnTo>
                    <a:pt x="22" y="105"/>
                  </a:lnTo>
                  <a:lnTo>
                    <a:pt x="44" y="105"/>
                  </a:lnTo>
                  <a:lnTo>
                    <a:pt x="49" y="90"/>
                  </a:lnTo>
                  <a:lnTo>
                    <a:pt x="59" y="85"/>
                  </a:lnTo>
                  <a:lnTo>
                    <a:pt x="67" y="107"/>
                  </a:lnTo>
                  <a:lnTo>
                    <a:pt x="77" y="100"/>
                  </a:lnTo>
                  <a:lnTo>
                    <a:pt x="82" y="80"/>
                  </a:lnTo>
                  <a:lnTo>
                    <a:pt x="92" y="75"/>
                  </a:lnTo>
                  <a:lnTo>
                    <a:pt x="89" y="65"/>
                  </a:lnTo>
                  <a:lnTo>
                    <a:pt x="72" y="53"/>
                  </a:lnTo>
                  <a:lnTo>
                    <a:pt x="54" y="35"/>
                  </a:lnTo>
                  <a:lnTo>
                    <a:pt x="34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4" name="Freeform 262"/>
            <p:cNvSpPr>
              <a:spLocks/>
            </p:cNvSpPr>
            <p:nvPr/>
          </p:nvSpPr>
          <p:spPr bwMode="auto">
            <a:xfrm>
              <a:off x="3850145" y="3965030"/>
              <a:ext cx="86354" cy="25906"/>
            </a:xfrm>
            <a:custGeom>
              <a:avLst/>
              <a:gdLst>
                <a:gd name="T0" fmla="*/ 5 w 60"/>
                <a:gd name="T1" fmla="*/ 0 h 18"/>
                <a:gd name="T2" fmla="*/ 27 w 60"/>
                <a:gd name="T3" fmla="*/ 3 h 18"/>
                <a:gd name="T4" fmla="*/ 37 w 60"/>
                <a:gd name="T5" fmla="*/ 0 h 18"/>
                <a:gd name="T6" fmla="*/ 60 w 60"/>
                <a:gd name="T7" fmla="*/ 3 h 18"/>
                <a:gd name="T8" fmla="*/ 60 w 60"/>
                <a:gd name="T9" fmla="*/ 13 h 18"/>
                <a:gd name="T10" fmla="*/ 47 w 60"/>
                <a:gd name="T11" fmla="*/ 10 h 18"/>
                <a:gd name="T12" fmla="*/ 37 w 60"/>
                <a:gd name="T13" fmla="*/ 8 h 18"/>
                <a:gd name="T14" fmla="*/ 20 w 60"/>
                <a:gd name="T15" fmla="*/ 18 h 18"/>
                <a:gd name="T16" fmla="*/ 0 w 60"/>
                <a:gd name="T17" fmla="*/ 15 h 18"/>
                <a:gd name="T18" fmla="*/ 12 w 60"/>
                <a:gd name="T19" fmla="*/ 8 h 18"/>
                <a:gd name="T20" fmla="*/ 5 w 6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8">
                  <a:moveTo>
                    <a:pt x="5" y="0"/>
                  </a:moveTo>
                  <a:lnTo>
                    <a:pt x="27" y="3"/>
                  </a:lnTo>
                  <a:lnTo>
                    <a:pt x="37" y="0"/>
                  </a:lnTo>
                  <a:lnTo>
                    <a:pt x="60" y="3"/>
                  </a:lnTo>
                  <a:lnTo>
                    <a:pt x="60" y="13"/>
                  </a:lnTo>
                  <a:lnTo>
                    <a:pt x="47" y="10"/>
                  </a:lnTo>
                  <a:lnTo>
                    <a:pt x="37" y="8"/>
                  </a:lnTo>
                  <a:lnTo>
                    <a:pt x="20" y="18"/>
                  </a:lnTo>
                  <a:lnTo>
                    <a:pt x="0" y="15"/>
                  </a:lnTo>
                  <a:lnTo>
                    <a:pt x="12" y="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5" name="Freeform 263"/>
            <p:cNvSpPr>
              <a:spLocks/>
            </p:cNvSpPr>
            <p:nvPr/>
          </p:nvSpPr>
          <p:spPr bwMode="auto">
            <a:xfrm>
              <a:off x="3850145" y="3998133"/>
              <a:ext cx="74840" cy="38859"/>
            </a:xfrm>
            <a:custGeom>
              <a:avLst/>
              <a:gdLst>
                <a:gd name="T0" fmla="*/ 52 w 52"/>
                <a:gd name="T1" fmla="*/ 7 h 27"/>
                <a:gd name="T2" fmla="*/ 27 w 52"/>
                <a:gd name="T3" fmla="*/ 0 h 27"/>
                <a:gd name="T4" fmla="*/ 0 w 52"/>
                <a:gd name="T5" fmla="*/ 5 h 27"/>
                <a:gd name="T6" fmla="*/ 0 w 52"/>
                <a:gd name="T7" fmla="*/ 19 h 27"/>
                <a:gd name="T8" fmla="*/ 15 w 52"/>
                <a:gd name="T9" fmla="*/ 19 h 27"/>
                <a:gd name="T10" fmla="*/ 22 w 52"/>
                <a:gd name="T11" fmla="*/ 27 h 27"/>
                <a:gd name="T12" fmla="*/ 32 w 52"/>
                <a:gd name="T13" fmla="*/ 14 h 27"/>
                <a:gd name="T14" fmla="*/ 52 w 52"/>
                <a:gd name="T15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27">
                  <a:moveTo>
                    <a:pt x="52" y="7"/>
                  </a:moveTo>
                  <a:lnTo>
                    <a:pt x="27" y="0"/>
                  </a:lnTo>
                  <a:lnTo>
                    <a:pt x="0" y="5"/>
                  </a:lnTo>
                  <a:lnTo>
                    <a:pt x="0" y="19"/>
                  </a:lnTo>
                  <a:lnTo>
                    <a:pt x="15" y="19"/>
                  </a:lnTo>
                  <a:lnTo>
                    <a:pt x="22" y="27"/>
                  </a:lnTo>
                  <a:lnTo>
                    <a:pt x="32" y="14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6" name="Freeform 264"/>
            <p:cNvSpPr>
              <a:spLocks/>
            </p:cNvSpPr>
            <p:nvPr/>
          </p:nvSpPr>
          <p:spPr bwMode="auto">
            <a:xfrm>
              <a:off x="4644603" y="2874089"/>
              <a:ext cx="156877" cy="86354"/>
            </a:xfrm>
            <a:custGeom>
              <a:avLst/>
              <a:gdLst>
                <a:gd name="T0" fmla="*/ 109 w 109"/>
                <a:gd name="T1" fmla="*/ 15 h 60"/>
                <a:gd name="T2" fmla="*/ 94 w 109"/>
                <a:gd name="T3" fmla="*/ 2 h 60"/>
                <a:gd name="T4" fmla="*/ 87 w 109"/>
                <a:gd name="T5" fmla="*/ 0 h 60"/>
                <a:gd name="T6" fmla="*/ 57 w 109"/>
                <a:gd name="T7" fmla="*/ 5 h 60"/>
                <a:gd name="T8" fmla="*/ 37 w 109"/>
                <a:gd name="T9" fmla="*/ 5 h 60"/>
                <a:gd name="T10" fmla="*/ 12 w 109"/>
                <a:gd name="T11" fmla="*/ 2 h 60"/>
                <a:gd name="T12" fmla="*/ 15 w 109"/>
                <a:gd name="T13" fmla="*/ 20 h 60"/>
                <a:gd name="T14" fmla="*/ 7 w 109"/>
                <a:gd name="T15" fmla="*/ 30 h 60"/>
                <a:gd name="T16" fmla="*/ 7 w 109"/>
                <a:gd name="T17" fmla="*/ 35 h 60"/>
                <a:gd name="T18" fmla="*/ 0 w 109"/>
                <a:gd name="T19" fmla="*/ 42 h 60"/>
                <a:gd name="T20" fmla="*/ 7 w 109"/>
                <a:gd name="T21" fmla="*/ 45 h 60"/>
                <a:gd name="T22" fmla="*/ 27 w 109"/>
                <a:gd name="T23" fmla="*/ 55 h 60"/>
                <a:gd name="T24" fmla="*/ 47 w 109"/>
                <a:gd name="T25" fmla="*/ 60 h 60"/>
                <a:gd name="T26" fmla="*/ 57 w 109"/>
                <a:gd name="T27" fmla="*/ 50 h 60"/>
                <a:gd name="T28" fmla="*/ 72 w 109"/>
                <a:gd name="T29" fmla="*/ 52 h 60"/>
                <a:gd name="T30" fmla="*/ 89 w 109"/>
                <a:gd name="T31" fmla="*/ 47 h 60"/>
                <a:gd name="T32" fmla="*/ 102 w 109"/>
                <a:gd name="T33" fmla="*/ 27 h 60"/>
                <a:gd name="T34" fmla="*/ 109 w 109"/>
                <a:gd name="T35" fmla="*/ 1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60">
                  <a:moveTo>
                    <a:pt x="109" y="15"/>
                  </a:moveTo>
                  <a:lnTo>
                    <a:pt x="94" y="2"/>
                  </a:lnTo>
                  <a:lnTo>
                    <a:pt x="87" y="0"/>
                  </a:lnTo>
                  <a:lnTo>
                    <a:pt x="57" y="5"/>
                  </a:lnTo>
                  <a:lnTo>
                    <a:pt x="37" y="5"/>
                  </a:lnTo>
                  <a:lnTo>
                    <a:pt x="12" y="2"/>
                  </a:lnTo>
                  <a:lnTo>
                    <a:pt x="15" y="20"/>
                  </a:lnTo>
                  <a:lnTo>
                    <a:pt x="7" y="30"/>
                  </a:lnTo>
                  <a:lnTo>
                    <a:pt x="7" y="35"/>
                  </a:lnTo>
                  <a:lnTo>
                    <a:pt x="0" y="42"/>
                  </a:lnTo>
                  <a:lnTo>
                    <a:pt x="7" y="45"/>
                  </a:lnTo>
                  <a:lnTo>
                    <a:pt x="27" y="55"/>
                  </a:lnTo>
                  <a:lnTo>
                    <a:pt x="47" y="60"/>
                  </a:lnTo>
                  <a:lnTo>
                    <a:pt x="57" y="50"/>
                  </a:lnTo>
                  <a:lnTo>
                    <a:pt x="72" y="52"/>
                  </a:lnTo>
                  <a:lnTo>
                    <a:pt x="89" y="47"/>
                  </a:lnTo>
                  <a:lnTo>
                    <a:pt x="102" y="27"/>
                  </a:lnTo>
                  <a:lnTo>
                    <a:pt x="109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7" name="Freeform 265"/>
            <p:cNvSpPr>
              <a:spLocks/>
            </p:cNvSpPr>
            <p:nvPr/>
          </p:nvSpPr>
          <p:spPr bwMode="auto">
            <a:xfrm>
              <a:off x="4340925" y="2766147"/>
              <a:ext cx="77719" cy="64765"/>
            </a:xfrm>
            <a:custGeom>
              <a:avLst/>
              <a:gdLst>
                <a:gd name="T0" fmla="*/ 0 w 54"/>
                <a:gd name="T1" fmla="*/ 3 h 45"/>
                <a:gd name="T2" fmla="*/ 0 w 54"/>
                <a:gd name="T3" fmla="*/ 15 h 45"/>
                <a:gd name="T4" fmla="*/ 12 w 54"/>
                <a:gd name="T5" fmla="*/ 23 h 45"/>
                <a:gd name="T6" fmla="*/ 19 w 54"/>
                <a:gd name="T7" fmla="*/ 38 h 45"/>
                <a:gd name="T8" fmla="*/ 42 w 54"/>
                <a:gd name="T9" fmla="*/ 45 h 45"/>
                <a:gd name="T10" fmla="*/ 44 w 54"/>
                <a:gd name="T11" fmla="*/ 35 h 45"/>
                <a:gd name="T12" fmla="*/ 54 w 54"/>
                <a:gd name="T13" fmla="*/ 23 h 45"/>
                <a:gd name="T14" fmla="*/ 44 w 54"/>
                <a:gd name="T15" fmla="*/ 18 h 45"/>
                <a:gd name="T16" fmla="*/ 39 w 54"/>
                <a:gd name="T17" fmla="*/ 3 h 45"/>
                <a:gd name="T18" fmla="*/ 29 w 54"/>
                <a:gd name="T19" fmla="*/ 0 h 45"/>
                <a:gd name="T20" fmla="*/ 19 w 54"/>
                <a:gd name="T21" fmla="*/ 3 h 45"/>
                <a:gd name="T22" fmla="*/ 0 w 54"/>
                <a:gd name="T23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45">
                  <a:moveTo>
                    <a:pt x="0" y="3"/>
                  </a:moveTo>
                  <a:lnTo>
                    <a:pt x="0" y="15"/>
                  </a:lnTo>
                  <a:lnTo>
                    <a:pt x="12" y="23"/>
                  </a:lnTo>
                  <a:lnTo>
                    <a:pt x="19" y="38"/>
                  </a:lnTo>
                  <a:lnTo>
                    <a:pt x="42" y="45"/>
                  </a:lnTo>
                  <a:lnTo>
                    <a:pt x="44" y="35"/>
                  </a:lnTo>
                  <a:lnTo>
                    <a:pt x="54" y="23"/>
                  </a:lnTo>
                  <a:lnTo>
                    <a:pt x="44" y="18"/>
                  </a:lnTo>
                  <a:lnTo>
                    <a:pt x="39" y="3"/>
                  </a:lnTo>
                  <a:lnTo>
                    <a:pt x="29" y="0"/>
                  </a:lnTo>
                  <a:lnTo>
                    <a:pt x="19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8" name="Freeform 266"/>
            <p:cNvSpPr>
              <a:spLocks/>
            </p:cNvSpPr>
            <p:nvPr/>
          </p:nvSpPr>
          <p:spPr bwMode="auto">
            <a:xfrm>
              <a:off x="4418644" y="2898557"/>
              <a:ext cx="86354" cy="50373"/>
            </a:xfrm>
            <a:custGeom>
              <a:avLst/>
              <a:gdLst>
                <a:gd name="T0" fmla="*/ 10 w 60"/>
                <a:gd name="T1" fmla="*/ 35 h 35"/>
                <a:gd name="T2" fmla="*/ 0 w 60"/>
                <a:gd name="T3" fmla="*/ 28 h 35"/>
                <a:gd name="T4" fmla="*/ 5 w 60"/>
                <a:gd name="T5" fmla="*/ 15 h 35"/>
                <a:gd name="T6" fmla="*/ 13 w 60"/>
                <a:gd name="T7" fmla="*/ 5 h 35"/>
                <a:gd name="T8" fmla="*/ 23 w 60"/>
                <a:gd name="T9" fmla="*/ 3 h 35"/>
                <a:gd name="T10" fmla="*/ 33 w 60"/>
                <a:gd name="T11" fmla="*/ 3 h 35"/>
                <a:gd name="T12" fmla="*/ 45 w 60"/>
                <a:gd name="T13" fmla="*/ 0 h 35"/>
                <a:gd name="T14" fmla="*/ 55 w 60"/>
                <a:gd name="T15" fmla="*/ 5 h 35"/>
                <a:gd name="T16" fmla="*/ 60 w 60"/>
                <a:gd name="T17" fmla="*/ 18 h 35"/>
                <a:gd name="T18" fmla="*/ 52 w 60"/>
                <a:gd name="T19" fmla="*/ 33 h 35"/>
                <a:gd name="T20" fmla="*/ 45 w 60"/>
                <a:gd name="T21" fmla="*/ 28 h 35"/>
                <a:gd name="T22" fmla="*/ 40 w 60"/>
                <a:gd name="T23" fmla="*/ 35 h 35"/>
                <a:gd name="T24" fmla="*/ 35 w 60"/>
                <a:gd name="T25" fmla="*/ 28 h 35"/>
                <a:gd name="T26" fmla="*/ 28 w 60"/>
                <a:gd name="T27" fmla="*/ 35 h 35"/>
                <a:gd name="T28" fmla="*/ 10 w 60"/>
                <a:gd name="T2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35">
                  <a:moveTo>
                    <a:pt x="10" y="35"/>
                  </a:moveTo>
                  <a:lnTo>
                    <a:pt x="0" y="28"/>
                  </a:lnTo>
                  <a:lnTo>
                    <a:pt x="5" y="15"/>
                  </a:lnTo>
                  <a:lnTo>
                    <a:pt x="13" y="5"/>
                  </a:lnTo>
                  <a:lnTo>
                    <a:pt x="23" y="3"/>
                  </a:lnTo>
                  <a:lnTo>
                    <a:pt x="33" y="3"/>
                  </a:lnTo>
                  <a:lnTo>
                    <a:pt x="45" y="0"/>
                  </a:lnTo>
                  <a:lnTo>
                    <a:pt x="55" y="5"/>
                  </a:lnTo>
                  <a:lnTo>
                    <a:pt x="60" y="18"/>
                  </a:lnTo>
                  <a:lnTo>
                    <a:pt x="52" y="33"/>
                  </a:lnTo>
                  <a:lnTo>
                    <a:pt x="45" y="28"/>
                  </a:lnTo>
                  <a:lnTo>
                    <a:pt x="40" y="35"/>
                  </a:lnTo>
                  <a:lnTo>
                    <a:pt x="35" y="28"/>
                  </a:lnTo>
                  <a:lnTo>
                    <a:pt x="28" y="35"/>
                  </a:lnTo>
                  <a:lnTo>
                    <a:pt x="10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49" name="Freeform 267"/>
            <p:cNvSpPr>
              <a:spLocks/>
            </p:cNvSpPr>
            <p:nvPr/>
          </p:nvSpPr>
          <p:spPr bwMode="auto">
            <a:xfrm>
              <a:off x="4454624" y="2541626"/>
              <a:ext cx="67645" cy="110821"/>
            </a:xfrm>
            <a:custGeom>
              <a:avLst/>
              <a:gdLst>
                <a:gd name="T0" fmla="*/ 37 w 47"/>
                <a:gd name="T1" fmla="*/ 72 h 77"/>
                <a:gd name="T2" fmla="*/ 17 w 47"/>
                <a:gd name="T3" fmla="*/ 77 h 77"/>
                <a:gd name="T4" fmla="*/ 10 w 47"/>
                <a:gd name="T5" fmla="*/ 59 h 77"/>
                <a:gd name="T6" fmla="*/ 0 w 47"/>
                <a:gd name="T7" fmla="*/ 55 h 77"/>
                <a:gd name="T8" fmla="*/ 0 w 47"/>
                <a:gd name="T9" fmla="*/ 25 h 77"/>
                <a:gd name="T10" fmla="*/ 22 w 47"/>
                <a:gd name="T11" fmla="*/ 22 h 77"/>
                <a:gd name="T12" fmla="*/ 35 w 47"/>
                <a:gd name="T13" fmla="*/ 0 h 77"/>
                <a:gd name="T14" fmla="*/ 47 w 47"/>
                <a:gd name="T15" fmla="*/ 22 h 77"/>
                <a:gd name="T16" fmla="*/ 35 w 47"/>
                <a:gd name="T17" fmla="*/ 55 h 77"/>
                <a:gd name="T18" fmla="*/ 37 w 47"/>
                <a:gd name="T19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77">
                  <a:moveTo>
                    <a:pt x="37" y="72"/>
                  </a:moveTo>
                  <a:lnTo>
                    <a:pt x="17" y="77"/>
                  </a:lnTo>
                  <a:lnTo>
                    <a:pt x="10" y="59"/>
                  </a:lnTo>
                  <a:lnTo>
                    <a:pt x="0" y="55"/>
                  </a:lnTo>
                  <a:lnTo>
                    <a:pt x="0" y="25"/>
                  </a:lnTo>
                  <a:lnTo>
                    <a:pt x="22" y="22"/>
                  </a:lnTo>
                  <a:lnTo>
                    <a:pt x="35" y="0"/>
                  </a:lnTo>
                  <a:lnTo>
                    <a:pt x="47" y="22"/>
                  </a:lnTo>
                  <a:lnTo>
                    <a:pt x="35" y="55"/>
                  </a:lnTo>
                  <a:lnTo>
                    <a:pt x="37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0" name="Freeform 268"/>
            <p:cNvSpPr>
              <a:spLocks/>
            </p:cNvSpPr>
            <p:nvPr/>
          </p:nvSpPr>
          <p:spPr bwMode="auto">
            <a:xfrm>
              <a:off x="4479092" y="2522916"/>
              <a:ext cx="33102" cy="14392"/>
            </a:xfrm>
            <a:custGeom>
              <a:avLst/>
              <a:gdLst>
                <a:gd name="T0" fmla="*/ 0 w 23"/>
                <a:gd name="T1" fmla="*/ 10 h 10"/>
                <a:gd name="T2" fmla="*/ 5 w 23"/>
                <a:gd name="T3" fmla="*/ 0 h 10"/>
                <a:gd name="T4" fmla="*/ 15 w 23"/>
                <a:gd name="T5" fmla="*/ 0 h 10"/>
                <a:gd name="T6" fmla="*/ 23 w 23"/>
                <a:gd name="T7" fmla="*/ 0 h 10"/>
                <a:gd name="T8" fmla="*/ 0 w 2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0" y="10"/>
                  </a:moveTo>
                  <a:lnTo>
                    <a:pt x="5" y="0"/>
                  </a:lnTo>
                  <a:lnTo>
                    <a:pt x="15" y="0"/>
                  </a:lnTo>
                  <a:lnTo>
                    <a:pt x="23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1" name="Freeform 269"/>
            <p:cNvSpPr>
              <a:spLocks/>
            </p:cNvSpPr>
            <p:nvPr/>
          </p:nvSpPr>
          <p:spPr bwMode="auto">
            <a:xfrm>
              <a:off x="4368270" y="2698503"/>
              <a:ext cx="71962" cy="93551"/>
            </a:xfrm>
            <a:custGeom>
              <a:avLst/>
              <a:gdLst>
                <a:gd name="T0" fmla="*/ 0 w 50"/>
                <a:gd name="T1" fmla="*/ 50 h 65"/>
                <a:gd name="T2" fmla="*/ 10 w 50"/>
                <a:gd name="T3" fmla="*/ 47 h 65"/>
                <a:gd name="T4" fmla="*/ 20 w 50"/>
                <a:gd name="T5" fmla="*/ 50 h 65"/>
                <a:gd name="T6" fmla="*/ 25 w 50"/>
                <a:gd name="T7" fmla="*/ 65 h 65"/>
                <a:gd name="T8" fmla="*/ 28 w 50"/>
                <a:gd name="T9" fmla="*/ 45 h 65"/>
                <a:gd name="T10" fmla="*/ 40 w 50"/>
                <a:gd name="T11" fmla="*/ 35 h 65"/>
                <a:gd name="T12" fmla="*/ 50 w 50"/>
                <a:gd name="T13" fmla="*/ 20 h 65"/>
                <a:gd name="T14" fmla="*/ 50 w 50"/>
                <a:gd name="T15" fmla="*/ 0 h 65"/>
                <a:gd name="T16" fmla="*/ 28 w 50"/>
                <a:gd name="T17" fmla="*/ 3 h 65"/>
                <a:gd name="T18" fmla="*/ 23 w 50"/>
                <a:gd name="T19" fmla="*/ 10 h 65"/>
                <a:gd name="T20" fmla="*/ 23 w 50"/>
                <a:gd name="T21" fmla="*/ 13 h 65"/>
                <a:gd name="T22" fmla="*/ 20 w 50"/>
                <a:gd name="T23" fmla="*/ 20 h 65"/>
                <a:gd name="T24" fmla="*/ 10 w 50"/>
                <a:gd name="T25" fmla="*/ 13 h 65"/>
                <a:gd name="T26" fmla="*/ 3 w 50"/>
                <a:gd name="T27" fmla="*/ 35 h 65"/>
                <a:gd name="T28" fmla="*/ 5 w 50"/>
                <a:gd name="T29" fmla="*/ 37 h 65"/>
                <a:gd name="T30" fmla="*/ 0 w 50"/>
                <a:gd name="T31" fmla="*/ 5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65">
                  <a:moveTo>
                    <a:pt x="0" y="50"/>
                  </a:moveTo>
                  <a:lnTo>
                    <a:pt x="10" y="47"/>
                  </a:lnTo>
                  <a:lnTo>
                    <a:pt x="20" y="50"/>
                  </a:lnTo>
                  <a:lnTo>
                    <a:pt x="25" y="65"/>
                  </a:lnTo>
                  <a:lnTo>
                    <a:pt x="28" y="45"/>
                  </a:lnTo>
                  <a:lnTo>
                    <a:pt x="40" y="35"/>
                  </a:lnTo>
                  <a:lnTo>
                    <a:pt x="50" y="20"/>
                  </a:lnTo>
                  <a:lnTo>
                    <a:pt x="50" y="0"/>
                  </a:lnTo>
                  <a:lnTo>
                    <a:pt x="28" y="3"/>
                  </a:lnTo>
                  <a:lnTo>
                    <a:pt x="23" y="10"/>
                  </a:lnTo>
                  <a:lnTo>
                    <a:pt x="23" y="13"/>
                  </a:lnTo>
                  <a:lnTo>
                    <a:pt x="20" y="20"/>
                  </a:lnTo>
                  <a:lnTo>
                    <a:pt x="10" y="13"/>
                  </a:lnTo>
                  <a:lnTo>
                    <a:pt x="3" y="35"/>
                  </a:lnTo>
                  <a:lnTo>
                    <a:pt x="5" y="37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2" name="Freeform 270"/>
            <p:cNvSpPr>
              <a:spLocks/>
            </p:cNvSpPr>
            <p:nvPr/>
          </p:nvSpPr>
          <p:spPr bwMode="auto">
            <a:xfrm>
              <a:off x="3717736" y="2183256"/>
              <a:ext cx="233156" cy="139606"/>
            </a:xfrm>
            <a:custGeom>
              <a:avLst/>
              <a:gdLst>
                <a:gd name="T0" fmla="*/ 50 w 162"/>
                <a:gd name="T1" fmla="*/ 18 h 97"/>
                <a:gd name="T2" fmla="*/ 27 w 162"/>
                <a:gd name="T3" fmla="*/ 0 h 97"/>
                <a:gd name="T4" fmla="*/ 0 w 162"/>
                <a:gd name="T5" fmla="*/ 30 h 97"/>
                <a:gd name="T6" fmla="*/ 2 w 162"/>
                <a:gd name="T7" fmla="*/ 45 h 97"/>
                <a:gd name="T8" fmla="*/ 32 w 162"/>
                <a:gd name="T9" fmla="*/ 40 h 97"/>
                <a:gd name="T10" fmla="*/ 32 w 162"/>
                <a:gd name="T11" fmla="*/ 62 h 97"/>
                <a:gd name="T12" fmla="*/ 25 w 162"/>
                <a:gd name="T13" fmla="*/ 80 h 97"/>
                <a:gd name="T14" fmla="*/ 52 w 162"/>
                <a:gd name="T15" fmla="*/ 72 h 97"/>
                <a:gd name="T16" fmla="*/ 80 w 162"/>
                <a:gd name="T17" fmla="*/ 85 h 97"/>
                <a:gd name="T18" fmla="*/ 89 w 162"/>
                <a:gd name="T19" fmla="*/ 97 h 97"/>
                <a:gd name="T20" fmla="*/ 114 w 162"/>
                <a:gd name="T21" fmla="*/ 72 h 97"/>
                <a:gd name="T22" fmla="*/ 134 w 162"/>
                <a:gd name="T23" fmla="*/ 72 h 97"/>
                <a:gd name="T24" fmla="*/ 157 w 162"/>
                <a:gd name="T25" fmla="*/ 57 h 97"/>
                <a:gd name="T26" fmla="*/ 162 w 162"/>
                <a:gd name="T27" fmla="*/ 33 h 97"/>
                <a:gd name="T28" fmla="*/ 157 w 162"/>
                <a:gd name="T29" fmla="*/ 5 h 97"/>
                <a:gd name="T30" fmla="*/ 124 w 162"/>
                <a:gd name="T31" fmla="*/ 5 h 97"/>
                <a:gd name="T32" fmla="*/ 94 w 162"/>
                <a:gd name="T33" fmla="*/ 15 h 97"/>
                <a:gd name="T34" fmla="*/ 60 w 162"/>
                <a:gd name="T35" fmla="*/ 3 h 97"/>
                <a:gd name="T36" fmla="*/ 50 w 162"/>
                <a:gd name="T37" fmla="*/ 1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97">
                  <a:moveTo>
                    <a:pt x="50" y="18"/>
                  </a:moveTo>
                  <a:lnTo>
                    <a:pt x="27" y="0"/>
                  </a:lnTo>
                  <a:lnTo>
                    <a:pt x="0" y="30"/>
                  </a:lnTo>
                  <a:lnTo>
                    <a:pt x="2" y="45"/>
                  </a:lnTo>
                  <a:lnTo>
                    <a:pt x="32" y="40"/>
                  </a:lnTo>
                  <a:lnTo>
                    <a:pt x="32" y="62"/>
                  </a:lnTo>
                  <a:lnTo>
                    <a:pt x="25" y="80"/>
                  </a:lnTo>
                  <a:lnTo>
                    <a:pt x="52" y="72"/>
                  </a:lnTo>
                  <a:lnTo>
                    <a:pt x="80" y="85"/>
                  </a:lnTo>
                  <a:lnTo>
                    <a:pt x="89" y="97"/>
                  </a:lnTo>
                  <a:lnTo>
                    <a:pt x="114" y="72"/>
                  </a:lnTo>
                  <a:lnTo>
                    <a:pt x="134" y="72"/>
                  </a:lnTo>
                  <a:lnTo>
                    <a:pt x="157" y="57"/>
                  </a:lnTo>
                  <a:lnTo>
                    <a:pt x="162" y="33"/>
                  </a:lnTo>
                  <a:lnTo>
                    <a:pt x="157" y="5"/>
                  </a:lnTo>
                  <a:lnTo>
                    <a:pt x="124" y="5"/>
                  </a:lnTo>
                  <a:lnTo>
                    <a:pt x="94" y="15"/>
                  </a:lnTo>
                  <a:lnTo>
                    <a:pt x="60" y="3"/>
                  </a:lnTo>
                  <a:lnTo>
                    <a:pt x="50" y="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3" name="Freeform 271"/>
            <p:cNvSpPr>
              <a:spLocks/>
            </p:cNvSpPr>
            <p:nvPr/>
          </p:nvSpPr>
          <p:spPr bwMode="auto">
            <a:xfrm>
              <a:off x="4798602" y="3009377"/>
              <a:ext cx="142484" cy="107943"/>
            </a:xfrm>
            <a:custGeom>
              <a:avLst/>
              <a:gdLst>
                <a:gd name="T0" fmla="*/ 74 w 99"/>
                <a:gd name="T1" fmla="*/ 63 h 75"/>
                <a:gd name="T2" fmla="*/ 57 w 99"/>
                <a:gd name="T3" fmla="*/ 65 h 75"/>
                <a:gd name="T4" fmla="*/ 49 w 99"/>
                <a:gd name="T5" fmla="*/ 65 h 75"/>
                <a:gd name="T6" fmla="*/ 37 w 99"/>
                <a:gd name="T7" fmla="*/ 75 h 75"/>
                <a:gd name="T8" fmla="*/ 22 w 99"/>
                <a:gd name="T9" fmla="*/ 70 h 75"/>
                <a:gd name="T10" fmla="*/ 12 w 99"/>
                <a:gd name="T11" fmla="*/ 70 h 75"/>
                <a:gd name="T12" fmla="*/ 10 w 99"/>
                <a:gd name="T13" fmla="*/ 43 h 75"/>
                <a:gd name="T14" fmla="*/ 0 w 99"/>
                <a:gd name="T15" fmla="*/ 25 h 75"/>
                <a:gd name="T16" fmla="*/ 0 w 99"/>
                <a:gd name="T17" fmla="*/ 15 h 75"/>
                <a:gd name="T18" fmla="*/ 15 w 99"/>
                <a:gd name="T19" fmla="*/ 3 h 75"/>
                <a:gd name="T20" fmla="*/ 20 w 99"/>
                <a:gd name="T21" fmla="*/ 8 h 75"/>
                <a:gd name="T22" fmla="*/ 25 w 99"/>
                <a:gd name="T23" fmla="*/ 0 h 75"/>
                <a:gd name="T24" fmla="*/ 44 w 99"/>
                <a:gd name="T25" fmla="*/ 8 h 75"/>
                <a:gd name="T26" fmla="*/ 52 w 99"/>
                <a:gd name="T27" fmla="*/ 23 h 75"/>
                <a:gd name="T28" fmla="*/ 77 w 99"/>
                <a:gd name="T29" fmla="*/ 18 h 75"/>
                <a:gd name="T30" fmla="*/ 92 w 99"/>
                <a:gd name="T31" fmla="*/ 15 h 75"/>
                <a:gd name="T32" fmla="*/ 99 w 99"/>
                <a:gd name="T33" fmla="*/ 33 h 75"/>
                <a:gd name="T34" fmla="*/ 92 w 99"/>
                <a:gd name="T35" fmla="*/ 45 h 75"/>
                <a:gd name="T36" fmla="*/ 84 w 99"/>
                <a:gd name="T37" fmla="*/ 53 h 75"/>
                <a:gd name="T38" fmla="*/ 92 w 99"/>
                <a:gd name="T39" fmla="*/ 60 h 75"/>
                <a:gd name="T40" fmla="*/ 74 w 99"/>
                <a:gd name="T41" fmla="*/ 6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" h="75">
                  <a:moveTo>
                    <a:pt x="74" y="63"/>
                  </a:moveTo>
                  <a:lnTo>
                    <a:pt x="57" y="65"/>
                  </a:lnTo>
                  <a:lnTo>
                    <a:pt x="49" y="65"/>
                  </a:lnTo>
                  <a:lnTo>
                    <a:pt x="37" y="75"/>
                  </a:lnTo>
                  <a:lnTo>
                    <a:pt x="22" y="70"/>
                  </a:lnTo>
                  <a:lnTo>
                    <a:pt x="12" y="70"/>
                  </a:lnTo>
                  <a:lnTo>
                    <a:pt x="10" y="43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15" y="3"/>
                  </a:lnTo>
                  <a:lnTo>
                    <a:pt x="20" y="8"/>
                  </a:lnTo>
                  <a:lnTo>
                    <a:pt x="25" y="0"/>
                  </a:lnTo>
                  <a:lnTo>
                    <a:pt x="44" y="8"/>
                  </a:lnTo>
                  <a:lnTo>
                    <a:pt x="52" y="23"/>
                  </a:lnTo>
                  <a:lnTo>
                    <a:pt x="77" y="18"/>
                  </a:lnTo>
                  <a:lnTo>
                    <a:pt x="92" y="15"/>
                  </a:lnTo>
                  <a:lnTo>
                    <a:pt x="99" y="33"/>
                  </a:lnTo>
                  <a:lnTo>
                    <a:pt x="92" y="45"/>
                  </a:lnTo>
                  <a:lnTo>
                    <a:pt x="84" y="53"/>
                  </a:lnTo>
                  <a:lnTo>
                    <a:pt x="92" y="60"/>
                  </a:lnTo>
                  <a:lnTo>
                    <a:pt x="74" y="6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4" name="Freeform 272"/>
            <p:cNvSpPr>
              <a:spLocks/>
            </p:cNvSpPr>
            <p:nvPr/>
          </p:nvSpPr>
          <p:spPr bwMode="auto">
            <a:xfrm>
              <a:off x="4751107" y="2033576"/>
              <a:ext cx="243231" cy="428892"/>
            </a:xfrm>
            <a:custGeom>
              <a:avLst/>
              <a:gdLst>
                <a:gd name="T0" fmla="*/ 23 w 169"/>
                <a:gd name="T1" fmla="*/ 124 h 298"/>
                <a:gd name="T2" fmla="*/ 35 w 169"/>
                <a:gd name="T3" fmla="*/ 117 h 298"/>
                <a:gd name="T4" fmla="*/ 33 w 169"/>
                <a:gd name="T5" fmla="*/ 79 h 298"/>
                <a:gd name="T6" fmla="*/ 33 w 169"/>
                <a:gd name="T7" fmla="*/ 67 h 298"/>
                <a:gd name="T8" fmla="*/ 18 w 169"/>
                <a:gd name="T9" fmla="*/ 55 h 298"/>
                <a:gd name="T10" fmla="*/ 3 w 169"/>
                <a:gd name="T11" fmla="*/ 40 h 298"/>
                <a:gd name="T12" fmla="*/ 18 w 169"/>
                <a:gd name="T13" fmla="*/ 42 h 298"/>
                <a:gd name="T14" fmla="*/ 33 w 169"/>
                <a:gd name="T15" fmla="*/ 45 h 298"/>
                <a:gd name="T16" fmla="*/ 58 w 169"/>
                <a:gd name="T17" fmla="*/ 42 h 298"/>
                <a:gd name="T18" fmla="*/ 65 w 169"/>
                <a:gd name="T19" fmla="*/ 25 h 298"/>
                <a:gd name="T20" fmla="*/ 77 w 169"/>
                <a:gd name="T21" fmla="*/ 10 h 298"/>
                <a:gd name="T22" fmla="*/ 87 w 169"/>
                <a:gd name="T23" fmla="*/ 0 h 298"/>
                <a:gd name="T24" fmla="*/ 102 w 169"/>
                <a:gd name="T25" fmla="*/ 2 h 298"/>
                <a:gd name="T26" fmla="*/ 115 w 169"/>
                <a:gd name="T27" fmla="*/ 15 h 298"/>
                <a:gd name="T28" fmla="*/ 105 w 169"/>
                <a:gd name="T29" fmla="*/ 45 h 298"/>
                <a:gd name="T30" fmla="*/ 125 w 169"/>
                <a:gd name="T31" fmla="*/ 62 h 298"/>
                <a:gd name="T32" fmla="*/ 125 w 169"/>
                <a:gd name="T33" fmla="*/ 82 h 298"/>
                <a:gd name="T34" fmla="*/ 130 w 169"/>
                <a:gd name="T35" fmla="*/ 107 h 298"/>
                <a:gd name="T36" fmla="*/ 132 w 169"/>
                <a:gd name="T37" fmla="*/ 137 h 298"/>
                <a:gd name="T38" fmla="*/ 140 w 169"/>
                <a:gd name="T39" fmla="*/ 161 h 298"/>
                <a:gd name="T40" fmla="*/ 147 w 169"/>
                <a:gd name="T41" fmla="*/ 189 h 298"/>
                <a:gd name="T42" fmla="*/ 157 w 169"/>
                <a:gd name="T43" fmla="*/ 199 h 298"/>
                <a:gd name="T44" fmla="*/ 169 w 169"/>
                <a:gd name="T45" fmla="*/ 209 h 298"/>
                <a:gd name="T46" fmla="*/ 157 w 169"/>
                <a:gd name="T47" fmla="*/ 221 h 298"/>
                <a:gd name="T48" fmla="*/ 137 w 169"/>
                <a:gd name="T49" fmla="*/ 241 h 298"/>
                <a:gd name="T50" fmla="*/ 122 w 169"/>
                <a:gd name="T51" fmla="*/ 261 h 298"/>
                <a:gd name="T52" fmla="*/ 115 w 169"/>
                <a:gd name="T53" fmla="*/ 278 h 298"/>
                <a:gd name="T54" fmla="*/ 117 w 169"/>
                <a:gd name="T55" fmla="*/ 298 h 298"/>
                <a:gd name="T56" fmla="*/ 100 w 169"/>
                <a:gd name="T57" fmla="*/ 271 h 298"/>
                <a:gd name="T58" fmla="*/ 77 w 169"/>
                <a:gd name="T59" fmla="*/ 276 h 298"/>
                <a:gd name="T60" fmla="*/ 65 w 169"/>
                <a:gd name="T61" fmla="*/ 286 h 298"/>
                <a:gd name="T62" fmla="*/ 35 w 169"/>
                <a:gd name="T63" fmla="*/ 283 h 298"/>
                <a:gd name="T64" fmla="*/ 13 w 169"/>
                <a:gd name="T65" fmla="*/ 268 h 298"/>
                <a:gd name="T66" fmla="*/ 5 w 169"/>
                <a:gd name="T67" fmla="*/ 248 h 298"/>
                <a:gd name="T68" fmla="*/ 0 w 169"/>
                <a:gd name="T69" fmla="*/ 229 h 298"/>
                <a:gd name="T70" fmla="*/ 3 w 169"/>
                <a:gd name="T71" fmla="*/ 196 h 298"/>
                <a:gd name="T72" fmla="*/ 25 w 169"/>
                <a:gd name="T73" fmla="*/ 186 h 298"/>
                <a:gd name="T74" fmla="*/ 40 w 169"/>
                <a:gd name="T75" fmla="*/ 171 h 298"/>
                <a:gd name="T76" fmla="*/ 45 w 169"/>
                <a:gd name="T77" fmla="*/ 151 h 298"/>
                <a:gd name="T78" fmla="*/ 72 w 169"/>
                <a:gd name="T79" fmla="*/ 154 h 298"/>
                <a:gd name="T80" fmla="*/ 58 w 169"/>
                <a:gd name="T81" fmla="*/ 127 h 298"/>
                <a:gd name="T82" fmla="*/ 23 w 169"/>
                <a:gd name="T83" fmla="*/ 12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9" h="298">
                  <a:moveTo>
                    <a:pt x="23" y="124"/>
                  </a:moveTo>
                  <a:lnTo>
                    <a:pt x="35" y="117"/>
                  </a:lnTo>
                  <a:lnTo>
                    <a:pt x="33" y="79"/>
                  </a:lnTo>
                  <a:lnTo>
                    <a:pt x="33" y="67"/>
                  </a:lnTo>
                  <a:lnTo>
                    <a:pt x="18" y="55"/>
                  </a:lnTo>
                  <a:lnTo>
                    <a:pt x="3" y="40"/>
                  </a:lnTo>
                  <a:lnTo>
                    <a:pt x="18" y="42"/>
                  </a:lnTo>
                  <a:lnTo>
                    <a:pt x="33" y="45"/>
                  </a:lnTo>
                  <a:lnTo>
                    <a:pt x="58" y="42"/>
                  </a:lnTo>
                  <a:lnTo>
                    <a:pt x="65" y="25"/>
                  </a:lnTo>
                  <a:lnTo>
                    <a:pt x="77" y="10"/>
                  </a:lnTo>
                  <a:lnTo>
                    <a:pt x="87" y="0"/>
                  </a:lnTo>
                  <a:lnTo>
                    <a:pt x="102" y="2"/>
                  </a:lnTo>
                  <a:lnTo>
                    <a:pt x="115" y="15"/>
                  </a:lnTo>
                  <a:lnTo>
                    <a:pt x="105" y="45"/>
                  </a:lnTo>
                  <a:lnTo>
                    <a:pt x="125" y="62"/>
                  </a:lnTo>
                  <a:lnTo>
                    <a:pt x="125" y="82"/>
                  </a:lnTo>
                  <a:lnTo>
                    <a:pt x="130" y="107"/>
                  </a:lnTo>
                  <a:lnTo>
                    <a:pt x="132" y="137"/>
                  </a:lnTo>
                  <a:lnTo>
                    <a:pt x="140" y="161"/>
                  </a:lnTo>
                  <a:lnTo>
                    <a:pt x="147" y="189"/>
                  </a:lnTo>
                  <a:lnTo>
                    <a:pt x="157" y="199"/>
                  </a:lnTo>
                  <a:lnTo>
                    <a:pt x="169" y="209"/>
                  </a:lnTo>
                  <a:lnTo>
                    <a:pt x="157" y="221"/>
                  </a:lnTo>
                  <a:lnTo>
                    <a:pt x="137" y="241"/>
                  </a:lnTo>
                  <a:lnTo>
                    <a:pt x="122" y="261"/>
                  </a:lnTo>
                  <a:lnTo>
                    <a:pt x="115" y="278"/>
                  </a:lnTo>
                  <a:lnTo>
                    <a:pt x="117" y="298"/>
                  </a:lnTo>
                  <a:lnTo>
                    <a:pt x="100" y="271"/>
                  </a:lnTo>
                  <a:lnTo>
                    <a:pt x="77" y="276"/>
                  </a:lnTo>
                  <a:lnTo>
                    <a:pt x="65" y="286"/>
                  </a:lnTo>
                  <a:lnTo>
                    <a:pt x="35" y="283"/>
                  </a:lnTo>
                  <a:lnTo>
                    <a:pt x="13" y="268"/>
                  </a:lnTo>
                  <a:lnTo>
                    <a:pt x="5" y="248"/>
                  </a:lnTo>
                  <a:lnTo>
                    <a:pt x="0" y="229"/>
                  </a:lnTo>
                  <a:lnTo>
                    <a:pt x="3" y="196"/>
                  </a:lnTo>
                  <a:lnTo>
                    <a:pt x="25" y="186"/>
                  </a:lnTo>
                  <a:lnTo>
                    <a:pt x="40" y="171"/>
                  </a:lnTo>
                  <a:lnTo>
                    <a:pt x="45" y="151"/>
                  </a:lnTo>
                  <a:lnTo>
                    <a:pt x="72" y="154"/>
                  </a:lnTo>
                  <a:lnTo>
                    <a:pt x="58" y="127"/>
                  </a:lnTo>
                  <a:lnTo>
                    <a:pt x="23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5" name="Freeform 273"/>
            <p:cNvSpPr>
              <a:spLocks/>
            </p:cNvSpPr>
            <p:nvPr/>
          </p:nvSpPr>
          <p:spPr bwMode="auto">
            <a:xfrm>
              <a:off x="4497801" y="2849623"/>
              <a:ext cx="168391" cy="96428"/>
            </a:xfrm>
            <a:custGeom>
              <a:avLst/>
              <a:gdLst>
                <a:gd name="T0" fmla="*/ 5 w 117"/>
                <a:gd name="T1" fmla="*/ 52 h 67"/>
                <a:gd name="T2" fmla="*/ 0 w 117"/>
                <a:gd name="T3" fmla="*/ 39 h 67"/>
                <a:gd name="T4" fmla="*/ 7 w 117"/>
                <a:gd name="T5" fmla="*/ 42 h 67"/>
                <a:gd name="T6" fmla="*/ 15 w 117"/>
                <a:gd name="T7" fmla="*/ 42 h 67"/>
                <a:gd name="T8" fmla="*/ 37 w 117"/>
                <a:gd name="T9" fmla="*/ 34 h 67"/>
                <a:gd name="T10" fmla="*/ 52 w 117"/>
                <a:gd name="T11" fmla="*/ 22 h 67"/>
                <a:gd name="T12" fmla="*/ 57 w 117"/>
                <a:gd name="T13" fmla="*/ 17 h 67"/>
                <a:gd name="T14" fmla="*/ 60 w 117"/>
                <a:gd name="T15" fmla="*/ 0 h 67"/>
                <a:gd name="T16" fmla="*/ 72 w 117"/>
                <a:gd name="T17" fmla="*/ 12 h 67"/>
                <a:gd name="T18" fmla="*/ 84 w 117"/>
                <a:gd name="T19" fmla="*/ 10 h 67"/>
                <a:gd name="T20" fmla="*/ 89 w 117"/>
                <a:gd name="T21" fmla="*/ 0 h 67"/>
                <a:gd name="T22" fmla="*/ 104 w 117"/>
                <a:gd name="T23" fmla="*/ 2 h 67"/>
                <a:gd name="T24" fmla="*/ 102 w 117"/>
                <a:gd name="T25" fmla="*/ 12 h 67"/>
                <a:gd name="T26" fmla="*/ 114 w 117"/>
                <a:gd name="T27" fmla="*/ 19 h 67"/>
                <a:gd name="T28" fmla="*/ 117 w 117"/>
                <a:gd name="T29" fmla="*/ 37 h 67"/>
                <a:gd name="T30" fmla="*/ 109 w 117"/>
                <a:gd name="T31" fmla="*/ 47 h 67"/>
                <a:gd name="T32" fmla="*/ 109 w 117"/>
                <a:gd name="T33" fmla="*/ 52 h 67"/>
                <a:gd name="T34" fmla="*/ 102 w 117"/>
                <a:gd name="T35" fmla="*/ 59 h 67"/>
                <a:gd name="T36" fmla="*/ 84 w 117"/>
                <a:gd name="T37" fmla="*/ 67 h 67"/>
                <a:gd name="T38" fmla="*/ 57 w 117"/>
                <a:gd name="T39" fmla="*/ 59 h 67"/>
                <a:gd name="T40" fmla="*/ 45 w 117"/>
                <a:gd name="T41" fmla="*/ 49 h 67"/>
                <a:gd name="T42" fmla="*/ 30 w 117"/>
                <a:gd name="T43" fmla="*/ 57 h 67"/>
                <a:gd name="T44" fmla="*/ 12 w 117"/>
                <a:gd name="T45" fmla="*/ 57 h 67"/>
                <a:gd name="T46" fmla="*/ 5 w 117"/>
                <a:gd name="T47" fmla="*/ 5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7" h="67">
                  <a:moveTo>
                    <a:pt x="5" y="52"/>
                  </a:moveTo>
                  <a:lnTo>
                    <a:pt x="0" y="39"/>
                  </a:lnTo>
                  <a:lnTo>
                    <a:pt x="7" y="42"/>
                  </a:lnTo>
                  <a:lnTo>
                    <a:pt x="15" y="42"/>
                  </a:lnTo>
                  <a:lnTo>
                    <a:pt x="37" y="34"/>
                  </a:lnTo>
                  <a:lnTo>
                    <a:pt x="52" y="22"/>
                  </a:lnTo>
                  <a:lnTo>
                    <a:pt x="57" y="17"/>
                  </a:lnTo>
                  <a:lnTo>
                    <a:pt x="60" y="0"/>
                  </a:lnTo>
                  <a:lnTo>
                    <a:pt x="72" y="12"/>
                  </a:lnTo>
                  <a:lnTo>
                    <a:pt x="84" y="10"/>
                  </a:lnTo>
                  <a:lnTo>
                    <a:pt x="89" y="0"/>
                  </a:lnTo>
                  <a:lnTo>
                    <a:pt x="104" y="2"/>
                  </a:lnTo>
                  <a:lnTo>
                    <a:pt x="102" y="12"/>
                  </a:lnTo>
                  <a:lnTo>
                    <a:pt x="114" y="19"/>
                  </a:lnTo>
                  <a:lnTo>
                    <a:pt x="117" y="37"/>
                  </a:lnTo>
                  <a:lnTo>
                    <a:pt x="109" y="47"/>
                  </a:lnTo>
                  <a:lnTo>
                    <a:pt x="109" y="52"/>
                  </a:lnTo>
                  <a:lnTo>
                    <a:pt x="102" y="59"/>
                  </a:lnTo>
                  <a:lnTo>
                    <a:pt x="84" y="67"/>
                  </a:lnTo>
                  <a:lnTo>
                    <a:pt x="57" y="59"/>
                  </a:lnTo>
                  <a:lnTo>
                    <a:pt x="45" y="49"/>
                  </a:lnTo>
                  <a:lnTo>
                    <a:pt x="30" y="57"/>
                  </a:lnTo>
                  <a:lnTo>
                    <a:pt x="12" y="57"/>
                  </a:lnTo>
                  <a:lnTo>
                    <a:pt x="5" y="5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6" name="Freeform 274"/>
            <p:cNvSpPr>
              <a:spLocks/>
            </p:cNvSpPr>
            <p:nvPr/>
          </p:nvSpPr>
          <p:spPr bwMode="auto">
            <a:xfrm>
              <a:off x="4201319" y="2484057"/>
              <a:ext cx="17271" cy="11514"/>
            </a:xfrm>
            <a:custGeom>
              <a:avLst/>
              <a:gdLst>
                <a:gd name="T0" fmla="*/ 0 w 12"/>
                <a:gd name="T1" fmla="*/ 0 h 8"/>
                <a:gd name="T2" fmla="*/ 2 w 12"/>
                <a:gd name="T3" fmla="*/ 8 h 8"/>
                <a:gd name="T4" fmla="*/ 12 w 12"/>
                <a:gd name="T5" fmla="*/ 0 h 8"/>
                <a:gd name="T6" fmla="*/ 0 w 1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lnTo>
                    <a:pt x="2" y="8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7" name="Freeform 275"/>
            <p:cNvSpPr>
              <a:spLocks/>
            </p:cNvSpPr>
            <p:nvPr/>
          </p:nvSpPr>
          <p:spPr bwMode="auto">
            <a:xfrm>
              <a:off x="4598548" y="3220946"/>
              <a:ext cx="53252" cy="35980"/>
            </a:xfrm>
            <a:custGeom>
              <a:avLst/>
              <a:gdLst>
                <a:gd name="T0" fmla="*/ 32 w 37"/>
                <a:gd name="T1" fmla="*/ 0 h 25"/>
                <a:gd name="T2" fmla="*/ 19 w 37"/>
                <a:gd name="T3" fmla="*/ 5 h 25"/>
                <a:gd name="T4" fmla="*/ 0 w 37"/>
                <a:gd name="T5" fmla="*/ 3 h 25"/>
                <a:gd name="T6" fmla="*/ 4 w 37"/>
                <a:gd name="T7" fmla="*/ 8 h 25"/>
                <a:gd name="T8" fmla="*/ 7 w 37"/>
                <a:gd name="T9" fmla="*/ 18 h 25"/>
                <a:gd name="T10" fmla="*/ 17 w 37"/>
                <a:gd name="T11" fmla="*/ 18 h 25"/>
                <a:gd name="T12" fmla="*/ 37 w 37"/>
                <a:gd name="T13" fmla="*/ 25 h 25"/>
                <a:gd name="T14" fmla="*/ 37 w 37"/>
                <a:gd name="T15" fmla="*/ 13 h 25"/>
                <a:gd name="T16" fmla="*/ 32 w 3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5">
                  <a:moveTo>
                    <a:pt x="32" y="0"/>
                  </a:moveTo>
                  <a:lnTo>
                    <a:pt x="19" y="5"/>
                  </a:lnTo>
                  <a:lnTo>
                    <a:pt x="0" y="3"/>
                  </a:lnTo>
                  <a:lnTo>
                    <a:pt x="4" y="8"/>
                  </a:lnTo>
                  <a:lnTo>
                    <a:pt x="7" y="18"/>
                  </a:lnTo>
                  <a:lnTo>
                    <a:pt x="17" y="18"/>
                  </a:lnTo>
                  <a:lnTo>
                    <a:pt x="37" y="25"/>
                  </a:lnTo>
                  <a:lnTo>
                    <a:pt x="37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8" name="Freeform 276"/>
            <p:cNvSpPr>
              <a:spLocks/>
            </p:cNvSpPr>
            <p:nvPr/>
          </p:nvSpPr>
          <p:spPr bwMode="auto">
            <a:xfrm>
              <a:off x="4021415" y="2633737"/>
              <a:ext cx="103625" cy="132410"/>
            </a:xfrm>
            <a:custGeom>
              <a:avLst/>
              <a:gdLst>
                <a:gd name="T0" fmla="*/ 38 w 72"/>
                <a:gd name="T1" fmla="*/ 0 h 92"/>
                <a:gd name="T2" fmla="*/ 33 w 72"/>
                <a:gd name="T3" fmla="*/ 8 h 92"/>
                <a:gd name="T4" fmla="*/ 33 w 72"/>
                <a:gd name="T5" fmla="*/ 20 h 92"/>
                <a:gd name="T6" fmla="*/ 3 w 72"/>
                <a:gd name="T7" fmla="*/ 25 h 92"/>
                <a:gd name="T8" fmla="*/ 0 w 72"/>
                <a:gd name="T9" fmla="*/ 33 h 92"/>
                <a:gd name="T10" fmla="*/ 0 w 72"/>
                <a:gd name="T11" fmla="*/ 48 h 92"/>
                <a:gd name="T12" fmla="*/ 10 w 72"/>
                <a:gd name="T13" fmla="*/ 50 h 92"/>
                <a:gd name="T14" fmla="*/ 10 w 72"/>
                <a:gd name="T15" fmla="*/ 63 h 92"/>
                <a:gd name="T16" fmla="*/ 0 w 72"/>
                <a:gd name="T17" fmla="*/ 68 h 92"/>
                <a:gd name="T18" fmla="*/ 3 w 72"/>
                <a:gd name="T19" fmla="*/ 82 h 92"/>
                <a:gd name="T20" fmla="*/ 3 w 72"/>
                <a:gd name="T21" fmla="*/ 92 h 92"/>
                <a:gd name="T22" fmla="*/ 23 w 72"/>
                <a:gd name="T23" fmla="*/ 92 h 92"/>
                <a:gd name="T24" fmla="*/ 40 w 72"/>
                <a:gd name="T25" fmla="*/ 80 h 92"/>
                <a:gd name="T26" fmla="*/ 55 w 72"/>
                <a:gd name="T27" fmla="*/ 80 h 92"/>
                <a:gd name="T28" fmla="*/ 67 w 72"/>
                <a:gd name="T29" fmla="*/ 78 h 92"/>
                <a:gd name="T30" fmla="*/ 72 w 72"/>
                <a:gd name="T31" fmla="*/ 50 h 92"/>
                <a:gd name="T32" fmla="*/ 65 w 72"/>
                <a:gd name="T33" fmla="*/ 30 h 92"/>
                <a:gd name="T34" fmla="*/ 45 w 72"/>
                <a:gd name="T35" fmla="*/ 30 h 92"/>
                <a:gd name="T36" fmla="*/ 43 w 72"/>
                <a:gd name="T37" fmla="*/ 20 h 92"/>
                <a:gd name="T38" fmla="*/ 47 w 72"/>
                <a:gd name="T39" fmla="*/ 5 h 92"/>
                <a:gd name="T40" fmla="*/ 38 w 72"/>
                <a:gd name="T4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92">
                  <a:moveTo>
                    <a:pt x="38" y="0"/>
                  </a:moveTo>
                  <a:lnTo>
                    <a:pt x="33" y="8"/>
                  </a:lnTo>
                  <a:lnTo>
                    <a:pt x="33" y="20"/>
                  </a:lnTo>
                  <a:lnTo>
                    <a:pt x="3" y="25"/>
                  </a:lnTo>
                  <a:lnTo>
                    <a:pt x="0" y="33"/>
                  </a:lnTo>
                  <a:lnTo>
                    <a:pt x="0" y="48"/>
                  </a:lnTo>
                  <a:lnTo>
                    <a:pt x="10" y="50"/>
                  </a:lnTo>
                  <a:lnTo>
                    <a:pt x="10" y="63"/>
                  </a:lnTo>
                  <a:lnTo>
                    <a:pt x="0" y="68"/>
                  </a:lnTo>
                  <a:lnTo>
                    <a:pt x="3" y="82"/>
                  </a:lnTo>
                  <a:lnTo>
                    <a:pt x="3" y="92"/>
                  </a:lnTo>
                  <a:lnTo>
                    <a:pt x="23" y="92"/>
                  </a:lnTo>
                  <a:lnTo>
                    <a:pt x="40" y="80"/>
                  </a:lnTo>
                  <a:lnTo>
                    <a:pt x="55" y="80"/>
                  </a:lnTo>
                  <a:lnTo>
                    <a:pt x="67" y="78"/>
                  </a:lnTo>
                  <a:lnTo>
                    <a:pt x="72" y="50"/>
                  </a:lnTo>
                  <a:lnTo>
                    <a:pt x="65" y="30"/>
                  </a:lnTo>
                  <a:lnTo>
                    <a:pt x="45" y="30"/>
                  </a:lnTo>
                  <a:lnTo>
                    <a:pt x="43" y="20"/>
                  </a:lnTo>
                  <a:lnTo>
                    <a:pt x="47" y="5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59" name="Freeform 277"/>
            <p:cNvSpPr>
              <a:spLocks/>
            </p:cNvSpPr>
            <p:nvPr/>
          </p:nvSpPr>
          <p:spPr bwMode="auto">
            <a:xfrm>
              <a:off x="4083301" y="2633737"/>
              <a:ext cx="53252" cy="43177"/>
            </a:xfrm>
            <a:custGeom>
              <a:avLst/>
              <a:gdLst>
                <a:gd name="T0" fmla="*/ 22 w 37"/>
                <a:gd name="T1" fmla="*/ 30 h 30"/>
                <a:gd name="T2" fmla="*/ 2 w 37"/>
                <a:gd name="T3" fmla="*/ 30 h 30"/>
                <a:gd name="T4" fmla="*/ 0 w 37"/>
                <a:gd name="T5" fmla="*/ 20 h 30"/>
                <a:gd name="T6" fmla="*/ 4 w 37"/>
                <a:gd name="T7" fmla="*/ 5 h 30"/>
                <a:gd name="T8" fmla="*/ 14 w 37"/>
                <a:gd name="T9" fmla="*/ 0 h 30"/>
                <a:gd name="T10" fmla="*/ 24 w 37"/>
                <a:gd name="T11" fmla="*/ 3 h 30"/>
                <a:gd name="T12" fmla="*/ 32 w 37"/>
                <a:gd name="T13" fmla="*/ 10 h 30"/>
                <a:gd name="T14" fmla="*/ 37 w 37"/>
                <a:gd name="T15" fmla="*/ 23 h 30"/>
                <a:gd name="T16" fmla="*/ 22 w 37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0">
                  <a:moveTo>
                    <a:pt x="22" y="30"/>
                  </a:moveTo>
                  <a:lnTo>
                    <a:pt x="2" y="30"/>
                  </a:lnTo>
                  <a:lnTo>
                    <a:pt x="0" y="20"/>
                  </a:lnTo>
                  <a:lnTo>
                    <a:pt x="4" y="5"/>
                  </a:lnTo>
                  <a:lnTo>
                    <a:pt x="14" y="0"/>
                  </a:lnTo>
                  <a:lnTo>
                    <a:pt x="24" y="3"/>
                  </a:lnTo>
                  <a:lnTo>
                    <a:pt x="32" y="10"/>
                  </a:lnTo>
                  <a:lnTo>
                    <a:pt x="37" y="23"/>
                  </a:lnTo>
                  <a:lnTo>
                    <a:pt x="22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0" name="Freeform 278"/>
            <p:cNvSpPr>
              <a:spLocks/>
            </p:cNvSpPr>
            <p:nvPr/>
          </p:nvSpPr>
          <p:spPr bwMode="auto">
            <a:xfrm>
              <a:off x="4093377" y="2512842"/>
              <a:ext cx="24467" cy="38859"/>
            </a:xfrm>
            <a:custGeom>
              <a:avLst/>
              <a:gdLst>
                <a:gd name="T0" fmla="*/ 15 w 17"/>
                <a:gd name="T1" fmla="*/ 0 h 27"/>
                <a:gd name="T2" fmla="*/ 2 w 17"/>
                <a:gd name="T3" fmla="*/ 7 h 27"/>
                <a:gd name="T4" fmla="*/ 0 w 17"/>
                <a:gd name="T5" fmla="*/ 20 h 27"/>
                <a:gd name="T6" fmla="*/ 7 w 17"/>
                <a:gd name="T7" fmla="*/ 27 h 27"/>
                <a:gd name="T8" fmla="*/ 17 w 17"/>
                <a:gd name="T9" fmla="*/ 15 h 27"/>
                <a:gd name="T10" fmla="*/ 15 w 17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7">
                  <a:moveTo>
                    <a:pt x="15" y="0"/>
                  </a:moveTo>
                  <a:lnTo>
                    <a:pt x="2" y="7"/>
                  </a:lnTo>
                  <a:lnTo>
                    <a:pt x="0" y="20"/>
                  </a:lnTo>
                  <a:lnTo>
                    <a:pt x="7" y="27"/>
                  </a:lnTo>
                  <a:lnTo>
                    <a:pt x="17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1" name="Freeform 279"/>
            <p:cNvSpPr>
              <a:spLocks/>
            </p:cNvSpPr>
            <p:nvPr/>
          </p:nvSpPr>
          <p:spPr bwMode="auto">
            <a:xfrm>
              <a:off x="4122161" y="2508524"/>
              <a:ext cx="182782" cy="315193"/>
            </a:xfrm>
            <a:custGeom>
              <a:avLst/>
              <a:gdLst>
                <a:gd name="T0" fmla="*/ 20 w 127"/>
                <a:gd name="T1" fmla="*/ 3 h 219"/>
                <a:gd name="T2" fmla="*/ 12 w 127"/>
                <a:gd name="T3" fmla="*/ 15 h 219"/>
                <a:gd name="T4" fmla="*/ 0 w 127"/>
                <a:gd name="T5" fmla="*/ 30 h 219"/>
                <a:gd name="T6" fmla="*/ 10 w 127"/>
                <a:gd name="T7" fmla="*/ 35 h 219"/>
                <a:gd name="T8" fmla="*/ 12 w 127"/>
                <a:gd name="T9" fmla="*/ 45 h 219"/>
                <a:gd name="T10" fmla="*/ 12 w 127"/>
                <a:gd name="T11" fmla="*/ 55 h 219"/>
                <a:gd name="T12" fmla="*/ 2 w 127"/>
                <a:gd name="T13" fmla="*/ 63 h 219"/>
                <a:gd name="T14" fmla="*/ 5 w 127"/>
                <a:gd name="T15" fmla="*/ 73 h 219"/>
                <a:gd name="T16" fmla="*/ 17 w 127"/>
                <a:gd name="T17" fmla="*/ 75 h 219"/>
                <a:gd name="T18" fmla="*/ 20 w 127"/>
                <a:gd name="T19" fmla="*/ 85 h 219"/>
                <a:gd name="T20" fmla="*/ 15 w 127"/>
                <a:gd name="T21" fmla="*/ 92 h 219"/>
                <a:gd name="T22" fmla="*/ 45 w 127"/>
                <a:gd name="T23" fmla="*/ 100 h 219"/>
                <a:gd name="T24" fmla="*/ 50 w 127"/>
                <a:gd name="T25" fmla="*/ 110 h 219"/>
                <a:gd name="T26" fmla="*/ 60 w 127"/>
                <a:gd name="T27" fmla="*/ 112 h 219"/>
                <a:gd name="T28" fmla="*/ 57 w 127"/>
                <a:gd name="T29" fmla="*/ 122 h 219"/>
                <a:gd name="T30" fmla="*/ 42 w 127"/>
                <a:gd name="T31" fmla="*/ 132 h 219"/>
                <a:gd name="T32" fmla="*/ 30 w 127"/>
                <a:gd name="T33" fmla="*/ 132 h 219"/>
                <a:gd name="T34" fmla="*/ 27 w 127"/>
                <a:gd name="T35" fmla="*/ 145 h 219"/>
                <a:gd name="T36" fmla="*/ 32 w 127"/>
                <a:gd name="T37" fmla="*/ 152 h 219"/>
                <a:gd name="T38" fmla="*/ 30 w 127"/>
                <a:gd name="T39" fmla="*/ 165 h 219"/>
                <a:gd name="T40" fmla="*/ 20 w 127"/>
                <a:gd name="T41" fmla="*/ 172 h 219"/>
                <a:gd name="T42" fmla="*/ 47 w 127"/>
                <a:gd name="T43" fmla="*/ 177 h 219"/>
                <a:gd name="T44" fmla="*/ 45 w 127"/>
                <a:gd name="T45" fmla="*/ 182 h 219"/>
                <a:gd name="T46" fmla="*/ 35 w 127"/>
                <a:gd name="T47" fmla="*/ 184 h 219"/>
                <a:gd name="T48" fmla="*/ 25 w 127"/>
                <a:gd name="T49" fmla="*/ 197 h 219"/>
                <a:gd name="T50" fmla="*/ 12 w 127"/>
                <a:gd name="T51" fmla="*/ 209 h 219"/>
                <a:gd name="T52" fmla="*/ 12 w 127"/>
                <a:gd name="T53" fmla="*/ 219 h 219"/>
                <a:gd name="T54" fmla="*/ 37 w 127"/>
                <a:gd name="T55" fmla="*/ 209 h 219"/>
                <a:gd name="T56" fmla="*/ 55 w 127"/>
                <a:gd name="T57" fmla="*/ 202 h 219"/>
                <a:gd name="T58" fmla="*/ 77 w 127"/>
                <a:gd name="T59" fmla="*/ 207 h 219"/>
                <a:gd name="T60" fmla="*/ 97 w 127"/>
                <a:gd name="T61" fmla="*/ 194 h 219"/>
                <a:gd name="T62" fmla="*/ 119 w 127"/>
                <a:gd name="T63" fmla="*/ 189 h 219"/>
                <a:gd name="T64" fmla="*/ 107 w 127"/>
                <a:gd name="T65" fmla="*/ 177 h 219"/>
                <a:gd name="T66" fmla="*/ 114 w 127"/>
                <a:gd name="T67" fmla="*/ 172 h 219"/>
                <a:gd name="T68" fmla="*/ 124 w 127"/>
                <a:gd name="T69" fmla="*/ 172 h 219"/>
                <a:gd name="T70" fmla="*/ 127 w 127"/>
                <a:gd name="T71" fmla="*/ 145 h 219"/>
                <a:gd name="T72" fmla="*/ 104 w 127"/>
                <a:gd name="T73" fmla="*/ 137 h 219"/>
                <a:gd name="T74" fmla="*/ 102 w 127"/>
                <a:gd name="T75" fmla="*/ 120 h 219"/>
                <a:gd name="T76" fmla="*/ 99 w 127"/>
                <a:gd name="T77" fmla="*/ 107 h 219"/>
                <a:gd name="T78" fmla="*/ 87 w 127"/>
                <a:gd name="T79" fmla="*/ 102 h 219"/>
                <a:gd name="T80" fmla="*/ 89 w 127"/>
                <a:gd name="T81" fmla="*/ 87 h 219"/>
                <a:gd name="T82" fmla="*/ 77 w 127"/>
                <a:gd name="T83" fmla="*/ 85 h 219"/>
                <a:gd name="T84" fmla="*/ 82 w 127"/>
                <a:gd name="T85" fmla="*/ 63 h 219"/>
                <a:gd name="T86" fmla="*/ 52 w 127"/>
                <a:gd name="T87" fmla="*/ 43 h 219"/>
                <a:gd name="T88" fmla="*/ 67 w 127"/>
                <a:gd name="T89" fmla="*/ 38 h 219"/>
                <a:gd name="T90" fmla="*/ 69 w 127"/>
                <a:gd name="T91" fmla="*/ 18 h 219"/>
                <a:gd name="T92" fmla="*/ 42 w 127"/>
                <a:gd name="T93" fmla="*/ 18 h 219"/>
                <a:gd name="T94" fmla="*/ 42 w 127"/>
                <a:gd name="T95" fmla="*/ 0 h 219"/>
                <a:gd name="T96" fmla="*/ 20 w 127"/>
                <a:gd name="T97" fmla="*/ 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" h="219">
                  <a:moveTo>
                    <a:pt x="20" y="3"/>
                  </a:moveTo>
                  <a:lnTo>
                    <a:pt x="12" y="15"/>
                  </a:lnTo>
                  <a:lnTo>
                    <a:pt x="0" y="30"/>
                  </a:lnTo>
                  <a:lnTo>
                    <a:pt x="10" y="35"/>
                  </a:lnTo>
                  <a:lnTo>
                    <a:pt x="12" y="45"/>
                  </a:lnTo>
                  <a:lnTo>
                    <a:pt x="12" y="55"/>
                  </a:lnTo>
                  <a:lnTo>
                    <a:pt x="2" y="63"/>
                  </a:lnTo>
                  <a:lnTo>
                    <a:pt x="5" y="73"/>
                  </a:lnTo>
                  <a:lnTo>
                    <a:pt x="17" y="75"/>
                  </a:lnTo>
                  <a:lnTo>
                    <a:pt x="20" y="85"/>
                  </a:lnTo>
                  <a:lnTo>
                    <a:pt x="15" y="92"/>
                  </a:lnTo>
                  <a:lnTo>
                    <a:pt x="45" y="100"/>
                  </a:lnTo>
                  <a:lnTo>
                    <a:pt x="50" y="110"/>
                  </a:lnTo>
                  <a:lnTo>
                    <a:pt x="60" y="112"/>
                  </a:lnTo>
                  <a:lnTo>
                    <a:pt x="57" y="122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27" y="145"/>
                  </a:lnTo>
                  <a:lnTo>
                    <a:pt x="32" y="152"/>
                  </a:lnTo>
                  <a:lnTo>
                    <a:pt x="30" y="165"/>
                  </a:lnTo>
                  <a:lnTo>
                    <a:pt x="20" y="172"/>
                  </a:lnTo>
                  <a:lnTo>
                    <a:pt x="47" y="177"/>
                  </a:lnTo>
                  <a:lnTo>
                    <a:pt x="45" y="182"/>
                  </a:lnTo>
                  <a:lnTo>
                    <a:pt x="35" y="184"/>
                  </a:lnTo>
                  <a:lnTo>
                    <a:pt x="25" y="197"/>
                  </a:lnTo>
                  <a:lnTo>
                    <a:pt x="12" y="209"/>
                  </a:lnTo>
                  <a:lnTo>
                    <a:pt x="12" y="219"/>
                  </a:lnTo>
                  <a:lnTo>
                    <a:pt x="37" y="209"/>
                  </a:lnTo>
                  <a:lnTo>
                    <a:pt x="55" y="202"/>
                  </a:lnTo>
                  <a:lnTo>
                    <a:pt x="77" y="207"/>
                  </a:lnTo>
                  <a:lnTo>
                    <a:pt x="97" y="194"/>
                  </a:lnTo>
                  <a:lnTo>
                    <a:pt x="119" y="189"/>
                  </a:lnTo>
                  <a:lnTo>
                    <a:pt x="107" y="177"/>
                  </a:lnTo>
                  <a:lnTo>
                    <a:pt x="114" y="172"/>
                  </a:lnTo>
                  <a:lnTo>
                    <a:pt x="124" y="172"/>
                  </a:lnTo>
                  <a:lnTo>
                    <a:pt x="127" y="145"/>
                  </a:lnTo>
                  <a:lnTo>
                    <a:pt x="104" y="137"/>
                  </a:lnTo>
                  <a:lnTo>
                    <a:pt x="102" y="120"/>
                  </a:lnTo>
                  <a:lnTo>
                    <a:pt x="99" y="107"/>
                  </a:lnTo>
                  <a:lnTo>
                    <a:pt x="87" y="102"/>
                  </a:lnTo>
                  <a:lnTo>
                    <a:pt x="89" y="87"/>
                  </a:lnTo>
                  <a:lnTo>
                    <a:pt x="77" y="85"/>
                  </a:lnTo>
                  <a:lnTo>
                    <a:pt x="82" y="63"/>
                  </a:lnTo>
                  <a:lnTo>
                    <a:pt x="52" y="43"/>
                  </a:lnTo>
                  <a:lnTo>
                    <a:pt x="67" y="38"/>
                  </a:lnTo>
                  <a:lnTo>
                    <a:pt x="69" y="18"/>
                  </a:lnTo>
                  <a:lnTo>
                    <a:pt x="42" y="18"/>
                  </a:lnTo>
                  <a:lnTo>
                    <a:pt x="42" y="0"/>
                  </a:lnTo>
                  <a:lnTo>
                    <a:pt x="2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2" name="Freeform 280"/>
            <p:cNvSpPr>
              <a:spLocks/>
            </p:cNvSpPr>
            <p:nvPr/>
          </p:nvSpPr>
          <p:spPr bwMode="auto">
            <a:xfrm>
              <a:off x="4225786" y="2423609"/>
              <a:ext cx="14392" cy="31663"/>
            </a:xfrm>
            <a:custGeom>
              <a:avLst/>
              <a:gdLst>
                <a:gd name="T0" fmla="*/ 10 w 10"/>
                <a:gd name="T1" fmla="*/ 0 h 22"/>
                <a:gd name="T2" fmla="*/ 0 w 10"/>
                <a:gd name="T3" fmla="*/ 10 h 22"/>
                <a:gd name="T4" fmla="*/ 2 w 10"/>
                <a:gd name="T5" fmla="*/ 22 h 22"/>
                <a:gd name="T6" fmla="*/ 10 w 10"/>
                <a:gd name="T7" fmla="*/ 22 h 22"/>
                <a:gd name="T8" fmla="*/ 10 w 10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10" y="0"/>
                  </a:moveTo>
                  <a:lnTo>
                    <a:pt x="0" y="10"/>
                  </a:lnTo>
                  <a:lnTo>
                    <a:pt x="2" y="22"/>
                  </a:lnTo>
                  <a:lnTo>
                    <a:pt x="10" y="2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3" name="Freeform 281"/>
            <p:cNvSpPr>
              <a:spLocks/>
            </p:cNvSpPr>
            <p:nvPr/>
          </p:nvSpPr>
          <p:spPr bwMode="auto">
            <a:xfrm>
              <a:off x="4379784" y="1980325"/>
              <a:ext cx="621750" cy="542591"/>
            </a:xfrm>
            <a:custGeom>
              <a:avLst/>
              <a:gdLst>
                <a:gd name="T0" fmla="*/ 373 w 432"/>
                <a:gd name="T1" fmla="*/ 52 h 377"/>
                <a:gd name="T2" fmla="*/ 345 w 432"/>
                <a:gd name="T3" fmla="*/ 37 h 377"/>
                <a:gd name="T4" fmla="*/ 323 w 432"/>
                <a:gd name="T5" fmla="*/ 62 h 377"/>
                <a:gd name="T6" fmla="*/ 291 w 432"/>
                <a:gd name="T7" fmla="*/ 82 h 377"/>
                <a:gd name="T8" fmla="*/ 261 w 432"/>
                <a:gd name="T9" fmla="*/ 77 h 377"/>
                <a:gd name="T10" fmla="*/ 243 w 432"/>
                <a:gd name="T11" fmla="*/ 97 h 377"/>
                <a:gd name="T12" fmla="*/ 214 w 432"/>
                <a:gd name="T13" fmla="*/ 97 h 377"/>
                <a:gd name="T14" fmla="*/ 194 w 432"/>
                <a:gd name="T15" fmla="*/ 111 h 377"/>
                <a:gd name="T16" fmla="*/ 181 w 432"/>
                <a:gd name="T17" fmla="*/ 124 h 377"/>
                <a:gd name="T18" fmla="*/ 169 w 432"/>
                <a:gd name="T19" fmla="*/ 146 h 377"/>
                <a:gd name="T20" fmla="*/ 154 w 432"/>
                <a:gd name="T21" fmla="*/ 161 h 377"/>
                <a:gd name="T22" fmla="*/ 142 w 432"/>
                <a:gd name="T23" fmla="*/ 188 h 377"/>
                <a:gd name="T24" fmla="*/ 144 w 432"/>
                <a:gd name="T25" fmla="*/ 213 h 377"/>
                <a:gd name="T26" fmla="*/ 119 w 432"/>
                <a:gd name="T27" fmla="*/ 216 h 377"/>
                <a:gd name="T28" fmla="*/ 119 w 432"/>
                <a:gd name="T29" fmla="*/ 261 h 377"/>
                <a:gd name="T30" fmla="*/ 132 w 432"/>
                <a:gd name="T31" fmla="*/ 300 h 377"/>
                <a:gd name="T32" fmla="*/ 119 w 432"/>
                <a:gd name="T33" fmla="*/ 330 h 377"/>
                <a:gd name="T34" fmla="*/ 107 w 432"/>
                <a:gd name="T35" fmla="*/ 365 h 377"/>
                <a:gd name="T36" fmla="*/ 69 w 432"/>
                <a:gd name="T37" fmla="*/ 360 h 377"/>
                <a:gd name="T38" fmla="*/ 42 w 432"/>
                <a:gd name="T39" fmla="*/ 375 h 377"/>
                <a:gd name="T40" fmla="*/ 20 w 432"/>
                <a:gd name="T41" fmla="*/ 355 h 377"/>
                <a:gd name="T42" fmla="*/ 15 w 432"/>
                <a:gd name="T43" fmla="*/ 318 h 377"/>
                <a:gd name="T44" fmla="*/ 0 w 432"/>
                <a:gd name="T45" fmla="*/ 271 h 377"/>
                <a:gd name="T46" fmla="*/ 17 w 432"/>
                <a:gd name="T47" fmla="*/ 253 h 377"/>
                <a:gd name="T48" fmla="*/ 50 w 432"/>
                <a:gd name="T49" fmla="*/ 246 h 377"/>
                <a:gd name="T50" fmla="*/ 74 w 432"/>
                <a:gd name="T51" fmla="*/ 233 h 377"/>
                <a:gd name="T52" fmla="*/ 102 w 432"/>
                <a:gd name="T53" fmla="*/ 203 h 377"/>
                <a:gd name="T54" fmla="*/ 117 w 432"/>
                <a:gd name="T55" fmla="*/ 179 h 377"/>
                <a:gd name="T56" fmla="*/ 127 w 432"/>
                <a:gd name="T57" fmla="*/ 146 h 377"/>
                <a:gd name="T58" fmla="*/ 159 w 432"/>
                <a:gd name="T59" fmla="*/ 109 h 377"/>
                <a:gd name="T60" fmla="*/ 201 w 432"/>
                <a:gd name="T61" fmla="*/ 92 h 377"/>
                <a:gd name="T62" fmla="*/ 241 w 432"/>
                <a:gd name="T63" fmla="*/ 79 h 377"/>
                <a:gd name="T64" fmla="*/ 261 w 432"/>
                <a:gd name="T65" fmla="*/ 57 h 377"/>
                <a:gd name="T66" fmla="*/ 243 w 432"/>
                <a:gd name="T67" fmla="*/ 29 h 377"/>
                <a:gd name="T68" fmla="*/ 268 w 432"/>
                <a:gd name="T69" fmla="*/ 12 h 377"/>
                <a:gd name="T70" fmla="*/ 281 w 432"/>
                <a:gd name="T71" fmla="*/ 32 h 377"/>
                <a:gd name="T72" fmla="*/ 291 w 432"/>
                <a:gd name="T73" fmla="*/ 22 h 377"/>
                <a:gd name="T74" fmla="*/ 306 w 432"/>
                <a:gd name="T75" fmla="*/ 32 h 377"/>
                <a:gd name="T76" fmla="*/ 303 w 432"/>
                <a:gd name="T77" fmla="*/ 12 h 377"/>
                <a:gd name="T78" fmla="*/ 333 w 432"/>
                <a:gd name="T79" fmla="*/ 14 h 377"/>
                <a:gd name="T80" fmla="*/ 348 w 432"/>
                <a:gd name="T81" fmla="*/ 17 h 377"/>
                <a:gd name="T82" fmla="*/ 380 w 432"/>
                <a:gd name="T83" fmla="*/ 7 h 377"/>
                <a:gd name="T84" fmla="*/ 395 w 432"/>
                <a:gd name="T85" fmla="*/ 32 h 377"/>
                <a:gd name="T86" fmla="*/ 410 w 432"/>
                <a:gd name="T87" fmla="*/ 59 h 377"/>
                <a:gd name="T88" fmla="*/ 383 w 432"/>
                <a:gd name="T89" fmla="*/ 99 h 377"/>
                <a:gd name="T90" fmla="*/ 373 w 432"/>
                <a:gd name="T91" fmla="*/ 52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2" h="377">
                  <a:moveTo>
                    <a:pt x="363" y="82"/>
                  </a:moveTo>
                  <a:lnTo>
                    <a:pt x="373" y="52"/>
                  </a:lnTo>
                  <a:lnTo>
                    <a:pt x="360" y="39"/>
                  </a:lnTo>
                  <a:lnTo>
                    <a:pt x="345" y="37"/>
                  </a:lnTo>
                  <a:lnTo>
                    <a:pt x="335" y="47"/>
                  </a:lnTo>
                  <a:lnTo>
                    <a:pt x="323" y="62"/>
                  </a:lnTo>
                  <a:lnTo>
                    <a:pt x="316" y="79"/>
                  </a:lnTo>
                  <a:lnTo>
                    <a:pt x="291" y="82"/>
                  </a:lnTo>
                  <a:lnTo>
                    <a:pt x="276" y="79"/>
                  </a:lnTo>
                  <a:lnTo>
                    <a:pt x="261" y="77"/>
                  </a:lnTo>
                  <a:lnTo>
                    <a:pt x="251" y="84"/>
                  </a:lnTo>
                  <a:lnTo>
                    <a:pt x="243" y="97"/>
                  </a:lnTo>
                  <a:lnTo>
                    <a:pt x="226" y="97"/>
                  </a:lnTo>
                  <a:lnTo>
                    <a:pt x="214" y="97"/>
                  </a:lnTo>
                  <a:lnTo>
                    <a:pt x="204" y="106"/>
                  </a:lnTo>
                  <a:lnTo>
                    <a:pt x="194" y="111"/>
                  </a:lnTo>
                  <a:lnTo>
                    <a:pt x="184" y="109"/>
                  </a:lnTo>
                  <a:lnTo>
                    <a:pt x="181" y="124"/>
                  </a:lnTo>
                  <a:lnTo>
                    <a:pt x="174" y="129"/>
                  </a:lnTo>
                  <a:lnTo>
                    <a:pt x="169" y="146"/>
                  </a:lnTo>
                  <a:lnTo>
                    <a:pt x="159" y="146"/>
                  </a:lnTo>
                  <a:lnTo>
                    <a:pt x="154" y="161"/>
                  </a:lnTo>
                  <a:lnTo>
                    <a:pt x="144" y="164"/>
                  </a:lnTo>
                  <a:lnTo>
                    <a:pt x="142" y="188"/>
                  </a:lnTo>
                  <a:lnTo>
                    <a:pt x="134" y="203"/>
                  </a:lnTo>
                  <a:lnTo>
                    <a:pt x="144" y="213"/>
                  </a:lnTo>
                  <a:lnTo>
                    <a:pt x="137" y="218"/>
                  </a:lnTo>
                  <a:lnTo>
                    <a:pt x="119" y="216"/>
                  </a:lnTo>
                  <a:lnTo>
                    <a:pt x="114" y="228"/>
                  </a:lnTo>
                  <a:lnTo>
                    <a:pt x="119" y="261"/>
                  </a:lnTo>
                  <a:lnTo>
                    <a:pt x="122" y="280"/>
                  </a:lnTo>
                  <a:lnTo>
                    <a:pt x="132" y="300"/>
                  </a:lnTo>
                  <a:lnTo>
                    <a:pt x="137" y="320"/>
                  </a:lnTo>
                  <a:lnTo>
                    <a:pt x="119" y="330"/>
                  </a:lnTo>
                  <a:lnTo>
                    <a:pt x="114" y="353"/>
                  </a:lnTo>
                  <a:lnTo>
                    <a:pt x="107" y="365"/>
                  </a:lnTo>
                  <a:lnTo>
                    <a:pt x="94" y="358"/>
                  </a:lnTo>
                  <a:lnTo>
                    <a:pt x="69" y="360"/>
                  </a:lnTo>
                  <a:lnTo>
                    <a:pt x="55" y="370"/>
                  </a:lnTo>
                  <a:lnTo>
                    <a:pt x="42" y="375"/>
                  </a:lnTo>
                  <a:lnTo>
                    <a:pt x="20" y="377"/>
                  </a:lnTo>
                  <a:lnTo>
                    <a:pt x="20" y="355"/>
                  </a:lnTo>
                  <a:lnTo>
                    <a:pt x="10" y="350"/>
                  </a:lnTo>
                  <a:lnTo>
                    <a:pt x="15" y="318"/>
                  </a:lnTo>
                  <a:lnTo>
                    <a:pt x="2" y="315"/>
                  </a:lnTo>
                  <a:lnTo>
                    <a:pt x="0" y="271"/>
                  </a:lnTo>
                  <a:lnTo>
                    <a:pt x="15" y="266"/>
                  </a:lnTo>
                  <a:lnTo>
                    <a:pt x="17" y="253"/>
                  </a:lnTo>
                  <a:lnTo>
                    <a:pt x="35" y="248"/>
                  </a:lnTo>
                  <a:lnTo>
                    <a:pt x="50" y="246"/>
                  </a:lnTo>
                  <a:lnTo>
                    <a:pt x="57" y="236"/>
                  </a:lnTo>
                  <a:lnTo>
                    <a:pt x="74" y="233"/>
                  </a:lnTo>
                  <a:lnTo>
                    <a:pt x="77" y="213"/>
                  </a:lnTo>
                  <a:lnTo>
                    <a:pt x="102" y="203"/>
                  </a:lnTo>
                  <a:lnTo>
                    <a:pt x="104" y="188"/>
                  </a:lnTo>
                  <a:lnTo>
                    <a:pt x="117" y="179"/>
                  </a:lnTo>
                  <a:lnTo>
                    <a:pt x="122" y="161"/>
                  </a:lnTo>
                  <a:lnTo>
                    <a:pt x="127" y="146"/>
                  </a:lnTo>
                  <a:lnTo>
                    <a:pt x="144" y="126"/>
                  </a:lnTo>
                  <a:lnTo>
                    <a:pt x="159" y="109"/>
                  </a:lnTo>
                  <a:lnTo>
                    <a:pt x="176" y="97"/>
                  </a:lnTo>
                  <a:lnTo>
                    <a:pt x="201" y="92"/>
                  </a:lnTo>
                  <a:lnTo>
                    <a:pt x="214" y="84"/>
                  </a:lnTo>
                  <a:lnTo>
                    <a:pt x="241" y="79"/>
                  </a:lnTo>
                  <a:lnTo>
                    <a:pt x="246" y="64"/>
                  </a:lnTo>
                  <a:lnTo>
                    <a:pt x="261" y="57"/>
                  </a:lnTo>
                  <a:lnTo>
                    <a:pt x="256" y="39"/>
                  </a:lnTo>
                  <a:lnTo>
                    <a:pt x="243" y="29"/>
                  </a:lnTo>
                  <a:lnTo>
                    <a:pt x="261" y="24"/>
                  </a:lnTo>
                  <a:lnTo>
                    <a:pt x="268" y="12"/>
                  </a:lnTo>
                  <a:lnTo>
                    <a:pt x="271" y="29"/>
                  </a:lnTo>
                  <a:lnTo>
                    <a:pt x="281" y="32"/>
                  </a:lnTo>
                  <a:lnTo>
                    <a:pt x="281" y="22"/>
                  </a:lnTo>
                  <a:lnTo>
                    <a:pt x="291" y="22"/>
                  </a:lnTo>
                  <a:lnTo>
                    <a:pt x="293" y="29"/>
                  </a:lnTo>
                  <a:lnTo>
                    <a:pt x="306" y="32"/>
                  </a:lnTo>
                  <a:lnTo>
                    <a:pt x="311" y="19"/>
                  </a:lnTo>
                  <a:lnTo>
                    <a:pt x="303" y="12"/>
                  </a:lnTo>
                  <a:lnTo>
                    <a:pt x="318" y="5"/>
                  </a:lnTo>
                  <a:lnTo>
                    <a:pt x="333" y="14"/>
                  </a:lnTo>
                  <a:lnTo>
                    <a:pt x="343" y="0"/>
                  </a:lnTo>
                  <a:lnTo>
                    <a:pt x="348" y="17"/>
                  </a:lnTo>
                  <a:lnTo>
                    <a:pt x="363" y="19"/>
                  </a:lnTo>
                  <a:lnTo>
                    <a:pt x="380" y="7"/>
                  </a:lnTo>
                  <a:lnTo>
                    <a:pt x="400" y="19"/>
                  </a:lnTo>
                  <a:lnTo>
                    <a:pt x="395" y="32"/>
                  </a:lnTo>
                  <a:lnTo>
                    <a:pt x="432" y="44"/>
                  </a:lnTo>
                  <a:lnTo>
                    <a:pt x="410" y="59"/>
                  </a:lnTo>
                  <a:lnTo>
                    <a:pt x="390" y="82"/>
                  </a:lnTo>
                  <a:lnTo>
                    <a:pt x="383" y="99"/>
                  </a:lnTo>
                  <a:lnTo>
                    <a:pt x="365" y="82"/>
                  </a:lnTo>
                  <a:lnTo>
                    <a:pt x="373" y="52"/>
                  </a:lnTo>
                  <a:lnTo>
                    <a:pt x="363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4" name="Freeform 282"/>
            <p:cNvSpPr>
              <a:spLocks/>
            </p:cNvSpPr>
            <p:nvPr/>
          </p:nvSpPr>
          <p:spPr bwMode="auto">
            <a:xfrm>
              <a:off x="4161020" y="2770464"/>
              <a:ext cx="297922" cy="315193"/>
            </a:xfrm>
            <a:custGeom>
              <a:avLst/>
              <a:gdLst>
                <a:gd name="T0" fmla="*/ 107 w 207"/>
                <a:gd name="T1" fmla="*/ 5 h 219"/>
                <a:gd name="T2" fmla="*/ 102 w 207"/>
                <a:gd name="T3" fmla="*/ 20 h 219"/>
                <a:gd name="T4" fmla="*/ 95 w 207"/>
                <a:gd name="T5" fmla="*/ 27 h 219"/>
                <a:gd name="T6" fmla="*/ 90 w 207"/>
                <a:gd name="T7" fmla="*/ 37 h 219"/>
                <a:gd name="T8" fmla="*/ 77 w 207"/>
                <a:gd name="T9" fmla="*/ 35 h 219"/>
                <a:gd name="T10" fmla="*/ 75 w 207"/>
                <a:gd name="T11" fmla="*/ 47 h 219"/>
                <a:gd name="T12" fmla="*/ 60 w 207"/>
                <a:gd name="T13" fmla="*/ 47 h 219"/>
                <a:gd name="T14" fmla="*/ 50 w 207"/>
                <a:gd name="T15" fmla="*/ 37 h 219"/>
                <a:gd name="T16" fmla="*/ 42 w 207"/>
                <a:gd name="T17" fmla="*/ 40 h 219"/>
                <a:gd name="T18" fmla="*/ 45 w 207"/>
                <a:gd name="T19" fmla="*/ 50 h 219"/>
                <a:gd name="T20" fmla="*/ 42 w 207"/>
                <a:gd name="T21" fmla="*/ 60 h 219"/>
                <a:gd name="T22" fmla="*/ 28 w 207"/>
                <a:gd name="T23" fmla="*/ 62 h 219"/>
                <a:gd name="T24" fmla="*/ 20 w 207"/>
                <a:gd name="T25" fmla="*/ 67 h 219"/>
                <a:gd name="T26" fmla="*/ 18 w 207"/>
                <a:gd name="T27" fmla="*/ 67 h 219"/>
                <a:gd name="T28" fmla="*/ 0 w 207"/>
                <a:gd name="T29" fmla="*/ 70 h 219"/>
                <a:gd name="T30" fmla="*/ 0 w 207"/>
                <a:gd name="T31" fmla="*/ 74 h 219"/>
                <a:gd name="T32" fmla="*/ 0 w 207"/>
                <a:gd name="T33" fmla="*/ 84 h 219"/>
                <a:gd name="T34" fmla="*/ 20 w 207"/>
                <a:gd name="T35" fmla="*/ 94 h 219"/>
                <a:gd name="T36" fmla="*/ 30 w 207"/>
                <a:gd name="T37" fmla="*/ 99 h 219"/>
                <a:gd name="T38" fmla="*/ 42 w 207"/>
                <a:gd name="T39" fmla="*/ 109 h 219"/>
                <a:gd name="T40" fmla="*/ 47 w 207"/>
                <a:gd name="T41" fmla="*/ 127 h 219"/>
                <a:gd name="T42" fmla="*/ 57 w 207"/>
                <a:gd name="T43" fmla="*/ 139 h 219"/>
                <a:gd name="T44" fmla="*/ 50 w 207"/>
                <a:gd name="T45" fmla="*/ 144 h 219"/>
                <a:gd name="T46" fmla="*/ 42 w 207"/>
                <a:gd name="T47" fmla="*/ 186 h 219"/>
                <a:gd name="T48" fmla="*/ 38 w 207"/>
                <a:gd name="T49" fmla="*/ 199 h 219"/>
                <a:gd name="T50" fmla="*/ 60 w 207"/>
                <a:gd name="T51" fmla="*/ 206 h 219"/>
                <a:gd name="T52" fmla="*/ 85 w 207"/>
                <a:gd name="T53" fmla="*/ 209 h 219"/>
                <a:gd name="T54" fmla="*/ 97 w 207"/>
                <a:gd name="T55" fmla="*/ 219 h 219"/>
                <a:gd name="T56" fmla="*/ 132 w 207"/>
                <a:gd name="T57" fmla="*/ 216 h 219"/>
                <a:gd name="T58" fmla="*/ 127 w 207"/>
                <a:gd name="T59" fmla="*/ 204 h 219"/>
                <a:gd name="T60" fmla="*/ 134 w 207"/>
                <a:gd name="T61" fmla="*/ 191 h 219"/>
                <a:gd name="T62" fmla="*/ 149 w 207"/>
                <a:gd name="T63" fmla="*/ 189 h 219"/>
                <a:gd name="T64" fmla="*/ 164 w 207"/>
                <a:gd name="T65" fmla="*/ 189 h 219"/>
                <a:gd name="T66" fmla="*/ 174 w 207"/>
                <a:gd name="T67" fmla="*/ 196 h 219"/>
                <a:gd name="T68" fmla="*/ 189 w 207"/>
                <a:gd name="T69" fmla="*/ 201 h 219"/>
                <a:gd name="T70" fmla="*/ 197 w 207"/>
                <a:gd name="T71" fmla="*/ 184 h 219"/>
                <a:gd name="T72" fmla="*/ 197 w 207"/>
                <a:gd name="T73" fmla="*/ 171 h 219"/>
                <a:gd name="T74" fmla="*/ 184 w 207"/>
                <a:gd name="T75" fmla="*/ 166 h 219"/>
                <a:gd name="T76" fmla="*/ 182 w 207"/>
                <a:gd name="T77" fmla="*/ 149 h 219"/>
                <a:gd name="T78" fmla="*/ 189 w 207"/>
                <a:gd name="T79" fmla="*/ 137 h 219"/>
                <a:gd name="T80" fmla="*/ 189 w 207"/>
                <a:gd name="T81" fmla="*/ 124 h 219"/>
                <a:gd name="T82" fmla="*/ 179 w 207"/>
                <a:gd name="T83" fmla="*/ 117 h 219"/>
                <a:gd name="T84" fmla="*/ 184 w 207"/>
                <a:gd name="T85" fmla="*/ 104 h 219"/>
                <a:gd name="T86" fmla="*/ 192 w 207"/>
                <a:gd name="T87" fmla="*/ 94 h 219"/>
                <a:gd name="T88" fmla="*/ 202 w 207"/>
                <a:gd name="T89" fmla="*/ 92 h 219"/>
                <a:gd name="T90" fmla="*/ 199 w 207"/>
                <a:gd name="T91" fmla="*/ 65 h 219"/>
                <a:gd name="T92" fmla="*/ 207 w 207"/>
                <a:gd name="T93" fmla="*/ 55 h 219"/>
                <a:gd name="T94" fmla="*/ 192 w 207"/>
                <a:gd name="T95" fmla="*/ 40 h 219"/>
                <a:gd name="T96" fmla="*/ 167 w 207"/>
                <a:gd name="T97" fmla="*/ 42 h 219"/>
                <a:gd name="T98" fmla="*/ 144 w 207"/>
                <a:gd name="T99" fmla="*/ 35 h 219"/>
                <a:gd name="T100" fmla="*/ 137 w 207"/>
                <a:gd name="T101" fmla="*/ 20 h 219"/>
                <a:gd name="T102" fmla="*/ 125 w 207"/>
                <a:gd name="T103" fmla="*/ 12 h 219"/>
                <a:gd name="T104" fmla="*/ 125 w 207"/>
                <a:gd name="T105" fmla="*/ 0 h 219"/>
                <a:gd name="T106" fmla="*/ 107 w 207"/>
                <a:gd name="T107" fmla="*/ 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7" h="219">
                  <a:moveTo>
                    <a:pt x="107" y="5"/>
                  </a:moveTo>
                  <a:lnTo>
                    <a:pt x="102" y="20"/>
                  </a:lnTo>
                  <a:lnTo>
                    <a:pt x="95" y="27"/>
                  </a:lnTo>
                  <a:lnTo>
                    <a:pt x="90" y="37"/>
                  </a:lnTo>
                  <a:lnTo>
                    <a:pt x="77" y="35"/>
                  </a:lnTo>
                  <a:lnTo>
                    <a:pt x="75" y="47"/>
                  </a:lnTo>
                  <a:lnTo>
                    <a:pt x="60" y="47"/>
                  </a:lnTo>
                  <a:lnTo>
                    <a:pt x="50" y="37"/>
                  </a:lnTo>
                  <a:lnTo>
                    <a:pt x="42" y="40"/>
                  </a:lnTo>
                  <a:lnTo>
                    <a:pt x="45" y="50"/>
                  </a:lnTo>
                  <a:lnTo>
                    <a:pt x="42" y="60"/>
                  </a:lnTo>
                  <a:lnTo>
                    <a:pt x="28" y="62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0" y="94"/>
                  </a:lnTo>
                  <a:lnTo>
                    <a:pt x="30" y="99"/>
                  </a:lnTo>
                  <a:lnTo>
                    <a:pt x="42" y="109"/>
                  </a:lnTo>
                  <a:lnTo>
                    <a:pt x="47" y="127"/>
                  </a:lnTo>
                  <a:lnTo>
                    <a:pt x="57" y="139"/>
                  </a:lnTo>
                  <a:lnTo>
                    <a:pt x="50" y="144"/>
                  </a:lnTo>
                  <a:lnTo>
                    <a:pt x="42" y="186"/>
                  </a:lnTo>
                  <a:lnTo>
                    <a:pt x="38" y="199"/>
                  </a:lnTo>
                  <a:lnTo>
                    <a:pt x="60" y="206"/>
                  </a:lnTo>
                  <a:lnTo>
                    <a:pt x="85" y="209"/>
                  </a:lnTo>
                  <a:lnTo>
                    <a:pt x="97" y="219"/>
                  </a:lnTo>
                  <a:lnTo>
                    <a:pt x="132" y="216"/>
                  </a:lnTo>
                  <a:lnTo>
                    <a:pt x="127" y="204"/>
                  </a:lnTo>
                  <a:lnTo>
                    <a:pt x="134" y="191"/>
                  </a:lnTo>
                  <a:lnTo>
                    <a:pt x="149" y="189"/>
                  </a:lnTo>
                  <a:lnTo>
                    <a:pt x="164" y="189"/>
                  </a:lnTo>
                  <a:lnTo>
                    <a:pt x="174" y="196"/>
                  </a:lnTo>
                  <a:lnTo>
                    <a:pt x="189" y="201"/>
                  </a:lnTo>
                  <a:lnTo>
                    <a:pt x="197" y="184"/>
                  </a:lnTo>
                  <a:lnTo>
                    <a:pt x="197" y="171"/>
                  </a:lnTo>
                  <a:lnTo>
                    <a:pt x="184" y="166"/>
                  </a:lnTo>
                  <a:lnTo>
                    <a:pt x="182" y="149"/>
                  </a:lnTo>
                  <a:lnTo>
                    <a:pt x="189" y="137"/>
                  </a:lnTo>
                  <a:lnTo>
                    <a:pt x="189" y="124"/>
                  </a:lnTo>
                  <a:lnTo>
                    <a:pt x="179" y="117"/>
                  </a:lnTo>
                  <a:lnTo>
                    <a:pt x="184" y="104"/>
                  </a:lnTo>
                  <a:lnTo>
                    <a:pt x="192" y="94"/>
                  </a:lnTo>
                  <a:lnTo>
                    <a:pt x="202" y="92"/>
                  </a:lnTo>
                  <a:lnTo>
                    <a:pt x="199" y="65"/>
                  </a:lnTo>
                  <a:lnTo>
                    <a:pt x="207" y="55"/>
                  </a:lnTo>
                  <a:lnTo>
                    <a:pt x="192" y="40"/>
                  </a:lnTo>
                  <a:lnTo>
                    <a:pt x="167" y="42"/>
                  </a:lnTo>
                  <a:lnTo>
                    <a:pt x="144" y="35"/>
                  </a:lnTo>
                  <a:lnTo>
                    <a:pt x="137" y="20"/>
                  </a:lnTo>
                  <a:lnTo>
                    <a:pt x="125" y="12"/>
                  </a:lnTo>
                  <a:lnTo>
                    <a:pt x="125" y="0"/>
                  </a:lnTo>
                  <a:lnTo>
                    <a:pt x="10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5" name="Freeform 283"/>
            <p:cNvSpPr>
              <a:spLocks/>
            </p:cNvSpPr>
            <p:nvPr/>
          </p:nvSpPr>
          <p:spPr bwMode="auto">
            <a:xfrm>
              <a:off x="4422961" y="2920145"/>
              <a:ext cx="303679" cy="300801"/>
            </a:xfrm>
            <a:custGeom>
              <a:avLst/>
              <a:gdLst>
                <a:gd name="T0" fmla="*/ 15 w 211"/>
                <a:gd name="T1" fmla="*/ 80 h 209"/>
                <a:gd name="T2" fmla="*/ 15 w 211"/>
                <a:gd name="T3" fmla="*/ 67 h 209"/>
                <a:gd name="T4" fmla="*/ 2 w 211"/>
                <a:gd name="T5" fmla="*/ 62 h 209"/>
                <a:gd name="T6" fmla="*/ 0 w 211"/>
                <a:gd name="T7" fmla="*/ 45 h 209"/>
                <a:gd name="T8" fmla="*/ 7 w 211"/>
                <a:gd name="T9" fmla="*/ 33 h 209"/>
                <a:gd name="T10" fmla="*/ 7 w 211"/>
                <a:gd name="T11" fmla="*/ 20 h 209"/>
                <a:gd name="T12" fmla="*/ 25 w 211"/>
                <a:gd name="T13" fmla="*/ 20 h 209"/>
                <a:gd name="T14" fmla="*/ 32 w 211"/>
                <a:gd name="T15" fmla="*/ 13 h 209"/>
                <a:gd name="T16" fmla="*/ 37 w 211"/>
                <a:gd name="T17" fmla="*/ 20 h 209"/>
                <a:gd name="T18" fmla="*/ 42 w 211"/>
                <a:gd name="T19" fmla="*/ 13 h 209"/>
                <a:gd name="T20" fmla="*/ 49 w 211"/>
                <a:gd name="T21" fmla="*/ 18 h 209"/>
                <a:gd name="T22" fmla="*/ 57 w 211"/>
                <a:gd name="T23" fmla="*/ 3 h 209"/>
                <a:gd name="T24" fmla="*/ 64 w 211"/>
                <a:gd name="T25" fmla="*/ 8 h 209"/>
                <a:gd name="T26" fmla="*/ 82 w 211"/>
                <a:gd name="T27" fmla="*/ 8 h 209"/>
                <a:gd name="T28" fmla="*/ 97 w 211"/>
                <a:gd name="T29" fmla="*/ 0 h 209"/>
                <a:gd name="T30" fmla="*/ 109 w 211"/>
                <a:gd name="T31" fmla="*/ 10 h 209"/>
                <a:gd name="T32" fmla="*/ 112 w 211"/>
                <a:gd name="T33" fmla="*/ 25 h 209"/>
                <a:gd name="T34" fmla="*/ 104 w 211"/>
                <a:gd name="T35" fmla="*/ 33 h 209"/>
                <a:gd name="T36" fmla="*/ 97 w 211"/>
                <a:gd name="T37" fmla="*/ 50 h 209"/>
                <a:gd name="T38" fmla="*/ 99 w 211"/>
                <a:gd name="T39" fmla="*/ 62 h 209"/>
                <a:gd name="T40" fmla="*/ 107 w 211"/>
                <a:gd name="T41" fmla="*/ 67 h 209"/>
                <a:gd name="T42" fmla="*/ 117 w 211"/>
                <a:gd name="T43" fmla="*/ 85 h 209"/>
                <a:gd name="T44" fmla="*/ 131 w 211"/>
                <a:gd name="T45" fmla="*/ 105 h 209"/>
                <a:gd name="T46" fmla="*/ 151 w 211"/>
                <a:gd name="T47" fmla="*/ 125 h 209"/>
                <a:gd name="T48" fmla="*/ 164 w 211"/>
                <a:gd name="T49" fmla="*/ 125 h 209"/>
                <a:gd name="T50" fmla="*/ 171 w 211"/>
                <a:gd name="T51" fmla="*/ 122 h 209"/>
                <a:gd name="T52" fmla="*/ 174 w 211"/>
                <a:gd name="T53" fmla="*/ 130 h 209"/>
                <a:gd name="T54" fmla="*/ 179 w 211"/>
                <a:gd name="T55" fmla="*/ 137 h 209"/>
                <a:gd name="T56" fmla="*/ 184 w 211"/>
                <a:gd name="T57" fmla="*/ 144 h 209"/>
                <a:gd name="T58" fmla="*/ 191 w 211"/>
                <a:gd name="T59" fmla="*/ 152 h 209"/>
                <a:gd name="T60" fmla="*/ 201 w 211"/>
                <a:gd name="T61" fmla="*/ 159 h 209"/>
                <a:gd name="T62" fmla="*/ 211 w 211"/>
                <a:gd name="T63" fmla="*/ 172 h 209"/>
                <a:gd name="T64" fmla="*/ 204 w 211"/>
                <a:gd name="T65" fmla="*/ 177 h 209"/>
                <a:gd name="T66" fmla="*/ 189 w 211"/>
                <a:gd name="T67" fmla="*/ 164 h 209"/>
                <a:gd name="T68" fmla="*/ 179 w 211"/>
                <a:gd name="T69" fmla="*/ 169 h 209"/>
                <a:gd name="T70" fmla="*/ 176 w 211"/>
                <a:gd name="T71" fmla="*/ 179 h 209"/>
                <a:gd name="T72" fmla="*/ 181 w 211"/>
                <a:gd name="T73" fmla="*/ 192 h 209"/>
                <a:gd name="T74" fmla="*/ 176 w 211"/>
                <a:gd name="T75" fmla="*/ 199 h 209"/>
                <a:gd name="T76" fmla="*/ 171 w 211"/>
                <a:gd name="T77" fmla="*/ 209 h 209"/>
                <a:gd name="T78" fmla="*/ 161 w 211"/>
                <a:gd name="T79" fmla="*/ 209 h 209"/>
                <a:gd name="T80" fmla="*/ 161 w 211"/>
                <a:gd name="T81" fmla="*/ 187 h 209"/>
                <a:gd name="T82" fmla="*/ 161 w 211"/>
                <a:gd name="T83" fmla="*/ 177 h 209"/>
                <a:gd name="T84" fmla="*/ 149 w 211"/>
                <a:gd name="T85" fmla="*/ 169 h 209"/>
                <a:gd name="T86" fmla="*/ 144 w 211"/>
                <a:gd name="T87" fmla="*/ 157 h 209"/>
                <a:gd name="T88" fmla="*/ 131 w 211"/>
                <a:gd name="T89" fmla="*/ 154 h 209"/>
                <a:gd name="T90" fmla="*/ 134 w 211"/>
                <a:gd name="T91" fmla="*/ 144 h 209"/>
                <a:gd name="T92" fmla="*/ 107 w 211"/>
                <a:gd name="T93" fmla="*/ 137 h 209"/>
                <a:gd name="T94" fmla="*/ 92 w 211"/>
                <a:gd name="T95" fmla="*/ 122 h 209"/>
                <a:gd name="T96" fmla="*/ 82 w 211"/>
                <a:gd name="T97" fmla="*/ 115 h 209"/>
                <a:gd name="T98" fmla="*/ 72 w 211"/>
                <a:gd name="T99" fmla="*/ 107 h 209"/>
                <a:gd name="T100" fmla="*/ 64 w 211"/>
                <a:gd name="T101" fmla="*/ 85 h 209"/>
                <a:gd name="T102" fmla="*/ 59 w 211"/>
                <a:gd name="T103" fmla="*/ 72 h 209"/>
                <a:gd name="T104" fmla="*/ 39 w 211"/>
                <a:gd name="T105" fmla="*/ 70 h 209"/>
                <a:gd name="T106" fmla="*/ 34 w 211"/>
                <a:gd name="T107" fmla="*/ 80 h 209"/>
                <a:gd name="T108" fmla="*/ 15 w 211"/>
                <a:gd name="T109" fmla="*/ 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09">
                  <a:moveTo>
                    <a:pt x="15" y="80"/>
                  </a:moveTo>
                  <a:lnTo>
                    <a:pt x="15" y="67"/>
                  </a:lnTo>
                  <a:lnTo>
                    <a:pt x="2" y="62"/>
                  </a:lnTo>
                  <a:lnTo>
                    <a:pt x="0" y="45"/>
                  </a:lnTo>
                  <a:lnTo>
                    <a:pt x="7" y="33"/>
                  </a:lnTo>
                  <a:lnTo>
                    <a:pt x="7" y="20"/>
                  </a:lnTo>
                  <a:lnTo>
                    <a:pt x="25" y="20"/>
                  </a:lnTo>
                  <a:lnTo>
                    <a:pt x="32" y="13"/>
                  </a:lnTo>
                  <a:lnTo>
                    <a:pt x="37" y="20"/>
                  </a:lnTo>
                  <a:lnTo>
                    <a:pt x="42" y="13"/>
                  </a:lnTo>
                  <a:lnTo>
                    <a:pt x="49" y="18"/>
                  </a:lnTo>
                  <a:lnTo>
                    <a:pt x="57" y="3"/>
                  </a:lnTo>
                  <a:lnTo>
                    <a:pt x="64" y="8"/>
                  </a:lnTo>
                  <a:lnTo>
                    <a:pt x="82" y="8"/>
                  </a:lnTo>
                  <a:lnTo>
                    <a:pt x="97" y="0"/>
                  </a:lnTo>
                  <a:lnTo>
                    <a:pt x="109" y="10"/>
                  </a:lnTo>
                  <a:lnTo>
                    <a:pt x="112" y="25"/>
                  </a:lnTo>
                  <a:lnTo>
                    <a:pt x="104" y="33"/>
                  </a:lnTo>
                  <a:lnTo>
                    <a:pt x="97" y="50"/>
                  </a:lnTo>
                  <a:lnTo>
                    <a:pt x="99" y="62"/>
                  </a:lnTo>
                  <a:lnTo>
                    <a:pt x="107" y="67"/>
                  </a:lnTo>
                  <a:lnTo>
                    <a:pt x="117" y="85"/>
                  </a:lnTo>
                  <a:lnTo>
                    <a:pt x="131" y="105"/>
                  </a:lnTo>
                  <a:lnTo>
                    <a:pt x="151" y="125"/>
                  </a:lnTo>
                  <a:lnTo>
                    <a:pt x="164" y="125"/>
                  </a:lnTo>
                  <a:lnTo>
                    <a:pt x="171" y="122"/>
                  </a:lnTo>
                  <a:lnTo>
                    <a:pt x="174" y="130"/>
                  </a:lnTo>
                  <a:lnTo>
                    <a:pt x="179" y="137"/>
                  </a:lnTo>
                  <a:lnTo>
                    <a:pt x="184" y="144"/>
                  </a:lnTo>
                  <a:lnTo>
                    <a:pt x="191" y="152"/>
                  </a:lnTo>
                  <a:lnTo>
                    <a:pt x="201" y="159"/>
                  </a:lnTo>
                  <a:lnTo>
                    <a:pt x="211" y="172"/>
                  </a:lnTo>
                  <a:lnTo>
                    <a:pt x="204" y="177"/>
                  </a:lnTo>
                  <a:lnTo>
                    <a:pt x="189" y="164"/>
                  </a:lnTo>
                  <a:lnTo>
                    <a:pt x="179" y="169"/>
                  </a:lnTo>
                  <a:lnTo>
                    <a:pt x="176" y="179"/>
                  </a:lnTo>
                  <a:lnTo>
                    <a:pt x="181" y="192"/>
                  </a:lnTo>
                  <a:lnTo>
                    <a:pt x="176" y="199"/>
                  </a:lnTo>
                  <a:lnTo>
                    <a:pt x="171" y="209"/>
                  </a:lnTo>
                  <a:lnTo>
                    <a:pt x="161" y="209"/>
                  </a:lnTo>
                  <a:lnTo>
                    <a:pt x="161" y="187"/>
                  </a:lnTo>
                  <a:lnTo>
                    <a:pt x="161" y="177"/>
                  </a:lnTo>
                  <a:lnTo>
                    <a:pt x="149" y="169"/>
                  </a:lnTo>
                  <a:lnTo>
                    <a:pt x="144" y="157"/>
                  </a:lnTo>
                  <a:lnTo>
                    <a:pt x="131" y="154"/>
                  </a:lnTo>
                  <a:lnTo>
                    <a:pt x="134" y="144"/>
                  </a:lnTo>
                  <a:lnTo>
                    <a:pt x="107" y="137"/>
                  </a:lnTo>
                  <a:lnTo>
                    <a:pt x="92" y="122"/>
                  </a:lnTo>
                  <a:lnTo>
                    <a:pt x="82" y="115"/>
                  </a:lnTo>
                  <a:lnTo>
                    <a:pt x="72" y="107"/>
                  </a:lnTo>
                  <a:lnTo>
                    <a:pt x="64" y="85"/>
                  </a:lnTo>
                  <a:lnTo>
                    <a:pt x="59" y="72"/>
                  </a:lnTo>
                  <a:lnTo>
                    <a:pt x="39" y="70"/>
                  </a:lnTo>
                  <a:lnTo>
                    <a:pt x="34" y="80"/>
                  </a:lnTo>
                  <a:lnTo>
                    <a:pt x="15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6" name="Freeform 284"/>
            <p:cNvSpPr>
              <a:spLocks/>
            </p:cNvSpPr>
            <p:nvPr/>
          </p:nvSpPr>
          <p:spPr bwMode="auto">
            <a:xfrm>
              <a:off x="4040124" y="3038162"/>
              <a:ext cx="310875" cy="247548"/>
            </a:xfrm>
            <a:custGeom>
              <a:avLst/>
              <a:gdLst>
                <a:gd name="T0" fmla="*/ 216 w 216"/>
                <a:gd name="T1" fmla="*/ 30 h 172"/>
                <a:gd name="T2" fmla="*/ 181 w 216"/>
                <a:gd name="T3" fmla="*/ 33 h 172"/>
                <a:gd name="T4" fmla="*/ 169 w 216"/>
                <a:gd name="T5" fmla="*/ 23 h 172"/>
                <a:gd name="T6" fmla="*/ 144 w 216"/>
                <a:gd name="T7" fmla="*/ 20 h 172"/>
                <a:gd name="T8" fmla="*/ 122 w 216"/>
                <a:gd name="T9" fmla="*/ 13 h 172"/>
                <a:gd name="T10" fmla="*/ 94 w 216"/>
                <a:gd name="T11" fmla="*/ 3 h 172"/>
                <a:gd name="T12" fmla="*/ 79 w 216"/>
                <a:gd name="T13" fmla="*/ 8 h 172"/>
                <a:gd name="T14" fmla="*/ 67 w 216"/>
                <a:gd name="T15" fmla="*/ 0 h 172"/>
                <a:gd name="T16" fmla="*/ 7 w 216"/>
                <a:gd name="T17" fmla="*/ 0 h 172"/>
                <a:gd name="T18" fmla="*/ 10 w 216"/>
                <a:gd name="T19" fmla="*/ 10 h 172"/>
                <a:gd name="T20" fmla="*/ 0 w 216"/>
                <a:gd name="T21" fmla="*/ 15 h 172"/>
                <a:gd name="T22" fmla="*/ 2 w 216"/>
                <a:gd name="T23" fmla="*/ 28 h 172"/>
                <a:gd name="T24" fmla="*/ 12 w 216"/>
                <a:gd name="T25" fmla="*/ 38 h 172"/>
                <a:gd name="T26" fmla="*/ 15 w 216"/>
                <a:gd name="T27" fmla="*/ 50 h 172"/>
                <a:gd name="T28" fmla="*/ 32 w 216"/>
                <a:gd name="T29" fmla="*/ 48 h 172"/>
                <a:gd name="T30" fmla="*/ 44 w 216"/>
                <a:gd name="T31" fmla="*/ 43 h 172"/>
                <a:gd name="T32" fmla="*/ 49 w 216"/>
                <a:gd name="T33" fmla="*/ 50 h 172"/>
                <a:gd name="T34" fmla="*/ 47 w 216"/>
                <a:gd name="T35" fmla="*/ 55 h 172"/>
                <a:gd name="T36" fmla="*/ 42 w 216"/>
                <a:gd name="T37" fmla="*/ 62 h 172"/>
                <a:gd name="T38" fmla="*/ 34 w 216"/>
                <a:gd name="T39" fmla="*/ 95 h 172"/>
                <a:gd name="T40" fmla="*/ 27 w 216"/>
                <a:gd name="T41" fmla="*/ 102 h 172"/>
                <a:gd name="T42" fmla="*/ 37 w 216"/>
                <a:gd name="T43" fmla="*/ 110 h 172"/>
                <a:gd name="T44" fmla="*/ 37 w 216"/>
                <a:gd name="T45" fmla="*/ 137 h 172"/>
                <a:gd name="T46" fmla="*/ 39 w 216"/>
                <a:gd name="T47" fmla="*/ 149 h 172"/>
                <a:gd name="T48" fmla="*/ 49 w 216"/>
                <a:gd name="T49" fmla="*/ 149 h 172"/>
                <a:gd name="T50" fmla="*/ 49 w 216"/>
                <a:gd name="T51" fmla="*/ 164 h 172"/>
                <a:gd name="T52" fmla="*/ 62 w 216"/>
                <a:gd name="T53" fmla="*/ 172 h 172"/>
                <a:gd name="T54" fmla="*/ 74 w 216"/>
                <a:gd name="T55" fmla="*/ 167 h 172"/>
                <a:gd name="T56" fmla="*/ 84 w 216"/>
                <a:gd name="T57" fmla="*/ 162 h 172"/>
                <a:gd name="T58" fmla="*/ 126 w 216"/>
                <a:gd name="T59" fmla="*/ 164 h 172"/>
                <a:gd name="T60" fmla="*/ 134 w 216"/>
                <a:gd name="T61" fmla="*/ 154 h 172"/>
                <a:gd name="T62" fmla="*/ 134 w 216"/>
                <a:gd name="T63" fmla="*/ 145 h 172"/>
                <a:gd name="T64" fmla="*/ 146 w 216"/>
                <a:gd name="T65" fmla="*/ 137 h 172"/>
                <a:gd name="T66" fmla="*/ 156 w 216"/>
                <a:gd name="T67" fmla="*/ 127 h 172"/>
                <a:gd name="T68" fmla="*/ 159 w 216"/>
                <a:gd name="T69" fmla="*/ 115 h 172"/>
                <a:gd name="T70" fmla="*/ 146 w 216"/>
                <a:gd name="T71" fmla="*/ 97 h 172"/>
                <a:gd name="T72" fmla="*/ 156 w 216"/>
                <a:gd name="T73" fmla="*/ 87 h 172"/>
                <a:gd name="T74" fmla="*/ 164 w 216"/>
                <a:gd name="T75" fmla="*/ 75 h 172"/>
                <a:gd name="T76" fmla="*/ 179 w 216"/>
                <a:gd name="T77" fmla="*/ 72 h 172"/>
                <a:gd name="T78" fmla="*/ 191 w 216"/>
                <a:gd name="T79" fmla="*/ 55 h 172"/>
                <a:gd name="T80" fmla="*/ 201 w 216"/>
                <a:gd name="T81" fmla="*/ 45 h 172"/>
                <a:gd name="T82" fmla="*/ 216 w 216"/>
                <a:gd name="T83" fmla="*/ 3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6" h="172">
                  <a:moveTo>
                    <a:pt x="216" y="30"/>
                  </a:moveTo>
                  <a:lnTo>
                    <a:pt x="181" y="33"/>
                  </a:lnTo>
                  <a:lnTo>
                    <a:pt x="169" y="23"/>
                  </a:lnTo>
                  <a:lnTo>
                    <a:pt x="144" y="20"/>
                  </a:lnTo>
                  <a:lnTo>
                    <a:pt x="122" y="13"/>
                  </a:lnTo>
                  <a:lnTo>
                    <a:pt x="94" y="3"/>
                  </a:lnTo>
                  <a:lnTo>
                    <a:pt x="79" y="8"/>
                  </a:lnTo>
                  <a:lnTo>
                    <a:pt x="67" y="0"/>
                  </a:lnTo>
                  <a:lnTo>
                    <a:pt x="7" y="0"/>
                  </a:lnTo>
                  <a:lnTo>
                    <a:pt x="10" y="10"/>
                  </a:lnTo>
                  <a:lnTo>
                    <a:pt x="0" y="15"/>
                  </a:lnTo>
                  <a:lnTo>
                    <a:pt x="2" y="28"/>
                  </a:lnTo>
                  <a:lnTo>
                    <a:pt x="12" y="38"/>
                  </a:lnTo>
                  <a:lnTo>
                    <a:pt x="15" y="50"/>
                  </a:lnTo>
                  <a:lnTo>
                    <a:pt x="32" y="48"/>
                  </a:lnTo>
                  <a:lnTo>
                    <a:pt x="44" y="43"/>
                  </a:lnTo>
                  <a:lnTo>
                    <a:pt x="49" y="50"/>
                  </a:lnTo>
                  <a:lnTo>
                    <a:pt x="47" y="55"/>
                  </a:lnTo>
                  <a:lnTo>
                    <a:pt x="42" y="62"/>
                  </a:lnTo>
                  <a:lnTo>
                    <a:pt x="34" y="95"/>
                  </a:lnTo>
                  <a:lnTo>
                    <a:pt x="27" y="102"/>
                  </a:lnTo>
                  <a:lnTo>
                    <a:pt x="37" y="110"/>
                  </a:lnTo>
                  <a:lnTo>
                    <a:pt x="37" y="137"/>
                  </a:lnTo>
                  <a:lnTo>
                    <a:pt x="39" y="149"/>
                  </a:lnTo>
                  <a:lnTo>
                    <a:pt x="49" y="149"/>
                  </a:lnTo>
                  <a:lnTo>
                    <a:pt x="49" y="164"/>
                  </a:lnTo>
                  <a:lnTo>
                    <a:pt x="62" y="172"/>
                  </a:lnTo>
                  <a:lnTo>
                    <a:pt x="74" y="167"/>
                  </a:lnTo>
                  <a:lnTo>
                    <a:pt x="84" y="162"/>
                  </a:lnTo>
                  <a:lnTo>
                    <a:pt x="126" y="164"/>
                  </a:lnTo>
                  <a:lnTo>
                    <a:pt x="134" y="154"/>
                  </a:lnTo>
                  <a:lnTo>
                    <a:pt x="134" y="145"/>
                  </a:lnTo>
                  <a:lnTo>
                    <a:pt x="146" y="137"/>
                  </a:lnTo>
                  <a:lnTo>
                    <a:pt x="156" y="127"/>
                  </a:lnTo>
                  <a:lnTo>
                    <a:pt x="159" y="115"/>
                  </a:lnTo>
                  <a:lnTo>
                    <a:pt x="146" y="97"/>
                  </a:lnTo>
                  <a:lnTo>
                    <a:pt x="156" y="87"/>
                  </a:lnTo>
                  <a:lnTo>
                    <a:pt x="164" y="75"/>
                  </a:lnTo>
                  <a:lnTo>
                    <a:pt x="179" y="72"/>
                  </a:lnTo>
                  <a:lnTo>
                    <a:pt x="191" y="55"/>
                  </a:lnTo>
                  <a:lnTo>
                    <a:pt x="201" y="45"/>
                  </a:lnTo>
                  <a:lnTo>
                    <a:pt x="216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7" name="Freeform 285"/>
            <p:cNvSpPr>
              <a:spLocks/>
            </p:cNvSpPr>
            <p:nvPr/>
          </p:nvSpPr>
          <p:spPr bwMode="auto">
            <a:xfrm>
              <a:off x="4021415" y="3092853"/>
              <a:ext cx="89233" cy="164073"/>
            </a:xfrm>
            <a:custGeom>
              <a:avLst/>
              <a:gdLst>
                <a:gd name="T0" fmla="*/ 50 w 62"/>
                <a:gd name="T1" fmla="*/ 99 h 114"/>
                <a:gd name="T2" fmla="*/ 50 w 62"/>
                <a:gd name="T3" fmla="*/ 72 h 114"/>
                <a:gd name="T4" fmla="*/ 40 w 62"/>
                <a:gd name="T5" fmla="*/ 64 h 114"/>
                <a:gd name="T6" fmla="*/ 47 w 62"/>
                <a:gd name="T7" fmla="*/ 57 h 114"/>
                <a:gd name="T8" fmla="*/ 55 w 62"/>
                <a:gd name="T9" fmla="*/ 24 h 114"/>
                <a:gd name="T10" fmla="*/ 60 w 62"/>
                <a:gd name="T11" fmla="*/ 17 h 114"/>
                <a:gd name="T12" fmla="*/ 62 w 62"/>
                <a:gd name="T13" fmla="*/ 12 h 114"/>
                <a:gd name="T14" fmla="*/ 57 w 62"/>
                <a:gd name="T15" fmla="*/ 5 h 114"/>
                <a:gd name="T16" fmla="*/ 45 w 62"/>
                <a:gd name="T17" fmla="*/ 10 h 114"/>
                <a:gd name="T18" fmla="*/ 28 w 62"/>
                <a:gd name="T19" fmla="*/ 12 h 114"/>
                <a:gd name="T20" fmla="*/ 25 w 62"/>
                <a:gd name="T21" fmla="*/ 0 h 114"/>
                <a:gd name="T22" fmla="*/ 18 w 62"/>
                <a:gd name="T23" fmla="*/ 15 h 114"/>
                <a:gd name="T24" fmla="*/ 18 w 62"/>
                <a:gd name="T25" fmla="*/ 32 h 114"/>
                <a:gd name="T26" fmla="*/ 20 w 62"/>
                <a:gd name="T27" fmla="*/ 39 h 114"/>
                <a:gd name="T28" fmla="*/ 13 w 62"/>
                <a:gd name="T29" fmla="*/ 52 h 114"/>
                <a:gd name="T30" fmla="*/ 3 w 62"/>
                <a:gd name="T31" fmla="*/ 59 h 114"/>
                <a:gd name="T32" fmla="*/ 0 w 62"/>
                <a:gd name="T33" fmla="*/ 79 h 114"/>
                <a:gd name="T34" fmla="*/ 13 w 62"/>
                <a:gd name="T35" fmla="*/ 84 h 114"/>
                <a:gd name="T36" fmla="*/ 13 w 62"/>
                <a:gd name="T37" fmla="*/ 97 h 114"/>
                <a:gd name="T38" fmla="*/ 15 w 62"/>
                <a:gd name="T39" fmla="*/ 109 h 114"/>
                <a:gd name="T40" fmla="*/ 28 w 62"/>
                <a:gd name="T41" fmla="*/ 114 h 114"/>
                <a:gd name="T42" fmla="*/ 43 w 62"/>
                <a:gd name="T43" fmla="*/ 114 h 114"/>
                <a:gd name="T44" fmla="*/ 50 w 62"/>
                <a:gd name="T45" fmla="*/ 9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4">
                  <a:moveTo>
                    <a:pt x="50" y="99"/>
                  </a:moveTo>
                  <a:lnTo>
                    <a:pt x="50" y="72"/>
                  </a:lnTo>
                  <a:lnTo>
                    <a:pt x="40" y="64"/>
                  </a:lnTo>
                  <a:lnTo>
                    <a:pt x="47" y="57"/>
                  </a:lnTo>
                  <a:lnTo>
                    <a:pt x="55" y="24"/>
                  </a:lnTo>
                  <a:lnTo>
                    <a:pt x="60" y="17"/>
                  </a:lnTo>
                  <a:lnTo>
                    <a:pt x="62" y="12"/>
                  </a:lnTo>
                  <a:lnTo>
                    <a:pt x="57" y="5"/>
                  </a:lnTo>
                  <a:lnTo>
                    <a:pt x="45" y="10"/>
                  </a:lnTo>
                  <a:lnTo>
                    <a:pt x="28" y="12"/>
                  </a:lnTo>
                  <a:lnTo>
                    <a:pt x="25" y="0"/>
                  </a:lnTo>
                  <a:lnTo>
                    <a:pt x="18" y="15"/>
                  </a:lnTo>
                  <a:lnTo>
                    <a:pt x="18" y="32"/>
                  </a:lnTo>
                  <a:lnTo>
                    <a:pt x="20" y="39"/>
                  </a:lnTo>
                  <a:lnTo>
                    <a:pt x="13" y="52"/>
                  </a:lnTo>
                  <a:lnTo>
                    <a:pt x="3" y="59"/>
                  </a:lnTo>
                  <a:lnTo>
                    <a:pt x="0" y="79"/>
                  </a:lnTo>
                  <a:lnTo>
                    <a:pt x="13" y="84"/>
                  </a:lnTo>
                  <a:lnTo>
                    <a:pt x="13" y="97"/>
                  </a:lnTo>
                  <a:lnTo>
                    <a:pt x="15" y="109"/>
                  </a:lnTo>
                  <a:lnTo>
                    <a:pt x="28" y="114"/>
                  </a:lnTo>
                  <a:lnTo>
                    <a:pt x="43" y="114"/>
                  </a:lnTo>
                  <a:lnTo>
                    <a:pt x="5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8" name="Freeform 286"/>
            <p:cNvSpPr>
              <a:spLocks/>
            </p:cNvSpPr>
            <p:nvPr/>
          </p:nvSpPr>
          <p:spPr bwMode="auto">
            <a:xfrm>
              <a:off x="4479092" y="3071265"/>
              <a:ext cx="25906" cy="46056"/>
            </a:xfrm>
            <a:custGeom>
              <a:avLst/>
              <a:gdLst>
                <a:gd name="T0" fmla="*/ 18 w 18"/>
                <a:gd name="T1" fmla="*/ 0 h 32"/>
                <a:gd name="T2" fmla="*/ 13 w 18"/>
                <a:gd name="T3" fmla="*/ 5 h 32"/>
                <a:gd name="T4" fmla="*/ 0 w 18"/>
                <a:gd name="T5" fmla="*/ 12 h 32"/>
                <a:gd name="T6" fmla="*/ 5 w 18"/>
                <a:gd name="T7" fmla="*/ 25 h 32"/>
                <a:gd name="T8" fmla="*/ 13 w 18"/>
                <a:gd name="T9" fmla="*/ 32 h 32"/>
                <a:gd name="T10" fmla="*/ 18 w 18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8" y="0"/>
                  </a:moveTo>
                  <a:lnTo>
                    <a:pt x="13" y="5"/>
                  </a:lnTo>
                  <a:lnTo>
                    <a:pt x="0" y="12"/>
                  </a:lnTo>
                  <a:lnTo>
                    <a:pt x="5" y="25"/>
                  </a:lnTo>
                  <a:lnTo>
                    <a:pt x="13" y="3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69" name="Freeform 287"/>
            <p:cNvSpPr>
              <a:spLocks/>
            </p:cNvSpPr>
            <p:nvPr/>
          </p:nvSpPr>
          <p:spPr bwMode="auto">
            <a:xfrm>
              <a:off x="4471895" y="3131713"/>
              <a:ext cx="33103" cy="60448"/>
            </a:xfrm>
            <a:custGeom>
              <a:avLst/>
              <a:gdLst>
                <a:gd name="T0" fmla="*/ 3 w 23"/>
                <a:gd name="T1" fmla="*/ 5 h 42"/>
                <a:gd name="T2" fmla="*/ 5 w 23"/>
                <a:gd name="T3" fmla="*/ 5 h 42"/>
                <a:gd name="T4" fmla="*/ 15 w 23"/>
                <a:gd name="T5" fmla="*/ 2 h 42"/>
                <a:gd name="T6" fmla="*/ 20 w 23"/>
                <a:gd name="T7" fmla="*/ 0 h 42"/>
                <a:gd name="T8" fmla="*/ 23 w 23"/>
                <a:gd name="T9" fmla="*/ 7 h 42"/>
                <a:gd name="T10" fmla="*/ 23 w 23"/>
                <a:gd name="T11" fmla="*/ 17 h 42"/>
                <a:gd name="T12" fmla="*/ 23 w 23"/>
                <a:gd name="T13" fmla="*/ 27 h 42"/>
                <a:gd name="T14" fmla="*/ 20 w 23"/>
                <a:gd name="T15" fmla="*/ 40 h 42"/>
                <a:gd name="T16" fmla="*/ 10 w 23"/>
                <a:gd name="T17" fmla="*/ 42 h 42"/>
                <a:gd name="T18" fmla="*/ 3 w 23"/>
                <a:gd name="T19" fmla="*/ 40 h 42"/>
                <a:gd name="T20" fmla="*/ 3 w 23"/>
                <a:gd name="T21" fmla="*/ 30 h 42"/>
                <a:gd name="T22" fmla="*/ 3 w 23"/>
                <a:gd name="T23" fmla="*/ 17 h 42"/>
                <a:gd name="T24" fmla="*/ 0 w 23"/>
                <a:gd name="T25" fmla="*/ 10 h 42"/>
                <a:gd name="T26" fmla="*/ 3 w 23"/>
                <a:gd name="T27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42">
                  <a:moveTo>
                    <a:pt x="3" y="5"/>
                  </a:moveTo>
                  <a:lnTo>
                    <a:pt x="5" y="5"/>
                  </a:lnTo>
                  <a:lnTo>
                    <a:pt x="15" y="2"/>
                  </a:lnTo>
                  <a:lnTo>
                    <a:pt x="20" y="0"/>
                  </a:lnTo>
                  <a:lnTo>
                    <a:pt x="23" y="7"/>
                  </a:lnTo>
                  <a:lnTo>
                    <a:pt x="23" y="17"/>
                  </a:lnTo>
                  <a:lnTo>
                    <a:pt x="23" y="27"/>
                  </a:lnTo>
                  <a:lnTo>
                    <a:pt x="20" y="40"/>
                  </a:lnTo>
                  <a:lnTo>
                    <a:pt x="10" y="42"/>
                  </a:lnTo>
                  <a:lnTo>
                    <a:pt x="3" y="40"/>
                  </a:lnTo>
                  <a:lnTo>
                    <a:pt x="3" y="30"/>
                  </a:lnTo>
                  <a:lnTo>
                    <a:pt x="3" y="17"/>
                  </a:lnTo>
                  <a:lnTo>
                    <a:pt x="0" y="1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0" name="Freeform 288"/>
            <p:cNvSpPr>
              <a:spLocks/>
            </p:cNvSpPr>
            <p:nvPr/>
          </p:nvSpPr>
          <p:spPr bwMode="auto">
            <a:xfrm>
              <a:off x="4748228" y="3102928"/>
              <a:ext cx="132410" cy="139605"/>
            </a:xfrm>
            <a:custGeom>
              <a:avLst/>
              <a:gdLst>
                <a:gd name="T0" fmla="*/ 42 w 92"/>
                <a:gd name="T1" fmla="*/ 72 h 97"/>
                <a:gd name="T2" fmla="*/ 20 w 92"/>
                <a:gd name="T3" fmla="*/ 67 h 97"/>
                <a:gd name="T4" fmla="*/ 20 w 92"/>
                <a:gd name="T5" fmla="*/ 57 h 97"/>
                <a:gd name="T6" fmla="*/ 2 w 92"/>
                <a:gd name="T7" fmla="*/ 42 h 97"/>
                <a:gd name="T8" fmla="*/ 0 w 92"/>
                <a:gd name="T9" fmla="*/ 27 h 97"/>
                <a:gd name="T10" fmla="*/ 17 w 92"/>
                <a:gd name="T11" fmla="*/ 15 h 97"/>
                <a:gd name="T12" fmla="*/ 30 w 92"/>
                <a:gd name="T13" fmla="*/ 17 h 97"/>
                <a:gd name="T14" fmla="*/ 47 w 92"/>
                <a:gd name="T15" fmla="*/ 5 h 97"/>
                <a:gd name="T16" fmla="*/ 57 w 92"/>
                <a:gd name="T17" fmla="*/ 5 h 97"/>
                <a:gd name="T18" fmla="*/ 72 w 92"/>
                <a:gd name="T19" fmla="*/ 10 h 97"/>
                <a:gd name="T20" fmla="*/ 84 w 92"/>
                <a:gd name="T21" fmla="*/ 0 h 97"/>
                <a:gd name="T22" fmla="*/ 92 w 92"/>
                <a:gd name="T23" fmla="*/ 0 h 97"/>
                <a:gd name="T24" fmla="*/ 92 w 92"/>
                <a:gd name="T25" fmla="*/ 17 h 97"/>
                <a:gd name="T26" fmla="*/ 82 w 92"/>
                <a:gd name="T27" fmla="*/ 20 h 97"/>
                <a:gd name="T28" fmla="*/ 77 w 92"/>
                <a:gd name="T29" fmla="*/ 25 h 97"/>
                <a:gd name="T30" fmla="*/ 70 w 92"/>
                <a:gd name="T31" fmla="*/ 30 h 97"/>
                <a:gd name="T32" fmla="*/ 74 w 92"/>
                <a:gd name="T33" fmla="*/ 37 h 97"/>
                <a:gd name="T34" fmla="*/ 62 w 92"/>
                <a:gd name="T35" fmla="*/ 42 h 97"/>
                <a:gd name="T36" fmla="*/ 57 w 92"/>
                <a:gd name="T37" fmla="*/ 37 h 97"/>
                <a:gd name="T38" fmla="*/ 50 w 92"/>
                <a:gd name="T39" fmla="*/ 37 h 97"/>
                <a:gd name="T40" fmla="*/ 57 w 92"/>
                <a:gd name="T41" fmla="*/ 47 h 97"/>
                <a:gd name="T42" fmla="*/ 47 w 92"/>
                <a:gd name="T43" fmla="*/ 57 h 97"/>
                <a:gd name="T44" fmla="*/ 60 w 92"/>
                <a:gd name="T45" fmla="*/ 62 h 97"/>
                <a:gd name="T46" fmla="*/ 77 w 92"/>
                <a:gd name="T47" fmla="*/ 72 h 97"/>
                <a:gd name="T48" fmla="*/ 79 w 92"/>
                <a:gd name="T49" fmla="*/ 82 h 97"/>
                <a:gd name="T50" fmla="*/ 72 w 92"/>
                <a:gd name="T51" fmla="*/ 80 h 97"/>
                <a:gd name="T52" fmla="*/ 57 w 92"/>
                <a:gd name="T53" fmla="*/ 87 h 97"/>
                <a:gd name="T54" fmla="*/ 62 w 92"/>
                <a:gd name="T55" fmla="*/ 97 h 97"/>
                <a:gd name="T56" fmla="*/ 32 w 92"/>
                <a:gd name="T57" fmla="*/ 97 h 97"/>
                <a:gd name="T58" fmla="*/ 32 w 92"/>
                <a:gd name="T59" fmla="*/ 87 h 97"/>
                <a:gd name="T60" fmla="*/ 22 w 92"/>
                <a:gd name="T61" fmla="*/ 82 h 97"/>
                <a:gd name="T62" fmla="*/ 32 w 92"/>
                <a:gd name="T63" fmla="*/ 75 h 97"/>
                <a:gd name="T64" fmla="*/ 40 w 92"/>
                <a:gd name="T65" fmla="*/ 75 h 97"/>
                <a:gd name="T66" fmla="*/ 42 w 92"/>
                <a:gd name="T6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2" h="97">
                  <a:moveTo>
                    <a:pt x="42" y="72"/>
                  </a:moveTo>
                  <a:lnTo>
                    <a:pt x="20" y="67"/>
                  </a:lnTo>
                  <a:lnTo>
                    <a:pt x="20" y="57"/>
                  </a:lnTo>
                  <a:lnTo>
                    <a:pt x="2" y="42"/>
                  </a:lnTo>
                  <a:lnTo>
                    <a:pt x="0" y="27"/>
                  </a:lnTo>
                  <a:lnTo>
                    <a:pt x="17" y="15"/>
                  </a:lnTo>
                  <a:lnTo>
                    <a:pt x="30" y="17"/>
                  </a:lnTo>
                  <a:lnTo>
                    <a:pt x="47" y="5"/>
                  </a:lnTo>
                  <a:lnTo>
                    <a:pt x="57" y="5"/>
                  </a:lnTo>
                  <a:lnTo>
                    <a:pt x="72" y="10"/>
                  </a:lnTo>
                  <a:lnTo>
                    <a:pt x="84" y="0"/>
                  </a:lnTo>
                  <a:lnTo>
                    <a:pt x="92" y="0"/>
                  </a:lnTo>
                  <a:lnTo>
                    <a:pt x="92" y="17"/>
                  </a:lnTo>
                  <a:lnTo>
                    <a:pt x="82" y="20"/>
                  </a:lnTo>
                  <a:lnTo>
                    <a:pt x="77" y="25"/>
                  </a:lnTo>
                  <a:lnTo>
                    <a:pt x="70" y="30"/>
                  </a:lnTo>
                  <a:lnTo>
                    <a:pt x="74" y="37"/>
                  </a:lnTo>
                  <a:lnTo>
                    <a:pt x="62" y="42"/>
                  </a:lnTo>
                  <a:lnTo>
                    <a:pt x="57" y="37"/>
                  </a:lnTo>
                  <a:lnTo>
                    <a:pt x="50" y="37"/>
                  </a:lnTo>
                  <a:lnTo>
                    <a:pt x="57" y="47"/>
                  </a:lnTo>
                  <a:lnTo>
                    <a:pt x="47" y="57"/>
                  </a:lnTo>
                  <a:lnTo>
                    <a:pt x="60" y="62"/>
                  </a:lnTo>
                  <a:lnTo>
                    <a:pt x="77" y="72"/>
                  </a:lnTo>
                  <a:lnTo>
                    <a:pt x="79" y="82"/>
                  </a:lnTo>
                  <a:lnTo>
                    <a:pt x="72" y="80"/>
                  </a:lnTo>
                  <a:lnTo>
                    <a:pt x="57" y="87"/>
                  </a:lnTo>
                  <a:lnTo>
                    <a:pt x="62" y="97"/>
                  </a:lnTo>
                  <a:lnTo>
                    <a:pt x="32" y="97"/>
                  </a:lnTo>
                  <a:lnTo>
                    <a:pt x="32" y="87"/>
                  </a:lnTo>
                  <a:lnTo>
                    <a:pt x="22" y="82"/>
                  </a:lnTo>
                  <a:lnTo>
                    <a:pt x="32" y="75"/>
                  </a:lnTo>
                  <a:lnTo>
                    <a:pt x="40" y="75"/>
                  </a:lnTo>
                  <a:lnTo>
                    <a:pt x="42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1" name="Freeform 289"/>
            <p:cNvSpPr>
              <a:spLocks/>
            </p:cNvSpPr>
            <p:nvPr/>
          </p:nvSpPr>
          <p:spPr bwMode="auto">
            <a:xfrm>
              <a:off x="4404251" y="2645251"/>
              <a:ext cx="207250" cy="264819"/>
            </a:xfrm>
            <a:custGeom>
              <a:avLst/>
              <a:gdLst>
                <a:gd name="T0" fmla="*/ 144 w 144"/>
                <a:gd name="T1" fmla="*/ 89 h 184"/>
                <a:gd name="T2" fmla="*/ 135 w 144"/>
                <a:gd name="T3" fmla="*/ 57 h 184"/>
                <a:gd name="T4" fmla="*/ 137 w 144"/>
                <a:gd name="T5" fmla="*/ 22 h 184"/>
                <a:gd name="T6" fmla="*/ 132 w 144"/>
                <a:gd name="T7" fmla="*/ 17 h 184"/>
                <a:gd name="T8" fmla="*/ 90 w 144"/>
                <a:gd name="T9" fmla="*/ 25 h 184"/>
                <a:gd name="T10" fmla="*/ 80 w 144"/>
                <a:gd name="T11" fmla="*/ 15 h 184"/>
                <a:gd name="T12" fmla="*/ 72 w 144"/>
                <a:gd name="T13" fmla="*/ 0 h 184"/>
                <a:gd name="T14" fmla="*/ 52 w 144"/>
                <a:gd name="T15" fmla="*/ 5 h 184"/>
                <a:gd name="T16" fmla="*/ 52 w 144"/>
                <a:gd name="T17" fmla="*/ 22 h 184"/>
                <a:gd name="T18" fmla="*/ 52 w 144"/>
                <a:gd name="T19" fmla="*/ 30 h 184"/>
                <a:gd name="T20" fmla="*/ 45 w 144"/>
                <a:gd name="T21" fmla="*/ 30 h 184"/>
                <a:gd name="T22" fmla="*/ 25 w 144"/>
                <a:gd name="T23" fmla="*/ 37 h 184"/>
                <a:gd name="T24" fmla="*/ 25 w 144"/>
                <a:gd name="T25" fmla="*/ 57 h 184"/>
                <a:gd name="T26" fmla="*/ 15 w 144"/>
                <a:gd name="T27" fmla="*/ 72 h 184"/>
                <a:gd name="T28" fmla="*/ 3 w 144"/>
                <a:gd name="T29" fmla="*/ 82 h 184"/>
                <a:gd name="T30" fmla="*/ 0 w 144"/>
                <a:gd name="T31" fmla="*/ 102 h 184"/>
                <a:gd name="T32" fmla="*/ 10 w 144"/>
                <a:gd name="T33" fmla="*/ 107 h 184"/>
                <a:gd name="T34" fmla="*/ 8 w 144"/>
                <a:gd name="T35" fmla="*/ 119 h 184"/>
                <a:gd name="T36" fmla="*/ 23 w 144"/>
                <a:gd name="T37" fmla="*/ 127 h 184"/>
                <a:gd name="T38" fmla="*/ 38 w 144"/>
                <a:gd name="T39" fmla="*/ 142 h 184"/>
                <a:gd name="T40" fmla="*/ 30 w 144"/>
                <a:gd name="T41" fmla="*/ 152 h 184"/>
                <a:gd name="T42" fmla="*/ 33 w 144"/>
                <a:gd name="T43" fmla="*/ 179 h 184"/>
                <a:gd name="T44" fmla="*/ 43 w 144"/>
                <a:gd name="T45" fmla="*/ 179 h 184"/>
                <a:gd name="T46" fmla="*/ 55 w 144"/>
                <a:gd name="T47" fmla="*/ 176 h 184"/>
                <a:gd name="T48" fmla="*/ 65 w 144"/>
                <a:gd name="T49" fmla="*/ 181 h 184"/>
                <a:gd name="T50" fmla="*/ 72 w 144"/>
                <a:gd name="T51" fmla="*/ 184 h 184"/>
                <a:gd name="T52" fmla="*/ 80 w 144"/>
                <a:gd name="T53" fmla="*/ 184 h 184"/>
                <a:gd name="T54" fmla="*/ 102 w 144"/>
                <a:gd name="T55" fmla="*/ 176 h 184"/>
                <a:gd name="T56" fmla="*/ 117 w 144"/>
                <a:gd name="T57" fmla="*/ 164 h 184"/>
                <a:gd name="T58" fmla="*/ 122 w 144"/>
                <a:gd name="T59" fmla="*/ 159 h 184"/>
                <a:gd name="T60" fmla="*/ 125 w 144"/>
                <a:gd name="T61" fmla="*/ 142 h 184"/>
                <a:gd name="T62" fmla="*/ 97 w 144"/>
                <a:gd name="T63" fmla="*/ 109 h 184"/>
                <a:gd name="T64" fmla="*/ 144 w 144"/>
                <a:gd name="T65" fmla="*/ 8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84">
                  <a:moveTo>
                    <a:pt x="144" y="89"/>
                  </a:moveTo>
                  <a:lnTo>
                    <a:pt x="135" y="57"/>
                  </a:lnTo>
                  <a:lnTo>
                    <a:pt x="137" y="22"/>
                  </a:lnTo>
                  <a:lnTo>
                    <a:pt x="132" y="17"/>
                  </a:lnTo>
                  <a:lnTo>
                    <a:pt x="90" y="25"/>
                  </a:lnTo>
                  <a:lnTo>
                    <a:pt x="80" y="15"/>
                  </a:lnTo>
                  <a:lnTo>
                    <a:pt x="72" y="0"/>
                  </a:lnTo>
                  <a:lnTo>
                    <a:pt x="52" y="5"/>
                  </a:lnTo>
                  <a:lnTo>
                    <a:pt x="52" y="22"/>
                  </a:lnTo>
                  <a:lnTo>
                    <a:pt x="52" y="30"/>
                  </a:lnTo>
                  <a:lnTo>
                    <a:pt x="45" y="30"/>
                  </a:lnTo>
                  <a:lnTo>
                    <a:pt x="25" y="37"/>
                  </a:lnTo>
                  <a:lnTo>
                    <a:pt x="25" y="57"/>
                  </a:lnTo>
                  <a:lnTo>
                    <a:pt x="15" y="72"/>
                  </a:lnTo>
                  <a:lnTo>
                    <a:pt x="3" y="82"/>
                  </a:lnTo>
                  <a:lnTo>
                    <a:pt x="0" y="102"/>
                  </a:lnTo>
                  <a:lnTo>
                    <a:pt x="10" y="107"/>
                  </a:lnTo>
                  <a:lnTo>
                    <a:pt x="8" y="119"/>
                  </a:lnTo>
                  <a:lnTo>
                    <a:pt x="23" y="127"/>
                  </a:lnTo>
                  <a:lnTo>
                    <a:pt x="38" y="142"/>
                  </a:lnTo>
                  <a:lnTo>
                    <a:pt x="30" y="152"/>
                  </a:lnTo>
                  <a:lnTo>
                    <a:pt x="33" y="179"/>
                  </a:lnTo>
                  <a:lnTo>
                    <a:pt x="43" y="179"/>
                  </a:lnTo>
                  <a:lnTo>
                    <a:pt x="55" y="176"/>
                  </a:lnTo>
                  <a:lnTo>
                    <a:pt x="65" y="181"/>
                  </a:lnTo>
                  <a:lnTo>
                    <a:pt x="72" y="184"/>
                  </a:lnTo>
                  <a:lnTo>
                    <a:pt x="80" y="184"/>
                  </a:lnTo>
                  <a:lnTo>
                    <a:pt x="102" y="176"/>
                  </a:lnTo>
                  <a:lnTo>
                    <a:pt x="117" y="164"/>
                  </a:lnTo>
                  <a:lnTo>
                    <a:pt x="122" y="159"/>
                  </a:lnTo>
                  <a:lnTo>
                    <a:pt x="125" y="142"/>
                  </a:lnTo>
                  <a:lnTo>
                    <a:pt x="97" y="109"/>
                  </a:lnTo>
                  <a:lnTo>
                    <a:pt x="144" y="89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2" name="Freeform 291"/>
            <p:cNvSpPr>
              <a:spLocks/>
            </p:cNvSpPr>
            <p:nvPr/>
          </p:nvSpPr>
          <p:spPr bwMode="auto">
            <a:xfrm>
              <a:off x="4598548" y="2645251"/>
              <a:ext cx="231717" cy="182782"/>
            </a:xfrm>
            <a:custGeom>
              <a:avLst/>
              <a:gdLst>
                <a:gd name="T0" fmla="*/ 9 w 161"/>
                <a:gd name="T1" fmla="*/ 89 h 127"/>
                <a:gd name="T2" fmla="*/ 0 w 161"/>
                <a:gd name="T3" fmla="*/ 57 h 127"/>
                <a:gd name="T4" fmla="*/ 2 w 161"/>
                <a:gd name="T5" fmla="*/ 22 h 127"/>
                <a:gd name="T6" fmla="*/ 52 w 161"/>
                <a:gd name="T7" fmla="*/ 0 h 127"/>
                <a:gd name="T8" fmla="*/ 69 w 161"/>
                <a:gd name="T9" fmla="*/ 7 h 127"/>
                <a:gd name="T10" fmla="*/ 94 w 161"/>
                <a:gd name="T11" fmla="*/ 2 h 127"/>
                <a:gd name="T12" fmla="*/ 124 w 161"/>
                <a:gd name="T13" fmla="*/ 15 h 127"/>
                <a:gd name="T14" fmla="*/ 146 w 161"/>
                <a:gd name="T15" fmla="*/ 35 h 127"/>
                <a:gd name="T16" fmla="*/ 146 w 161"/>
                <a:gd name="T17" fmla="*/ 60 h 127"/>
                <a:gd name="T18" fmla="*/ 159 w 161"/>
                <a:gd name="T19" fmla="*/ 60 h 127"/>
                <a:gd name="T20" fmla="*/ 159 w 161"/>
                <a:gd name="T21" fmla="*/ 79 h 127"/>
                <a:gd name="T22" fmla="*/ 161 w 161"/>
                <a:gd name="T23" fmla="*/ 112 h 127"/>
                <a:gd name="T24" fmla="*/ 146 w 161"/>
                <a:gd name="T25" fmla="*/ 122 h 127"/>
                <a:gd name="T26" fmla="*/ 119 w 161"/>
                <a:gd name="T27" fmla="*/ 124 h 127"/>
                <a:gd name="T28" fmla="*/ 89 w 161"/>
                <a:gd name="T29" fmla="*/ 127 h 127"/>
                <a:gd name="T30" fmla="*/ 69 w 161"/>
                <a:gd name="T31" fmla="*/ 114 h 127"/>
                <a:gd name="T32" fmla="*/ 27 w 161"/>
                <a:gd name="T33" fmla="*/ 102 h 127"/>
                <a:gd name="T34" fmla="*/ 9 w 161"/>
                <a:gd name="T35" fmla="*/ 8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27">
                  <a:moveTo>
                    <a:pt x="9" y="89"/>
                  </a:moveTo>
                  <a:lnTo>
                    <a:pt x="0" y="57"/>
                  </a:lnTo>
                  <a:lnTo>
                    <a:pt x="2" y="22"/>
                  </a:lnTo>
                  <a:lnTo>
                    <a:pt x="52" y="0"/>
                  </a:lnTo>
                  <a:lnTo>
                    <a:pt x="69" y="7"/>
                  </a:lnTo>
                  <a:lnTo>
                    <a:pt x="94" y="2"/>
                  </a:lnTo>
                  <a:lnTo>
                    <a:pt x="124" y="15"/>
                  </a:lnTo>
                  <a:lnTo>
                    <a:pt x="146" y="35"/>
                  </a:lnTo>
                  <a:lnTo>
                    <a:pt x="146" y="60"/>
                  </a:lnTo>
                  <a:lnTo>
                    <a:pt x="159" y="60"/>
                  </a:lnTo>
                  <a:lnTo>
                    <a:pt x="159" y="79"/>
                  </a:lnTo>
                  <a:lnTo>
                    <a:pt x="161" y="112"/>
                  </a:lnTo>
                  <a:lnTo>
                    <a:pt x="146" y="122"/>
                  </a:lnTo>
                  <a:lnTo>
                    <a:pt x="119" y="124"/>
                  </a:lnTo>
                  <a:lnTo>
                    <a:pt x="89" y="127"/>
                  </a:lnTo>
                  <a:lnTo>
                    <a:pt x="69" y="114"/>
                  </a:lnTo>
                  <a:lnTo>
                    <a:pt x="27" y="102"/>
                  </a:lnTo>
                  <a:lnTo>
                    <a:pt x="9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3" name="Freeform 292"/>
            <p:cNvSpPr>
              <a:spLocks/>
            </p:cNvSpPr>
            <p:nvPr/>
          </p:nvSpPr>
          <p:spPr bwMode="auto">
            <a:xfrm>
              <a:off x="4533783" y="2091145"/>
              <a:ext cx="267698" cy="532517"/>
            </a:xfrm>
            <a:custGeom>
              <a:avLst/>
              <a:gdLst>
                <a:gd name="T0" fmla="*/ 0 w 186"/>
                <a:gd name="T1" fmla="*/ 288 h 370"/>
                <a:gd name="T2" fmla="*/ 7 w 186"/>
                <a:gd name="T3" fmla="*/ 276 h 370"/>
                <a:gd name="T4" fmla="*/ 12 w 186"/>
                <a:gd name="T5" fmla="*/ 253 h 370"/>
                <a:gd name="T6" fmla="*/ 30 w 186"/>
                <a:gd name="T7" fmla="*/ 243 h 370"/>
                <a:gd name="T8" fmla="*/ 25 w 186"/>
                <a:gd name="T9" fmla="*/ 223 h 370"/>
                <a:gd name="T10" fmla="*/ 15 w 186"/>
                <a:gd name="T11" fmla="*/ 203 h 370"/>
                <a:gd name="T12" fmla="*/ 12 w 186"/>
                <a:gd name="T13" fmla="*/ 184 h 370"/>
                <a:gd name="T14" fmla="*/ 7 w 186"/>
                <a:gd name="T15" fmla="*/ 151 h 370"/>
                <a:gd name="T16" fmla="*/ 12 w 186"/>
                <a:gd name="T17" fmla="*/ 139 h 370"/>
                <a:gd name="T18" fmla="*/ 30 w 186"/>
                <a:gd name="T19" fmla="*/ 141 h 370"/>
                <a:gd name="T20" fmla="*/ 37 w 186"/>
                <a:gd name="T21" fmla="*/ 136 h 370"/>
                <a:gd name="T22" fmla="*/ 27 w 186"/>
                <a:gd name="T23" fmla="*/ 126 h 370"/>
                <a:gd name="T24" fmla="*/ 35 w 186"/>
                <a:gd name="T25" fmla="*/ 111 h 370"/>
                <a:gd name="T26" fmla="*/ 37 w 186"/>
                <a:gd name="T27" fmla="*/ 87 h 370"/>
                <a:gd name="T28" fmla="*/ 47 w 186"/>
                <a:gd name="T29" fmla="*/ 84 h 370"/>
                <a:gd name="T30" fmla="*/ 52 w 186"/>
                <a:gd name="T31" fmla="*/ 69 h 370"/>
                <a:gd name="T32" fmla="*/ 62 w 186"/>
                <a:gd name="T33" fmla="*/ 69 h 370"/>
                <a:gd name="T34" fmla="*/ 67 w 186"/>
                <a:gd name="T35" fmla="*/ 52 h 370"/>
                <a:gd name="T36" fmla="*/ 74 w 186"/>
                <a:gd name="T37" fmla="*/ 47 h 370"/>
                <a:gd name="T38" fmla="*/ 77 w 186"/>
                <a:gd name="T39" fmla="*/ 32 h 370"/>
                <a:gd name="T40" fmla="*/ 87 w 186"/>
                <a:gd name="T41" fmla="*/ 34 h 370"/>
                <a:gd name="T42" fmla="*/ 97 w 186"/>
                <a:gd name="T43" fmla="*/ 29 h 370"/>
                <a:gd name="T44" fmla="*/ 107 w 186"/>
                <a:gd name="T45" fmla="*/ 20 h 370"/>
                <a:gd name="T46" fmla="*/ 119 w 186"/>
                <a:gd name="T47" fmla="*/ 20 h 370"/>
                <a:gd name="T48" fmla="*/ 136 w 186"/>
                <a:gd name="T49" fmla="*/ 20 h 370"/>
                <a:gd name="T50" fmla="*/ 144 w 186"/>
                <a:gd name="T51" fmla="*/ 7 h 370"/>
                <a:gd name="T52" fmla="*/ 154 w 186"/>
                <a:gd name="T53" fmla="*/ 0 h 370"/>
                <a:gd name="T54" fmla="*/ 169 w 186"/>
                <a:gd name="T55" fmla="*/ 15 h 370"/>
                <a:gd name="T56" fmla="*/ 184 w 186"/>
                <a:gd name="T57" fmla="*/ 27 h 370"/>
                <a:gd name="T58" fmla="*/ 184 w 186"/>
                <a:gd name="T59" fmla="*/ 39 h 370"/>
                <a:gd name="T60" fmla="*/ 186 w 186"/>
                <a:gd name="T61" fmla="*/ 77 h 370"/>
                <a:gd name="T62" fmla="*/ 174 w 186"/>
                <a:gd name="T63" fmla="*/ 84 h 370"/>
                <a:gd name="T64" fmla="*/ 161 w 186"/>
                <a:gd name="T65" fmla="*/ 97 h 370"/>
                <a:gd name="T66" fmla="*/ 154 w 186"/>
                <a:gd name="T67" fmla="*/ 116 h 370"/>
                <a:gd name="T68" fmla="*/ 156 w 186"/>
                <a:gd name="T69" fmla="*/ 131 h 370"/>
                <a:gd name="T70" fmla="*/ 139 w 186"/>
                <a:gd name="T71" fmla="*/ 144 h 370"/>
                <a:gd name="T72" fmla="*/ 129 w 186"/>
                <a:gd name="T73" fmla="*/ 156 h 370"/>
                <a:gd name="T74" fmla="*/ 104 w 186"/>
                <a:gd name="T75" fmla="*/ 161 h 370"/>
                <a:gd name="T76" fmla="*/ 94 w 186"/>
                <a:gd name="T77" fmla="*/ 181 h 370"/>
                <a:gd name="T78" fmla="*/ 94 w 186"/>
                <a:gd name="T79" fmla="*/ 216 h 370"/>
                <a:gd name="T80" fmla="*/ 107 w 186"/>
                <a:gd name="T81" fmla="*/ 233 h 370"/>
                <a:gd name="T82" fmla="*/ 114 w 186"/>
                <a:gd name="T83" fmla="*/ 246 h 370"/>
                <a:gd name="T84" fmla="*/ 84 w 186"/>
                <a:gd name="T85" fmla="*/ 261 h 370"/>
                <a:gd name="T86" fmla="*/ 99 w 186"/>
                <a:gd name="T87" fmla="*/ 261 h 370"/>
                <a:gd name="T88" fmla="*/ 107 w 186"/>
                <a:gd name="T89" fmla="*/ 268 h 370"/>
                <a:gd name="T90" fmla="*/ 112 w 186"/>
                <a:gd name="T91" fmla="*/ 281 h 370"/>
                <a:gd name="T92" fmla="*/ 99 w 186"/>
                <a:gd name="T93" fmla="*/ 288 h 370"/>
                <a:gd name="T94" fmla="*/ 87 w 186"/>
                <a:gd name="T95" fmla="*/ 300 h 370"/>
                <a:gd name="T96" fmla="*/ 87 w 186"/>
                <a:gd name="T97" fmla="*/ 325 h 370"/>
                <a:gd name="T98" fmla="*/ 74 w 186"/>
                <a:gd name="T99" fmla="*/ 335 h 370"/>
                <a:gd name="T100" fmla="*/ 69 w 186"/>
                <a:gd name="T101" fmla="*/ 348 h 370"/>
                <a:gd name="T102" fmla="*/ 54 w 186"/>
                <a:gd name="T103" fmla="*/ 358 h 370"/>
                <a:gd name="T104" fmla="*/ 47 w 186"/>
                <a:gd name="T105" fmla="*/ 370 h 370"/>
                <a:gd name="T106" fmla="*/ 27 w 186"/>
                <a:gd name="T107" fmla="*/ 363 h 370"/>
                <a:gd name="T108" fmla="*/ 30 w 186"/>
                <a:gd name="T109" fmla="*/ 338 h 370"/>
                <a:gd name="T110" fmla="*/ 20 w 186"/>
                <a:gd name="T111" fmla="*/ 335 h 370"/>
                <a:gd name="T112" fmla="*/ 15 w 186"/>
                <a:gd name="T113" fmla="*/ 320 h 370"/>
                <a:gd name="T114" fmla="*/ 7 w 186"/>
                <a:gd name="T115" fmla="*/ 303 h 370"/>
                <a:gd name="T116" fmla="*/ 0 w 186"/>
                <a:gd name="T117" fmla="*/ 28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" h="370">
                  <a:moveTo>
                    <a:pt x="0" y="288"/>
                  </a:moveTo>
                  <a:lnTo>
                    <a:pt x="7" y="276"/>
                  </a:lnTo>
                  <a:lnTo>
                    <a:pt x="12" y="253"/>
                  </a:lnTo>
                  <a:lnTo>
                    <a:pt x="30" y="243"/>
                  </a:lnTo>
                  <a:lnTo>
                    <a:pt x="25" y="223"/>
                  </a:lnTo>
                  <a:lnTo>
                    <a:pt x="15" y="203"/>
                  </a:lnTo>
                  <a:lnTo>
                    <a:pt x="12" y="184"/>
                  </a:lnTo>
                  <a:lnTo>
                    <a:pt x="7" y="151"/>
                  </a:lnTo>
                  <a:lnTo>
                    <a:pt x="12" y="139"/>
                  </a:lnTo>
                  <a:lnTo>
                    <a:pt x="30" y="141"/>
                  </a:lnTo>
                  <a:lnTo>
                    <a:pt x="37" y="136"/>
                  </a:lnTo>
                  <a:lnTo>
                    <a:pt x="27" y="126"/>
                  </a:lnTo>
                  <a:lnTo>
                    <a:pt x="35" y="111"/>
                  </a:lnTo>
                  <a:lnTo>
                    <a:pt x="37" y="87"/>
                  </a:lnTo>
                  <a:lnTo>
                    <a:pt x="47" y="84"/>
                  </a:lnTo>
                  <a:lnTo>
                    <a:pt x="52" y="69"/>
                  </a:lnTo>
                  <a:lnTo>
                    <a:pt x="62" y="6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77" y="32"/>
                  </a:lnTo>
                  <a:lnTo>
                    <a:pt x="87" y="34"/>
                  </a:lnTo>
                  <a:lnTo>
                    <a:pt x="97" y="29"/>
                  </a:lnTo>
                  <a:lnTo>
                    <a:pt x="107" y="20"/>
                  </a:lnTo>
                  <a:lnTo>
                    <a:pt x="119" y="20"/>
                  </a:lnTo>
                  <a:lnTo>
                    <a:pt x="136" y="20"/>
                  </a:lnTo>
                  <a:lnTo>
                    <a:pt x="144" y="7"/>
                  </a:lnTo>
                  <a:lnTo>
                    <a:pt x="154" y="0"/>
                  </a:lnTo>
                  <a:lnTo>
                    <a:pt x="169" y="15"/>
                  </a:lnTo>
                  <a:lnTo>
                    <a:pt x="184" y="27"/>
                  </a:lnTo>
                  <a:lnTo>
                    <a:pt x="184" y="39"/>
                  </a:lnTo>
                  <a:lnTo>
                    <a:pt x="186" y="77"/>
                  </a:lnTo>
                  <a:lnTo>
                    <a:pt x="174" y="84"/>
                  </a:lnTo>
                  <a:lnTo>
                    <a:pt x="161" y="97"/>
                  </a:lnTo>
                  <a:lnTo>
                    <a:pt x="154" y="116"/>
                  </a:lnTo>
                  <a:lnTo>
                    <a:pt x="156" y="131"/>
                  </a:lnTo>
                  <a:lnTo>
                    <a:pt x="139" y="144"/>
                  </a:lnTo>
                  <a:lnTo>
                    <a:pt x="129" y="156"/>
                  </a:lnTo>
                  <a:lnTo>
                    <a:pt x="104" y="161"/>
                  </a:lnTo>
                  <a:lnTo>
                    <a:pt x="94" y="181"/>
                  </a:lnTo>
                  <a:lnTo>
                    <a:pt x="94" y="216"/>
                  </a:lnTo>
                  <a:lnTo>
                    <a:pt x="107" y="233"/>
                  </a:lnTo>
                  <a:lnTo>
                    <a:pt x="114" y="246"/>
                  </a:lnTo>
                  <a:lnTo>
                    <a:pt x="84" y="261"/>
                  </a:lnTo>
                  <a:lnTo>
                    <a:pt x="99" y="261"/>
                  </a:lnTo>
                  <a:lnTo>
                    <a:pt x="107" y="268"/>
                  </a:lnTo>
                  <a:lnTo>
                    <a:pt x="112" y="281"/>
                  </a:lnTo>
                  <a:lnTo>
                    <a:pt x="99" y="288"/>
                  </a:lnTo>
                  <a:lnTo>
                    <a:pt x="87" y="300"/>
                  </a:lnTo>
                  <a:lnTo>
                    <a:pt x="87" y="325"/>
                  </a:lnTo>
                  <a:lnTo>
                    <a:pt x="74" y="335"/>
                  </a:lnTo>
                  <a:lnTo>
                    <a:pt x="69" y="348"/>
                  </a:lnTo>
                  <a:lnTo>
                    <a:pt x="54" y="358"/>
                  </a:lnTo>
                  <a:lnTo>
                    <a:pt x="47" y="370"/>
                  </a:lnTo>
                  <a:lnTo>
                    <a:pt x="27" y="363"/>
                  </a:lnTo>
                  <a:lnTo>
                    <a:pt x="30" y="338"/>
                  </a:lnTo>
                  <a:lnTo>
                    <a:pt x="20" y="335"/>
                  </a:lnTo>
                  <a:lnTo>
                    <a:pt x="15" y="320"/>
                  </a:lnTo>
                  <a:lnTo>
                    <a:pt x="7" y="303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4" name="Freeform 293"/>
            <p:cNvSpPr>
              <a:spLocks/>
            </p:cNvSpPr>
            <p:nvPr/>
          </p:nvSpPr>
          <p:spPr bwMode="auto">
            <a:xfrm>
              <a:off x="4748228" y="2895678"/>
              <a:ext cx="207250" cy="146802"/>
            </a:xfrm>
            <a:custGeom>
              <a:avLst/>
              <a:gdLst>
                <a:gd name="T0" fmla="*/ 50 w 144"/>
                <a:gd name="T1" fmla="*/ 82 h 102"/>
                <a:gd name="T2" fmla="*/ 40 w 144"/>
                <a:gd name="T3" fmla="*/ 74 h 102"/>
                <a:gd name="T4" fmla="*/ 22 w 144"/>
                <a:gd name="T5" fmla="*/ 65 h 102"/>
                <a:gd name="T6" fmla="*/ 5 w 144"/>
                <a:gd name="T7" fmla="*/ 52 h 102"/>
                <a:gd name="T8" fmla="*/ 0 w 144"/>
                <a:gd name="T9" fmla="*/ 37 h 102"/>
                <a:gd name="T10" fmla="*/ 17 w 144"/>
                <a:gd name="T11" fmla="*/ 32 h 102"/>
                <a:gd name="T12" fmla="*/ 30 w 144"/>
                <a:gd name="T13" fmla="*/ 12 h 102"/>
                <a:gd name="T14" fmla="*/ 37 w 144"/>
                <a:gd name="T15" fmla="*/ 0 h 102"/>
                <a:gd name="T16" fmla="*/ 62 w 144"/>
                <a:gd name="T17" fmla="*/ 0 h 102"/>
                <a:gd name="T18" fmla="*/ 72 w 144"/>
                <a:gd name="T19" fmla="*/ 7 h 102"/>
                <a:gd name="T20" fmla="*/ 97 w 144"/>
                <a:gd name="T21" fmla="*/ 7 h 102"/>
                <a:gd name="T22" fmla="*/ 107 w 144"/>
                <a:gd name="T23" fmla="*/ 5 h 102"/>
                <a:gd name="T24" fmla="*/ 132 w 144"/>
                <a:gd name="T25" fmla="*/ 27 h 102"/>
                <a:gd name="T26" fmla="*/ 134 w 144"/>
                <a:gd name="T27" fmla="*/ 50 h 102"/>
                <a:gd name="T28" fmla="*/ 144 w 144"/>
                <a:gd name="T29" fmla="*/ 72 h 102"/>
                <a:gd name="T30" fmla="*/ 142 w 144"/>
                <a:gd name="T31" fmla="*/ 84 h 102"/>
                <a:gd name="T32" fmla="*/ 127 w 144"/>
                <a:gd name="T33" fmla="*/ 94 h 102"/>
                <a:gd name="T34" fmla="*/ 112 w 144"/>
                <a:gd name="T35" fmla="*/ 97 h 102"/>
                <a:gd name="T36" fmla="*/ 87 w 144"/>
                <a:gd name="T37" fmla="*/ 102 h 102"/>
                <a:gd name="T38" fmla="*/ 79 w 144"/>
                <a:gd name="T39" fmla="*/ 87 h 102"/>
                <a:gd name="T40" fmla="*/ 60 w 144"/>
                <a:gd name="T41" fmla="*/ 79 h 102"/>
                <a:gd name="T42" fmla="*/ 55 w 144"/>
                <a:gd name="T43" fmla="*/ 87 h 102"/>
                <a:gd name="T44" fmla="*/ 50 w 144"/>
                <a:gd name="T4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" h="102">
                  <a:moveTo>
                    <a:pt x="50" y="82"/>
                  </a:moveTo>
                  <a:lnTo>
                    <a:pt x="40" y="74"/>
                  </a:lnTo>
                  <a:lnTo>
                    <a:pt x="22" y="65"/>
                  </a:lnTo>
                  <a:lnTo>
                    <a:pt x="5" y="52"/>
                  </a:lnTo>
                  <a:lnTo>
                    <a:pt x="0" y="37"/>
                  </a:lnTo>
                  <a:lnTo>
                    <a:pt x="17" y="32"/>
                  </a:lnTo>
                  <a:lnTo>
                    <a:pt x="30" y="12"/>
                  </a:lnTo>
                  <a:lnTo>
                    <a:pt x="37" y="0"/>
                  </a:lnTo>
                  <a:lnTo>
                    <a:pt x="62" y="0"/>
                  </a:lnTo>
                  <a:lnTo>
                    <a:pt x="72" y="7"/>
                  </a:lnTo>
                  <a:lnTo>
                    <a:pt x="97" y="7"/>
                  </a:lnTo>
                  <a:lnTo>
                    <a:pt x="107" y="5"/>
                  </a:lnTo>
                  <a:lnTo>
                    <a:pt x="132" y="27"/>
                  </a:lnTo>
                  <a:lnTo>
                    <a:pt x="134" y="50"/>
                  </a:lnTo>
                  <a:lnTo>
                    <a:pt x="144" y="72"/>
                  </a:lnTo>
                  <a:lnTo>
                    <a:pt x="142" y="84"/>
                  </a:lnTo>
                  <a:lnTo>
                    <a:pt x="127" y="94"/>
                  </a:lnTo>
                  <a:lnTo>
                    <a:pt x="112" y="97"/>
                  </a:lnTo>
                  <a:lnTo>
                    <a:pt x="87" y="102"/>
                  </a:lnTo>
                  <a:lnTo>
                    <a:pt x="79" y="87"/>
                  </a:lnTo>
                  <a:lnTo>
                    <a:pt x="60" y="79"/>
                  </a:lnTo>
                  <a:lnTo>
                    <a:pt x="55" y="87"/>
                  </a:lnTo>
                  <a:lnTo>
                    <a:pt x="50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5" name="Freeform 294"/>
            <p:cNvSpPr>
              <a:spLocks/>
            </p:cNvSpPr>
            <p:nvPr/>
          </p:nvSpPr>
          <p:spPr bwMode="auto">
            <a:xfrm>
              <a:off x="4880638" y="3100050"/>
              <a:ext cx="53252" cy="34542"/>
            </a:xfrm>
            <a:custGeom>
              <a:avLst/>
              <a:gdLst>
                <a:gd name="T0" fmla="*/ 7 w 37"/>
                <a:gd name="T1" fmla="*/ 24 h 24"/>
                <a:gd name="T2" fmla="*/ 25 w 37"/>
                <a:gd name="T3" fmla="*/ 24 h 24"/>
                <a:gd name="T4" fmla="*/ 37 w 37"/>
                <a:gd name="T5" fmla="*/ 15 h 24"/>
                <a:gd name="T6" fmla="*/ 17 w 37"/>
                <a:gd name="T7" fmla="*/ 0 h 24"/>
                <a:gd name="T8" fmla="*/ 0 w 37"/>
                <a:gd name="T9" fmla="*/ 2 h 24"/>
                <a:gd name="T10" fmla="*/ 0 w 37"/>
                <a:gd name="T11" fmla="*/ 19 h 24"/>
                <a:gd name="T12" fmla="*/ 7 w 37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4">
                  <a:moveTo>
                    <a:pt x="7" y="24"/>
                  </a:moveTo>
                  <a:lnTo>
                    <a:pt x="25" y="24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6" name="Freeform 295"/>
            <p:cNvSpPr>
              <a:spLocks/>
            </p:cNvSpPr>
            <p:nvPr/>
          </p:nvSpPr>
          <p:spPr bwMode="auto">
            <a:xfrm>
              <a:off x="4909423" y="3081339"/>
              <a:ext cx="467752" cy="207250"/>
            </a:xfrm>
            <a:custGeom>
              <a:avLst/>
              <a:gdLst>
                <a:gd name="T0" fmla="*/ 164 w 325"/>
                <a:gd name="T1" fmla="*/ 137 h 144"/>
                <a:gd name="T2" fmla="*/ 179 w 325"/>
                <a:gd name="T3" fmla="*/ 134 h 144"/>
                <a:gd name="T4" fmla="*/ 209 w 325"/>
                <a:gd name="T5" fmla="*/ 129 h 144"/>
                <a:gd name="T6" fmla="*/ 226 w 325"/>
                <a:gd name="T7" fmla="*/ 129 h 144"/>
                <a:gd name="T8" fmla="*/ 251 w 325"/>
                <a:gd name="T9" fmla="*/ 124 h 144"/>
                <a:gd name="T10" fmla="*/ 256 w 325"/>
                <a:gd name="T11" fmla="*/ 144 h 144"/>
                <a:gd name="T12" fmla="*/ 268 w 325"/>
                <a:gd name="T13" fmla="*/ 134 h 144"/>
                <a:gd name="T14" fmla="*/ 281 w 325"/>
                <a:gd name="T15" fmla="*/ 122 h 144"/>
                <a:gd name="T16" fmla="*/ 296 w 325"/>
                <a:gd name="T17" fmla="*/ 117 h 144"/>
                <a:gd name="T18" fmla="*/ 303 w 325"/>
                <a:gd name="T19" fmla="*/ 129 h 144"/>
                <a:gd name="T20" fmla="*/ 325 w 325"/>
                <a:gd name="T21" fmla="*/ 132 h 144"/>
                <a:gd name="T22" fmla="*/ 320 w 325"/>
                <a:gd name="T23" fmla="*/ 110 h 144"/>
                <a:gd name="T24" fmla="*/ 311 w 325"/>
                <a:gd name="T25" fmla="*/ 85 h 144"/>
                <a:gd name="T26" fmla="*/ 303 w 325"/>
                <a:gd name="T27" fmla="*/ 62 h 144"/>
                <a:gd name="T28" fmla="*/ 311 w 325"/>
                <a:gd name="T29" fmla="*/ 55 h 144"/>
                <a:gd name="T30" fmla="*/ 296 w 325"/>
                <a:gd name="T31" fmla="*/ 40 h 144"/>
                <a:gd name="T32" fmla="*/ 281 w 325"/>
                <a:gd name="T33" fmla="*/ 15 h 144"/>
                <a:gd name="T34" fmla="*/ 258 w 325"/>
                <a:gd name="T35" fmla="*/ 18 h 144"/>
                <a:gd name="T36" fmla="*/ 248 w 325"/>
                <a:gd name="T37" fmla="*/ 30 h 144"/>
                <a:gd name="T38" fmla="*/ 214 w 325"/>
                <a:gd name="T39" fmla="*/ 32 h 144"/>
                <a:gd name="T40" fmla="*/ 196 w 325"/>
                <a:gd name="T41" fmla="*/ 32 h 144"/>
                <a:gd name="T42" fmla="*/ 181 w 325"/>
                <a:gd name="T43" fmla="*/ 25 h 144"/>
                <a:gd name="T44" fmla="*/ 166 w 325"/>
                <a:gd name="T45" fmla="*/ 25 h 144"/>
                <a:gd name="T46" fmla="*/ 154 w 325"/>
                <a:gd name="T47" fmla="*/ 10 h 144"/>
                <a:gd name="T48" fmla="*/ 137 w 325"/>
                <a:gd name="T49" fmla="*/ 0 h 144"/>
                <a:gd name="T50" fmla="*/ 119 w 325"/>
                <a:gd name="T51" fmla="*/ 10 h 144"/>
                <a:gd name="T52" fmla="*/ 97 w 325"/>
                <a:gd name="T53" fmla="*/ 13 h 144"/>
                <a:gd name="T54" fmla="*/ 79 w 325"/>
                <a:gd name="T55" fmla="*/ 18 h 144"/>
                <a:gd name="T56" fmla="*/ 54 w 325"/>
                <a:gd name="T57" fmla="*/ 20 h 144"/>
                <a:gd name="T58" fmla="*/ 42 w 325"/>
                <a:gd name="T59" fmla="*/ 20 h 144"/>
                <a:gd name="T60" fmla="*/ 22 w 325"/>
                <a:gd name="T61" fmla="*/ 28 h 144"/>
                <a:gd name="T62" fmla="*/ 35 w 325"/>
                <a:gd name="T63" fmla="*/ 32 h 144"/>
                <a:gd name="T64" fmla="*/ 22 w 325"/>
                <a:gd name="T65" fmla="*/ 40 h 144"/>
                <a:gd name="T66" fmla="*/ 17 w 325"/>
                <a:gd name="T67" fmla="*/ 50 h 144"/>
                <a:gd name="T68" fmla="*/ 5 w 325"/>
                <a:gd name="T69" fmla="*/ 60 h 144"/>
                <a:gd name="T70" fmla="*/ 2 w 325"/>
                <a:gd name="T71" fmla="*/ 70 h 144"/>
                <a:gd name="T72" fmla="*/ 0 w 325"/>
                <a:gd name="T73" fmla="*/ 77 h 144"/>
                <a:gd name="T74" fmla="*/ 7 w 325"/>
                <a:gd name="T75" fmla="*/ 80 h 144"/>
                <a:gd name="T76" fmla="*/ 7 w 325"/>
                <a:gd name="T77" fmla="*/ 92 h 144"/>
                <a:gd name="T78" fmla="*/ 15 w 325"/>
                <a:gd name="T79" fmla="*/ 97 h 144"/>
                <a:gd name="T80" fmla="*/ 12 w 325"/>
                <a:gd name="T81" fmla="*/ 110 h 144"/>
                <a:gd name="T82" fmla="*/ 20 w 325"/>
                <a:gd name="T83" fmla="*/ 117 h 144"/>
                <a:gd name="T84" fmla="*/ 27 w 325"/>
                <a:gd name="T85" fmla="*/ 117 h 144"/>
                <a:gd name="T86" fmla="*/ 30 w 325"/>
                <a:gd name="T87" fmla="*/ 124 h 144"/>
                <a:gd name="T88" fmla="*/ 45 w 325"/>
                <a:gd name="T89" fmla="*/ 129 h 144"/>
                <a:gd name="T90" fmla="*/ 54 w 325"/>
                <a:gd name="T91" fmla="*/ 142 h 144"/>
                <a:gd name="T92" fmla="*/ 67 w 325"/>
                <a:gd name="T93" fmla="*/ 137 h 144"/>
                <a:gd name="T94" fmla="*/ 74 w 325"/>
                <a:gd name="T95" fmla="*/ 132 h 144"/>
                <a:gd name="T96" fmla="*/ 82 w 325"/>
                <a:gd name="T97" fmla="*/ 124 h 144"/>
                <a:gd name="T98" fmla="*/ 104 w 325"/>
                <a:gd name="T99" fmla="*/ 137 h 144"/>
                <a:gd name="T100" fmla="*/ 124 w 325"/>
                <a:gd name="T101" fmla="*/ 139 h 144"/>
                <a:gd name="T102" fmla="*/ 149 w 325"/>
                <a:gd name="T103" fmla="*/ 137 h 144"/>
                <a:gd name="T104" fmla="*/ 159 w 325"/>
                <a:gd name="T105" fmla="*/ 137 h 144"/>
                <a:gd name="T106" fmla="*/ 164 w 325"/>
                <a:gd name="T107" fmla="*/ 1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5" h="144">
                  <a:moveTo>
                    <a:pt x="164" y="137"/>
                  </a:moveTo>
                  <a:lnTo>
                    <a:pt x="179" y="134"/>
                  </a:lnTo>
                  <a:lnTo>
                    <a:pt x="209" y="129"/>
                  </a:lnTo>
                  <a:lnTo>
                    <a:pt x="226" y="129"/>
                  </a:lnTo>
                  <a:lnTo>
                    <a:pt x="251" y="124"/>
                  </a:lnTo>
                  <a:lnTo>
                    <a:pt x="256" y="144"/>
                  </a:lnTo>
                  <a:lnTo>
                    <a:pt x="268" y="134"/>
                  </a:lnTo>
                  <a:lnTo>
                    <a:pt x="281" y="122"/>
                  </a:lnTo>
                  <a:lnTo>
                    <a:pt x="296" y="117"/>
                  </a:lnTo>
                  <a:lnTo>
                    <a:pt x="303" y="129"/>
                  </a:lnTo>
                  <a:lnTo>
                    <a:pt x="325" y="132"/>
                  </a:lnTo>
                  <a:lnTo>
                    <a:pt x="320" y="110"/>
                  </a:lnTo>
                  <a:lnTo>
                    <a:pt x="311" y="85"/>
                  </a:lnTo>
                  <a:lnTo>
                    <a:pt x="303" y="62"/>
                  </a:lnTo>
                  <a:lnTo>
                    <a:pt x="311" y="55"/>
                  </a:lnTo>
                  <a:lnTo>
                    <a:pt x="296" y="40"/>
                  </a:lnTo>
                  <a:lnTo>
                    <a:pt x="281" y="15"/>
                  </a:lnTo>
                  <a:lnTo>
                    <a:pt x="258" y="18"/>
                  </a:lnTo>
                  <a:lnTo>
                    <a:pt x="248" y="30"/>
                  </a:lnTo>
                  <a:lnTo>
                    <a:pt x="214" y="32"/>
                  </a:lnTo>
                  <a:lnTo>
                    <a:pt x="196" y="32"/>
                  </a:lnTo>
                  <a:lnTo>
                    <a:pt x="181" y="25"/>
                  </a:lnTo>
                  <a:lnTo>
                    <a:pt x="166" y="25"/>
                  </a:lnTo>
                  <a:lnTo>
                    <a:pt x="154" y="10"/>
                  </a:lnTo>
                  <a:lnTo>
                    <a:pt x="137" y="0"/>
                  </a:lnTo>
                  <a:lnTo>
                    <a:pt x="119" y="10"/>
                  </a:lnTo>
                  <a:lnTo>
                    <a:pt x="97" y="13"/>
                  </a:lnTo>
                  <a:lnTo>
                    <a:pt x="79" y="18"/>
                  </a:lnTo>
                  <a:lnTo>
                    <a:pt x="54" y="20"/>
                  </a:lnTo>
                  <a:lnTo>
                    <a:pt x="42" y="20"/>
                  </a:lnTo>
                  <a:lnTo>
                    <a:pt x="22" y="28"/>
                  </a:lnTo>
                  <a:lnTo>
                    <a:pt x="35" y="32"/>
                  </a:lnTo>
                  <a:lnTo>
                    <a:pt x="22" y="40"/>
                  </a:lnTo>
                  <a:lnTo>
                    <a:pt x="17" y="50"/>
                  </a:lnTo>
                  <a:lnTo>
                    <a:pt x="5" y="60"/>
                  </a:lnTo>
                  <a:lnTo>
                    <a:pt x="2" y="70"/>
                  </a:lnTo>
                  <a:lnTo>
                    <a:pt x="0" y="77"/>
                  </a:lnTo>
                  <a:lnTo>
                    <a:pt x="7" y="80"/>
                  </a:lnTo>
                  <a:lnTo>
                    <a:pt x="7" y="92"/>
                  </a:lnTo>
                  <a:lnTo>
                    <a:pt x="15" y="97"/>
                  </a:lnTo>
                  <a:lnTo>
                    <a:pt x="12" y="110"/>
                  </a:lnTo>
                  <a:lnTo>
                    <a:pt x="20" y="117"/>
                  </a:lnTo>
                  <a:lnTo>
                    <a:pt x="27" y="117"/>
                  </a:lnTo>
                  <a:lnTo>
                    <a:pt x="30" y="124"/>
                  </a:lnTo>
                  <a:lnTo>
                    <a:pt x="45" y="129"/>
                  </a:lnTo>
                  <a:lnTo>
                    <a:pt x="54" y="142"/>
                  </a:lnTo>
                  <a:lnTo>
                    <a:pt x="67" y="137"/>
                  </a:lnTo>
                  <a:lnTo>
                    <a:pt x="74" y="132"/>
                  </a:lnTo>
                  <a:lnTo>
                    <a:pt x="82" y="124"/>
                  </a:lnTo>
                  <a:lnTo>
                    <a:pt x="104" y="137"/>
                  </a:lnTo>
                  <a:lnTo>
                    <a:pt x="124" y="139"/>
                  </a:lnTo>
                  <a:lnTo>
                    <a:pt x="149" y="137"/>
                  </a:lnTo>
                  <a:lnTo>
                    <a:pt x="159" y="137"/>
                  </a:lnTo>
                  <a:lnTo>
                    <a:pt x="164" y="1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7" name="Freeform 296"/>
            <p:cNvSpPr>
              <a:spLocks/>
            </p:cNvSpPr>
            <p:nvPr/>
          </p:nvSpPr>
          <p:spPr bwMode="auto">
            <a:xfrm>
              <a:off x="4401373" y="2799249"/>
              <a:ext cx="35980" cy="31663"/>
            </a:xfrm>
            <a:custGeom>
              <a:avLst/>
              <a:gdLst>
                <a:gd name="T0" fmla="*/ 25 w 25"/>
                <a:gd name="T1" fmla="*/ 20 h 22"/>
                <a:gd name="T2" fmla="*/ 0 w 25"/>
                <a:gd name="T3" fmla="*/ 22 h 22"/>
                <a:gd name="T4" fmla="*/ 2 w 25"/>
                <a:gd name="T5" fmla="*/ 12 h 22"/>
                <a:gd name="T6" fmla="*/ 12 w 25"/>
                <a:gd name="T7" fmla="*/ 0 h 22"/>
                <a:gd name="T8" fmla="*/ 10 w 25"/>
                <a:gd name="T9" fmla="*/ 12 h 22"/>
                <a:gd name="T10" fmla="*/ 25 w 25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2">
                  <a:moveTo>
                    <a:pt x="25" y="20"/>
                  </a:moveTo>
                  <a:lnTo>
                    <a:pt x="0" y="22"/>
                  </a:lnTo>
                  <a:lnTo>
                    <a:pt x="2" y="12"/>
                  </a:lnTo>
                  <a:lnTo>
                    <a:pt x="12" y="0"/>
                  </a:lnTo>
                  <a:lnTo>
                    <a:pt x="10" y="12"/>
                  </a:lnTo>
                  <a:lnTo>
                    <a:pt x="2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8" name="Freeform 297"/>
            <p:cNvSpPr>
              <a:spLocks/>
            </p:cNvSpPr>
            <p:nvPr/>
          </p:nvSpPr>
          <p:spPr bwMode="auto">
            <a:xfrm>
              <a:off x="1252326" y="2823717"/>
              <a:ext cx="60448" cy="64765"/>
            </a:xfrm>
            <a:custGeom>
              <a:avLst/>
              <a:gdLst>
                <a:gd name="T0" fmla="*/ 0 w 42"/>
                <a:gd name="T1" fmla="*/ 10 h 45"/>
                <a:gd name="T2" fmla="*/ 10 w 42"/>
                <a:gd name="T3" fmla="*/ 0 h 45"/>
                <a:gd name="T4" fmla="*/ 35 w 42"/>
                <a:gd name="T5" fmla="*/ 23 h 45"/>
                <a:gd name="T6" fmla="*/ 42 w 42"/>
                <a:gd name="T7" fmla="*/ 37 h 45"/>
                <a:gd name="T8" fmla="*/ 25 w 42"/>
                <a:gd name="T9" fmla="*/ 45 h 45"/>
                <a:gd name="T10" fmla="*/ 8 w 42"/>
                <a:gd name="T11" fmla="*/ 25 h 45"/>
                <a:gd name="T12" fmla="*/ 0 w 42"/>
                <a:gd name="T13" fmla="*/ 1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0" y="10"/>
                  </a:moveTo>
                  <a:lnTo>
                    <a:pt x="10" y="0"/>
                  </a:lnTo>
                  <a:lnTo>
                    <a:pt x="35" y="23"/>
                  </a:lnTo>
                  <a:lnTo>
                    <a:pt x="42" y="37"/>
                  </a:lnTo>
                  <a:lnTo>
                    <a:pt x="25" y="45"/>
                  </a:lnTo>
                  <a:lnTo>
                    <a:pt x="8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79" name="Freeform 298"/>
            <p:cNvSpPr>
              <a:spLocks/>
            </p:cNvSpPr>
            <p:nvPr/>
          </p:nvSpPr>
          <p:spPr bwMode="auto">
            <a:xfrm>
              <a:off x="4841779" y="3252609"/>
              <a:ext cx="63326" cy="18710"/>
            </a:xfrm>
            <a:custGeom>
              <a:avLst/>
              <a:gdLst>
                <a:gd name="T0" fmla="*/ 22 w 44"/>
                <a:gd name="T1" fmla="*/ 13 h 13"/>
                <a:gd name="T2" fmla="*/ 12 w 44"/>
                <a:gd name="T3" fmla="*/ 10 h 13"/>
                <a:gd name="T4" fmla="*/ 2 w 44"/>
                <a:gd name="T5" fmla="*/ 8 h 13"/>
                <a:gd name="T6" fmla="*/ 0 w 44"/>
                <a:gd name="T7" fmla="*/ 8 h 13"/>
                <a:gd name="T8" fmla="*/ 2 w 44"/>
                <a:gd name="T9" fmla="*/ 5 h 13"/>
                <a:gd name="T10" fmla="*/ 7 w 44"/>
                <a:gd name="T11" fmla="*/ 5 h 13"/>
                <a:gd name="T12" fmla="*/ 19 w 44"/>
                <a:gd name="T13" fmla="*/ 3 h 13"/>
                <a:gd name="T14" fmla="*/ 29 w 44"/>
                <a:gd name="T15" fmla="*/ 3 h 13"/>
                <a:gd name="T16" fmla="*/ 37 w 44"/>
                <a:gd name="T17" fmla="*/ 0 h 13"/>
                <a:gd name="T18" fmla="*/ 39 w 44"/>
                <a:gd name="T19" fmla="*/ 0 h 13"/>
                <a:gd name="T20" fmla="*/ 42 w 44"/>
                <a:gd name="T21" fmla="*/ 3 h 13"/>
                <a:gd name="T22" fmla="*/ 44 w 44"/>
                <a:gd name="T23" fmla="*/ 8 h 13"/>
                <a:gd name="T24" fmla="*/ 42 w 44"/>
                <a:gd name="T25" fmla="*/ 10 h 13"/>
                <a:gd name="T26" fmla="*/ 37 w 44"/>
                <a:gd name="T27" fmla="*/ 13 h 13"/>
                <a:gd name="T28" fmla="*/ 24 w 44"/>
                <a:gd name="T29" fmla="*/ 13 h 13"/>
                <a:gd name="T30" fmla="*/ 22 w 44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13">
                  <a:moveTo>
                    <a:pt x="22" y="13"/>
                  </a:moveTo>
                  <a:lnTo>
                    <a:pt x="12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5"/>
                  </a:lnTo>
                  <a:lnTo>
                    <a:pt x="19" y="3"/>
                  </a:lnTo>
                  <a:lnTo>
                    <a:pt x="29" y="3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3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37" y="13"/>
                  </a:lnTo>
                  <a:lnTo>
                    <a:pt x="24" y="13"/>
                  </a:lnTo>
                  <a:lnTo>
                    <a:pt x="22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0" name="Freeform 300"/>
            <p:cNvSpPr>
              <a:spLocks/>
            </p:cNvSpPr>
            <p:nvPr/>
          </p:nvSpPr>
          <p:spPr bwMode="auto">
            <a:xfrm>
              <a:off x="4905105" y="1675207"/>
              <a:ext cx="3688760" cy="1388862"/>
            </a:xfrm>
            <a:custGeom>
              <a:avLst/>
              <a:gdLst>
                <a:gd name="T0" fmla="*/ 435 w 2563"/>
                <a:gd name="T1" fmla="*/ 704 h 965"/>
                <a:gd name="T2" fmla="*/ 599 w 2563"/>
                <a:gd name="T3" fmla="*/ 756 h 965"/>
                <a:gd name="T4" fmla="*/ 706 w 2563"/>
                <a:gd name="T5" fmla="*/ 701 h 965"/>
                <a:gd name="T6" fmla="*/ 883 w 2563"/>
                <a:gd name="T7" fmla="*/ 726 h 965"/>
                <a:gd name="T8" fmla="*/ 1044 w 2563"/>
                <a:gd name="T9" fmla="*/ 826 h 965"/>
                <a:gd name="T10" fmla="*/ 1171 w 2563"/>
                <a:gd name="T11" fmla="*/ 798 h 965"/>
                <a:gd name="T12" fmla="*/ 1291 w 2563"/>
                <a:gd name="T13" fmla="*/ 781 h 965"/>
                <a:gd name="T14" fmla="*/ 1462 w 2563"/>
                <a:gd name="T15" fmla="*/ 786 h 965"/>
                <a:gd name="T16" fmla="*/ 1547 w 2563"/>
                <a:gd name="T17" fmla="*/ 714 h 965"/>
                <a:gd name="T18" fmla="*/ 1733 w 2563"/>
                <a:gd name="T19" fmla="*/ 823 h 965"/>
                <a:gd name="T20" fmla="*/ 1798 w 2563"/>
                <a:gd name="T21" fmla="*/ 918 h 965"/>
                <a:gd name="T22" fmla="*/ 1885 w 2563"/>
                <a:gd name="T23" fmla="*/ 863 h 965"/>
                <a:gd name="T24" fmla="*/ 1823 w 2563"/>
                <a:gd name="T25" fmla="*/ 706 h 965"/>
                <a:gd name="T26" fmla="*/ 1890 w 2563"/>
                <a:gd name="T27" fmla="*/ 557 h 965"/>
                <a:gd name="T28" fmla="*/ 2069 w 2563"/>
                <a:gd name="T29" fmla="*/ 505 h 965"/>
                <a:gd name="T30" fmla="*/ 2180 w 2563"/>
                <a:gd name="T31" fmla="*/ 520 h 965"/>
                <a:gd name="T32" fmla="*/ 2153 w 2563"/>
                <a:gd name="T33" fmla="*/ 746 h 965"/>
                <a:gd name="T34" fmla="*/ 2230 w 2563"/>
                <a:gd name="T35" fmla="*/ 629 h 965"/>
                <a:gd name="T36" fmla="*/ 2210 w 2563"/>
                <a:gd name="T37" fmla="*/ 542 h 965"/>
                <a:gd name="T38" fmla="*/ 2330 w 2563"/>
                <a:gd name="T39" fmla="*/ 500 h 965"/>
                <a:gd name="T40" fmla="*/ 2372 w 2563"/>
                <a:gd name="T41" fmla="*/ 410 h 965"/>
                <a:gd name="T42" fmla="*/ 2466 w 2563"/>
                <a:gd name="T43" fmla="*/ 388 h 965"/>
                <a:gd name="T44" fmla="*/ 2546 w 2563"/>
                <a:gd name="T45" fmla="*/ 378 h 965"/>
                <a:gd name="T46" fmla="*/ 2456 w 2563"/>
                <a:gd name="T47" fmla="*/ 321 h 965"/>
                <a:gd name="T48" fmla="*/ 2295 w 2563"/>
                <a:gd name="T49" fmla="*/ 249 h 965"/>
                <a:gd name="T50" fmla="*/ 2118 w 2563"/>
                <a:gd name="T51" fmla="*/ 246 h 965"/>
                <a:gd name="T52" fmla="*/ 1932 w 2563"/>
                <a:gd name="T53" fmla="*/ 222 h 965"/>
                <a:gd name="T54" fmla="*/ 1733 w 2563"/>
                <a:gd name="T55" fmla="*/ 169 h 965"/>
                <a:gd name="T56" fmla="*/ 1614 w 2563"/>
                <a:gd name="T57" fmla="*/ 204 h 965"/>
                <a:gd name="T58" fmla="*/ 1517 w 2563"/>
                <a:gd name="T59" fmla="*/ 169 h 965"/>
                <a:gd name="T60" fmla="*/ 1256 w 2563"/>
                <a:gd name="T61" fmla="*/ 135 h 965"/>
                <a:gd name="T62" fmla="*/ 1258 w 2563"/>
                <a:gd name="T63" fmla="*/ 65 h 965"/>
                <a:gd name="T64" fmla="*/ 1097 w 2563"/>
                <a:gd name="T65" fmla="*/ 0 h 965"/>
                <a:gd name="T66" fmla="*/ 990 w 2563"/>
                <a:gd name="T67" fmla="*/ 67 h 965"/>
                <a:gd name="T68" fmla="*/ 848 w 2563"/>
                <a:gd name="T69" fmla="*/ 95 h 965"/>
                <a:gd name="T70" fmla="*/ 788 w 2563"/>
                <a:gd name="T71" fmla="*/ 177 h 965"/>
                <a:gd name="T72" fmla="*/ 746 w 2563"/>
                <a:gd name="T73" fmla="*/ 179 h 965"/>
                <a:gd name="T74" fmla="*/ 681 w 2563"/>
                <a:gd name="T75" fmla="*/ 169 h 965"/>
                <a:gd name="T76" fmla="*/ 726 w 2563"/>
                <a:gd name="T77" fmla="*/ 261 h 965"/>
                <a:gd name="T78" fmla="*/ 771 w 2563"/>
                <a:gd name="T79" fmla="*/ 316 h 965"/>
                <a:gd name="T80" fmla="*/ 674 w 2563"/>
                <a:gd name="T81" fmla="*/ 361 h 965"/>
                <a:gd name="T82" fmla="*/ 681 w 2563"/>
                <a:gd name="T83" fmla="*/ 276 h 965"/>
                <a:gd name="T84" fmla="*/ 612 w 2563"/>
                <a:gd name="T85" fmla="*/ 137 h 965"/>
                <a:gd name="T86" fmla="*/ 619 w 2563"/>
                <a:gd name="T87" fmla="*/ 296 h 965"/>
                <a:gd name="T88" fmla="*/ 490 w 2563"/>
                <a:gd name="T89" fmla="*/ 294 h 965"/>
                <a:gd name="T90" fmla="*/ 373 w 2563"/>
                <a:gd name="T91" fmla="*/ 291 h 965"/>
                <a:gd name="T92" fmla="*/ 229 w 2563"/>
                <a:gd name="T93" fmla="*/ 296 h 965"/>
                <a:gd name="T94" fmla="*/ 182 w 2563"/>
                <a:gd name="T95" fmla="*/ 376 h 965"/>
                <a:gd name="T96" fmla="*/ 137 w 2563"/>
                <a:gd name="T97" fmla="*/ 413 h 965"/>
                <a:gd name="T98" fmla="*/ 90 w 2563"/>
                <a:gd name="T99" fmla="*/ 348 h 965"/>
                <a:gd name="T100" fmla="*/ 82 w 2563"/>
                <a:gd name="T101" fmla="*/ 266 h 965"/>
                <a:gd name="T102" fmla="*/ 33 w 2563"/>
                <a:gd name="T103" fmla="*/ 410 h 965"/>
                <a:gd name="T104" fmla="*/ 10 w 2563"/>
                <a:gd name="T105" fmla="*/ 547 h 965"/>
                <a:gd name="T106" fmla="*/ 130 w 2563"/>
                <a:gd name="T107" fmla="*/ 719 h 965"/>
                <a:gd name="T108" fmla="*/ 192 w 2563"/>
                <a:gd name="T109" fmla="*/ 922 h 965"/>
                <a:gd name="T110" fmla="*/ 341 w 2563"/>
                <a:gd name="T111" fmla="*/ 927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3" h="965">
                  <a:moveTo>
                    <a:pt x="373" y="888"/>
                  </a:moveTo>
                  <a:lnTo>
                    <a:pt x="388" y="873"/>
                  </a:lnTo>
                  <a:lnTo>
                    <a:pt x="396" y="843"/>
                  </a:lnTo>
                  <a:lnTo>
                    <a:pt x="413" y="823"/>
                  </a:lnTo>
                  <a:lnTo>
                    <a:pt x="410" y="801"/>
                  </a:lnTo>
                  <a:lnTo>
                    <a:pt x="388" y="788"/>
                  </a:lnTo>
                  <a:lnTo>
                    <a:pt x="381" y="766"/>
                  </a:lnTo>
                  <a:lnTo>
                    <a:pt x="435" y="704"/>
                  </a:lnTo>
                  <a:lnTo>
                    <a:pt x="455" y="726"/>
                  </a:lnTo>
                  <a:lnTo>
                    <a:pt x="463" y="711"/>
                  </a:lnTo>
                  <a:lnTo>
                    <a:pt x="485" y="704"/>
                  </a:lnTo>
                  <a:lnTo>
                    <a:pt x="505" y="709"/>
                  </a:lnTo>
                  <a:lnTo>
                    <a:pt x="540" y="711"/>
                  </a:lnTo>
                  <a:lnTo>
                    <a:pt x="585" y="739"/>
                  </a:lnTo>
                  <a:lnTo>
                    <a:pt x="582" y="751"/>
                  </a:lnTo>
                  <a:lnTo>
                    <a:pt x="599" y="756"/>
                  </a:lnTo>
                  <a:lnTo>
                    <a:pt x="622" y="753"/>
                  </a:lnTo>
                  <a:lnTo>
                    <a:pt x="654" y="773"/>
                  </a:lnTo>
                  <a:lnTo>
                    <a:pt x="672" y="778"/>
                  </a:lnTo>
                  <a:lnTo>
                    <a:pt x="681" y="768"/>
                  </a:lnTo>
                  <a:lnTo>
                    <a:pt x="672" y="746"/>
                  </a:lnTo>
                  <a:lnTo>
                    <a:pt x="691" y="736"/>
                  </a:lnTo>
                  <a:lnTo>
                    <a:pt x="711" y="726"/>
                  </a:lnTo>
                  <a:lnTo>
                    <a:pt x="706" y="701"/>
                  </a:lnTo>
                  <a:lnTo>
                    <a:pt x="719" y="699"/>
                  </a:lnTo>
                  <a:lnTo>
                    <a:pt x="744" y="704"/>
                  </a:lnTo>
                  <a:lnTo>
                    <a:pt x="786" y="709"/>
                  </a:lnTo>
                  <a:lnTo>
                    <a:pt x="813" y="701"/>
                  </a:lnTo>
                  <a:lnTo>
                    <a:pt x="846" y="696"/>
                  </a:lnTo>
                  <a:lnTo>
                    <a:pt x="863" y="709"/>
                  </a:lnTo>
                  <a:lnTo>
                    <a:pt x="863" y="724"/>
                  </a:lnTo>
                  <a:lnTo>
                    <a:pt x="883" y="726"/>
                  </a:lnTo>
                  <a:lnTo>
                    <a:pt x="910" y="716"/>
                  </a:lnTo>
                  <a:lnTo>
                    <a:pt x="935" y="716"/>
                  </a:lnTo>
                  <a:lnTo>
                    <a:pt x="960" y="766"/>
                  </a:lnTo>
                  <a:lnTo>
                    <a:pt x="977" y="766"/>
                  </a:lnTo>
                  <a:lnTo>
                    <a:pt x="987" y="781"/>
                  </a:lnTo>
                  <a:lnTo>
                    <a:pt x="1017" y="791"/>
                  </a:lnTo>
                  <a:lnTo>
                    <a:pt x="1032" y="835"/>
                  </a:lnTo>
                  <a:lnTo>
                    <a:pt x="1044" y="826"/>
                  </a:lnTo>
                  <a:lnTo>
                    <a:pt x="1067" y="821"/>
                  </a:lnTo>
                  <a:lnTo>
                    <a:pt x="1119" y="816"/>
                  </a:lnTo>
                  <a:lnTo>
                    <a:pt x="1124" y="823"/>
                  </a:lnTo>
                  <a:lnTo>
                    <a:pt x="1144" y="826"/>
                  </a:lnTo>
                  <a:lnTo>
                    <a:pt x="1151" y="833"/>
                  </a:lnTo>
                  <a:lnTo>
                    <a:pt x="1186" y="828"/>
                  </a:lnTo>
                  <a:lnTo>
                    <a:pt x="1179" y="808"/>
                  </a:lnTo>
                  <a:lnTo>
                    <a:pt x="1171" y="798"/>
                  </a:lnTo>
                  <a:lnTo>
                    <a:pt x="1186" y="798"/>
                  </a:lnTo>
                  <a:lnTo>
                    <a:pt x="1186" y="768"/>
                  </a:lnTo>
                  <a:lnTo>
                    <a:pt x="1186" y="736"/>
                  </a:lnTo>
                  <a:lnTo>
                    <a:pt x="1218" y="748"/>
                  </a:lnTo>
                  <a:lnTo>
                    <a:pt x="1241" y="748"/>
                  </a:lnTo>
                  <a:lnTo>
                    <a:pt x="1256" y="766"/>
                  </a:lnTo>
                  <a:lnTo>
                    <a:pt x="1263" y="781"/>
                  </a:lnTo>
                  <a:lnTo>
                    <a:pt x="1291" y="781"/>
                  </a:lnTo>
                  <a:lnTo>
                    <a:pt x="1328" y="783"/>
                  </a:lnTo>
                  <a:lnTo>
                    <a:pt x="1350" y="796"/>
                  </a:lnTo>
                  <a:lnTo>
                    <a:pt x="1368" y="801"/>
                  </a:lnTo>
                  <a:lnTo>
                    <a:pt x="1373" y="816"/>
                  </a:lnTo>
                  <a:lnTo>
                    <a:pt x="1417" y="808"/>
                  </a:lnTo>
                  <a:lnTo>
                    <a:pt x="1425" y="796"/>
                  </a:lnTo>
                  <a:lnTo>
                    <a:pt x="1442" y="806"/>
                  </a:lnTo>
                  <a:lnTo>
                    <a:pt x="1462" y="786"/>
                  </a:lnTo>
                  <a:lnTo>
                    <a:pt x="1479" y="786"/>
                  </a:lnTo>
                  <a:lnTo>
                    <a:pt x="1494" y="793"/>
                  </a:lnTo>
                  <a:lnTo>
                    <a:pt x="1509" y="808"/>
                  </a:lnTo>
                  <a:lnTo>
                    <a:pt x="1532" y="808"/>
                  </a:lnTo>
                  <a:lnTo>
                    <a:pt x="1537" y="773"/>
                  </a:lnTo>
                  <a:lnTo>
                    <a:pt x="1549" y="761"/>
                  </a:lnTo>
                  <a:lnTo>
                    <a:pt x="1537" y="731"/>
                  </a:lnTo>
                  <a:lnTo>
                    <a:pt x="1547" y="714"/>
                  </a:lnTo>
                  <a:lnTo>
                    <a:pt x="1624" y="714"/>
                  </a:lnTo>
                  <a:lnTo>
                    <a:pt x="1641" y="734"/>
                  </a:lnTo>
                  <a:lnTo>
                    <a:pt x="1658" y="748"/>
                  </a:lnTo>
                  <a:lnTo>
                    <a:pt x="1671" y="766"/>
                  </a:lnTo>
                  <a:lnTo>
                    <a:pt x="1673" y="786"/>
                  </a:lnTo>
                  <a:lnTo>
                    <a:pt x="1688" y="803"/>
                  </a:lnTo>
                  <a:lnTo>
                    <a:pt x="1718" y="811"/>
                  </a:lnTo>
                  <a:lnTo>
                    <a:pt x="1733" y="823"/>
                  </a:lnTo>
                  <a:lnTo>
                    <a:pt x="1748" y="833"/>
                  </a:lnTo>
                  <a:lnTo>
                    <a:pt x="1755" y="843"/>
                  </a:lnTo>
                  <a:lnTo>
                    <a:pt x="1773" y="845"/>
                  </a:lnTo>
                  <a:lnTo>
                    <a:pt x="1803" y="838"/>
                  </a:lnTo>
                  <a:lnTo>
                    <a:pt x="1810" y="848"/>
                  </a:lnTo>
                  <a:lnTo>
                    <a:pt x="1813" y="863"/>
                  </a:lnTo>
                  <a:lnTo>
                    <a:pt x="1800" y="873"/>
                  </a:lnTo>
                  <a:lnTo>
                    <a:pt x="1798" y="918"/>
                  </a:lnTo>
                  <a:lnTo>
                    <a:pt x="1783" y="915"/>
                  </a:lnTo>
                  <a:lnTo>
                    <a:pt x="1773" y="932"/>
                  </a:lnTo>
                  <a:lnTo>
                    <a:pt x="1775" y="952"/>
                  </a:lnTo>
                  <a:lnTo>
                    <a:pt x="1790" y="957"/>
                  </a:lnTo>
                  <a:lnTo>
                    <a:pt x="1813" y="965"/>
                  </a:lnTo>
                  <a:lnTo>
                    <a:pt x="1842" y="942"/>
                  </a:lnTo>
                  <a:lnTo>
                    <a:pt x="1865" y="905"/>
                  </a:lnTo>
                  <a:lnTo>
                    <a:pt x="1885" y="863"/>
                  </a:lnTo>
                  <a:lnTo>
                    <a:pt x="1900" y="823"/>
                  </a:lnTo>
                  <a:lnTo>
                    <a:pt x="1890" y="781"/>
                  </a:lnTo>
                  <a:lnTo>
                    <a:pt x="1897" y="771"/>
                  </a:lnTo>
                  <a:lnTo>
                    <a:pt x="1892" y="724"/>
                  </a:lnTo>
                  <a:lnTo>
                    <a:pt x="1872" y="699"/>
                  </a:lnTo>
                  <a:lnTo>
                    <a:pt x="1842" y="689"/>
                  </a:lnTo>
                  <a:lnTo>
                    <a:pt x="1835" y="706"/>
                  </a:lnTo>
                  <a:lnTo>
                    <a:pt x="1823" y="706"/>
                  </a:lnTo>
                  <a:lnTo>
                    <a:pt x="1820" y="691"/>
                  </a:lnTo>
                  <a:lnTo>
                    <a:pt x="1790" y="676"/>
                  </a:lnTo>
                  <a:lnTo>
                    <a:pt x="1788" y="661"/>
                  </a:lnTo>
                  <a:lnTo>
                    <a:pt x="1803" y="644"/>
                  </a:lnTo>
                  <a:lnTo>
                    <a:pt x="1823" y="614"/>
                  </a:lnTo>
                  <a:lnTo>
                    <a:pt x="1835" y="589"/>
                  </a:lnTo>
                  <a:lnTo>
                    <a:pt x="1847" y="567"/>
                  </a:lnTo>
                  <a:lnTo>
                    <a:pt x="1890" y="557"/>
                  </a:lnTo>
                  <a:lnTo>
                    <a:pt x="1924" y="557"/>
                  </a:lnTo>
                  <a:lnTo>
                    <a:pt x="1969" y="560"/>
                  </a:lnTo>
                  <a:lnTo>
                    <a:pt x="1979" y="542"/>
                  </a:lnTo>
                  <a:lnTo>
                    <a:pt x="2014" y="550"/>
                  </a:lnTo>
                  <a:lnTo>
                    <a:pt x="2014" y="562"/>
                  </a:lnTo>
                  <a:lnTo>
                    <a:pt x="2059" y="555"/>
                  </a:lnTo>
                  <a:lnTo>
                    <a:pt x="2061" y="532"/>
                  </a:lnTo>
                  <a:lnTo>
                    <a:pt x="2069" y="505"/>
                  </a:lnTo>
                  <a:lnTo>
                    <a:pt x="2079" y="487"/>
                  </a:lnTo>
                  <a:lnTo>
                    <a:pt x="2126" y="487"/>
                  </a:lnTo>
                  <a:lnTo>
                    <a:pt x="2141" y="505"/>
                  </a:lnTo>
                  <a:lnTo>
                    <a:pt x="2151" y="510"/>
                  </a:lnTo>
                  <a:lnTo>
                    <a:pt x="2166" y="483"/>
                  </a:lnTo>
                  <a:lnTo>
                    <a:pt x="2178" y="478"/>
                  </a:lnTo>
                  <a:lnTo>
                    <a:pt x="2190" y="500"/>
                  </a:lnTo>
                  <a:lnTo>
                    <a:pt x="2180" y="520"/>
                  </a:lnTo>
                  <a:lnTo>
                    <a:pt x="2156" y="540"/>
                  </a:lnTo>
                  <a:lnTo>
                    <a:pt x="2133" y="572"/>
                  </a:lnTo>
                  <a:lnTo>
                    <a:pt x="2116" y="597"/>
                  </a:lnTo>
                  <a:lnTo>
                    <a:pt x="2113" y="632"/>
                  </a:lnTo>
                  <a:lnTo>
                    <a:pt x="2118" y="669"/>
                  </a:lnTo>
                  <a:lnTo>
                    <a:pt x="2133" y="696"/>
                  </a:lnTo>
                  <a:lnTo>
                    <a:pt x="2141" y="726"/>
                  </a:lnTo>
                  <a:lnTo>
                    <a:pt x="2153" y="746"/>
                  </a:lnTo>
                  <a:lnTo>
                    <a:pt x="2168" y="753"/>
                  </a:lnTo>
                  <a:lnTo>
                    <a:pt x="2185" y="726"/>
                  </a:lnTo>
                  <a:lnTo>
                    <a:pt x="2203" y="694"/>
                  </a:lnTo>
                  <a:lnTo>
                    <a:pt x="2203" y="674"/>
                  </a:lnTo>
                  <a:lnTo>
                    <a:pt x="2220" y="674"/>
                  </a:lnTo>
                  <a:lnTo>
                    <a:pt x="2218" y="649"/>
                  </a:lnTo>
                  <a:lnTo>
                    <a:pt x="2220" y="629"/>
                  </a:lnTo>
                  <a:lnTo>
                    <a:pt x="2230" y="629"/>
                  </a:lnTo>
                  <a:lnTo>
                    <a:pt x="2223" y="614"/>
                  </a:lnTo>
                  <a:lnTo>
                    <a:pt x="2203" y="592"/>
                  </a:lnTo>
                  <a:lnTo>
                    <a:pt x="2198" y="592"/>
                  </a:lnTo>
                  <a:lnTo>
                    <a:pt x="2195" y="587"/>
                  </a:lnTo>
                  <a:lnTo>
                    <a:pt x="2193" y="584"/>
                  </a:lnTo>
                  <a:lnTo>
                    <a:pt x="2195" y="567"/>
                  </a:lnTo>
                  <a:lnTo>
                    <a:pt x="2198" y="557"/>
                  </a:lnTo>
                  <a:lnTo>
                    <a:pt x="2210" y="542"/>
                  </a:lnTo>
                  <a:lnTo>
                    <a:pt x="2238" y="527"/>
                  </a:lnTo>
                  <a:lnTo>
                    <a:pt x="2253" y="517"/>
                  </a:lnTo>
                  <a:lnTo>
                    <a:pt x="2275" y="512"/>
                  </a:lnTo>
                  <a:lnTo>
                    <a:pt x="2290" y="517"/>
                  </a:lnTo>
                  <a:lnTo>
                    <a:pt x="2302" y="532"/>
                  </a:lnTo>
                  <a:lnTo>
                    <a:pt x="2312" y="542"/>
                  </a:lnTo>
                  <a:lnTo>
                    <a:pt x="2322" y="510"/>
                  </a:lnTo>
                  <a:lnTo>
                    <a:pt x="2330" y="500"/>
                  </a:lnTo>
                  <a:lnTo>
                    <a:pt x="2335" y="483"/>
                  </a:lnTo>
                  <a:lnTo>
                    <a:pt x="2359" y="483"/>
                  </a:lnTo>
                  <a:lnTo>
                    <a:pt x="2382" y="468"/>
                  </a:lnTo>
                  <a:lnTo>
                    <a:pt x="2394" y="465"/>
                  </a:lnTo>
                  <a:lnTo>
                    <a:pt x="2422" y="475"/>
                  </a:lnTo>
                  <a:lnTo>
                    <a:pt x="2427" y="460"/>
                  </a:lnTo>
                  <a:lnTo>
                    <a:pt x="2404" y="433"/>
                  </a:lnTo>
                  <a:lnTo>
                    <a:pt x="2372" y="410"/>
                  </a:lnTo>
                  <a:lnTo>
                    <a:pt x="2384" y="400"/>
                  </a:lnTo>
                  <a:lnTo>
                    <a:pt x="2407" y="386"/>
                  </a:lnTo>
                  <a:lnTo>
                    <a:pt x="2399" y="373"/>
                  </a:lnTo>
                  <a:lnTo>
                    <a:pt x="2399" y="353"/>
                  </a:lnTo>
                  <a:lnTo>
                    <a:pt x="2419" y="348"/>
                  </a:lnTo>
                  <a:lnTo>
                    <a:pt x="2427" y="368"/>
                  </a:lnTo>
                  <a:lnTo>
                    <a:pt x="2432" y="386"/>
                  </a:lnTo>
                  <a:lnTo>
                    <a:pt x="2466" y="388"/>
                  </a:lnTo>
                  <a:lnTo>
                    <a:pt x="2479" y="400"/>
                  </a:lnTo>
                  <a:lnTo>
                    <a:pt x="2504" y="403"/>
                  </a:lnTo>
                  <a:lnTo>
                    <a:pt x="2516" y="420"/>
                  </a:lnTo>
                  <a:lnTo>
                    <a:pt x="2526" y="425"/>
                  </a:lnTo>
                  <a:lnTo>
                    <a:pt x="2543" y="410"/>
                  </a:lnTo>
                  <a:lnTo>
                    <a:pt x="2526" y="393"/>
                  </a:lnTo>
                  <a:lnTo>
                    <a:pt x="2534" y="378"/>
                  </a:lnTo>
                  <a:lnTo>
                    <a:pt x="2546" y="378"/>
                  </a:lnTo>
                  <a:lnTo>
                    <a:pt x="2558" y="371"/>
                  </a:lnTo>
                  <a:lnTo>
                    <a:pt x="2563" y="348"/>
                  </a:lnTo>
                  <a:lnTo>
                    <a:pt x="2529" y="348"/>
                  </a:lnTo>
                  <a:lnTo>
                    <a:pt x="2509" y="336"/>
                  </a:lnTo>
                  <a:lnTo>
                    <a:pt x="2481" y="338"/>
                  </a:lnTo>
                  <a:lnTo>
                    <a:pt x="2474" y="351"/>
                  </a:lnTo>
                  <a:lnTo>
                    <a:pt x="2464" y="331"/>
                  </a:lnTo>
                  <a:lnTo>
                    <a:pt x="2456" y="321"/>
                  </a:lnTo>
                  <a:lnTo>
                    <a:pt x="2429" y="316"/>
                  </a:lnTo>
                  <a:lnTo>
                    <a:pt x="2427" y="299"/>
                  </a:lnTo>
                  <a:lnTo>
                    <a:pt x="2392" y="299"/>
                  </a:lnTo>
                  <a:lnTo>
                    <a:pt x="2374" y="281"/>
                  </a:lnTo>
                  <a:lnTo>
                    <a:pt x="2352" y="269"/>
                  </a:lnTo>
                  <a:lnTo>
                    <a:pt x="2330" y="266"/>
                  </a:lnTo>
                  <a:lnTo>
                    <a:pt x="2305" y="256"/>
                  </a:lnTo>
                  <a:lnTo>
                    <a:pt x="2295" y="249"/>
                  </a:lnTo>
                  <a:lnTo>
                    <a:pt x="2270" y="241"/>
                  </a:lnTo>
                  <a:lnTo>
                    <a:pt x="2238" y="241"/>
                  </a:lnTo>
                  <a:lnTo>
                    <a:pt x="2198" y="236"/>
                  </a:lnTo>
                  <a:lnTo>
                    <a:pt x="2193" y="261"/>
                  </a:lnTo>
                  <a:lnTo>
                    <a:pt x="2173" y="264"/>
                  </a:lnTo>
                  <a:lnTo>
                    <a:pt x="2163" y="251"/>
                  </a:lnTo>
                  <a:lnTo>
                    <a:pt x="2143" y="256"/>
                  </a:lnTo>
                  <a:lnTo>
                    <a:pt x="2118" y="246"/>
                  </a:lnTo>
                  <a:lnTo>
                    <a:pt x="2074" y="251"/>
                  </a:lnTo>
                  <a:lnTo>
                    <a:pt x="2064" y="266"/>
                  </a:lnTo>
                  <a:lnTo>
                    <a:pt x="2049" y="261"/>
                  </a:lnTo>
                  <a:lnTo>
                    <a:pt x="2029" y="246"/>
                  </a:lnTo>
                  <a:lnTo>
                    <a:pt x="2009" y="224"/>
                  </a:lnTo>
                  <a:lnTo>
                    <a:pt x="1962" y="214"/>
                  </a:lnTo>
                  <a:lnTo>
                    <a:pt x="1944" y="219"/>
                  </a:lnTo>
                  <a:lnTo>
                    <a:pt x="1932" y="222"/>
                  </a:lnTo>
                  <a:lnTo>
                    <a:pt x="1905" y="219"/>
                  </a:lnTo>
                  <a:lnTo>
                    <a:pt x="1872" y="202"/>
                  </a:lnTo>
                  <a:lnTo>
                    <a:pt x="1850" y="189"/>
                  </a:lnTo>
                  <a:lnTo>
                    <a:pt x="1845" y="182"/>
                  </a:lnTo>
                  <a:lnTo>
                    <a:pt x="1793" y="182"/>
                  </a:lnTo>
                  <a:lnTo>
                    <a:pt x="1778" y="187"/>
                  </a:lnTo>
                  <a:lnTo>
                    <a:pt x="1763" y="169"/>
                  </a:lnTo>
                  <a:lnTo>
                    <a:pt x="1733" y="169"/>
                  </a:lnTo>
                  <a:lnTo>
                    <a:pt x="1721" y="152"/>
                  </a:lnTo>
                  <a:lnTo>
                    <a:pt x="1703" y="162"/>
                  </a:lnTo>
                  <a:lnTo>
                    <a:pt x="1688" y="174"/>
                  </a:lnTo>
                  <a:lnTo>
                    <a:pt x="1698" y="199"/>
                  </a:lnTo>
                  <a:lnTo>
                    <a:pt x="1676" y="202"/>
                  </a:lnTo>
                  <a:lnTo>
                    <a:pt x="1648" y="199"/>
                  </a:lnTo>
                  <a:lnTo>
                    <a:pt x="1626" y="197"/>
                  </a:lnTo>
                  <a:lnTo>
                    <a:pt x="1614" y="204"/>
                  </a:lnTo>
                  <a:lnTo>
                    <a:pt x="1594" y="194"/>
                  </a:lnTo>
                  <a:lnTo>
                    <a:pt x="1581" y="182"/>
                  </a:lnTo>
                  <a:lnTo>
                    <a:pt x="1579" y="202"/>
                  </a:lnTo>
                  <a:lnTo>
                    <a:pt x="1552" y="207"/>
                  </a:lnTo>
                  <a:lnTo>
                    <a:pt x="1517" y="194"/>
                  </a:lnTo>
                  <a:lnTo>
                    <a:pt x="1494" y="184"/>
                  </a:lnTo>
                  <a:lnTo>
                    <a:pt x="1502" y="174"/>
                  </a:lnTo>
                  <a:lnTo>
                    <a:pt x="1517" y="169"/>
                  </a:lnTo>
                  <a:lnTo>
                    <a:pt x="1504" y="144"/>
                  </a:lnTo>
                  <a:lnTo>
                    <a:pt x="1474" y="135"/>
                  </a:lnTo>
                  <a:lnTo>
                    <a:pt x="1437" y="137"/>
                  </a:lnTo>
                  <a:lnTo>
                    <a:pt x="1425" y="167"/>
                  </a:lnTo>
                  <a:lnTo>
                    <a:pt x="1395" y="154"/>
                  </a:lnTo>
                  <a:lnTo>
                    <a:pt x="1368" y="142"/>
                  </a:lnTo>
                  <a:lnTo>
                    <a:pt x="1328" y="135"/>
                  </a:lnTo>
                  <a:lnTo>
                    <a:pt x="1256" y="135"/>
                  </a:lnTo>
                  <a:lnTo>
                    <a:pt x="1228" y="135"/>
                  </a:lnTo>
                  <a:lnTo>
                    <a:pt x="1204" y="144"/>
                  </a:lnTo>
                  <a:lnTo>
                    <a:pt x="1166" y="157"/>
                  </a:lnTo>
                  <a:lnTo>
                    <a:pt x="1184" y="135"/>
                  </a:lnTo>
                  <a:lnTo>
                    <a:pt x="1221" y="117"/>
                  </a:lnTo>
                  <a:lnTo>
                    <a:pt x="1236" y="110"/>
                  </a:lnTo>
                  <a:lnTo>
                    <a:pt x="1256" y="90"/>
                  </a:lnTo>
                  <a:lnTo>
                    <a:pt x="1258" y="65"/>
                  </a:lnTo>
                  <a:lnTo>
                    <a:pt x="1233" y="52"/>
                  </a:lnTo>
                  <a:lnTo>
                    <a:pt x="1223" y="38"/>
                  </a:lnTo>
                  <a:lnTo>
                    <a:pt x="1164" y="33"/>
                  </a:lnTo>
                  <a:lnTo>
                    <a:pt x="1154" y="45"/>
                  </a:lnTo>
                  <a:lnTo>
                    <a:pt x="1134" y="35"/>
                  </a:lnTo>
                  <a:lnTo>
                    <a:pt x="1126" y="20"/>
                  </a:lnTo>
                  <a:lnTo>
                    <a:pt x="1109" y="10"/>
                  </a:lnTo>
                  <a:lnTo>
                    <a:pt x="1097" y="0"/>
                  </a:lnTo>
                  <a:lnTo>
                    <a:pt x="1067" y="13"/>
                  </a:lnTo>
                  <a:lnTo>
                    <a:pt x="1062" y="38"/>
                  </a:lnTo>
                  <a:lnTo>
                    <a:pt x="1054" y="45"/>
                  </a:lnTo>
                  <a:lnTo>
                    <a:pt x="1069" y="50"/>
                  </a:lnTo>
                  <a:lnTo>
                    <a:pt x="1049" y="62"/>
                  </a:lnTo>
                  <a:lnTo>
                    <a:pt x="1020" y="55"/>
                  </a:lnTo>
                  <a:lnTo>
                    <a:pt x="1000" y="57"/>
                  </a:lnTo>
                  <a:lnTo>
                    <a:pt x="990" y="67"/>
                  </a:lnTo>
                  <a:lnTo>
                    <a:pt x="977" y="52"/>
                  </a:lnTo>
                  <a:lnTo>
                    <a:pt x="960" y="60"/>
                  </a:lnTo>
                  <a:lnTo>
                    <a:pt x="945" y="55"/>
                  </a:lnTo>
                  <a:lnTo>
                    <a:pt x="945" y="70"/>
                  </a:lnTo>
                  <a:lnTo>
                    <a:pt x="913" y="72"/>
                  </a:lnTo>
                  <a:lnTo>
                    <a:pt x="885" y="75"/>
                  </a:lnTo>
                  <a:lnTo>
                    <a:pt x="868" y="87"/>
                  </a:lnTo>
                  <a:lnTo>
                    <a:pt x="848" y="95"/>
                  </a:lnTo>
                  <a:lnTo>
                    <a:pt x="848" y="110"/>
                  </a:lnTo>
                  <a:lnTo>
                    <a:pt x="863" y="112"/>
                  </a:lnTo>
                  <a:lnTo>
                    <a:pt x="868" y="135"/>
                  </a:lnTo>
                  <a:lnTo>
                    <a:pt x="841" y="130"/>
                  </a:lnTo>
                  <a:lnTo>
                    <a:pt x="803" y="132"/>
                  </a:lnTo>
                  <a:lnTo>
                    <a:pt x="786" y="139"/>
                  </a:lnTo>
                  <a:lnTo>
                    <a:pt x="781" y="159"/>
                  </a:lnTo>
                  <a:lnTo>
                    <a:pt x="788" y="177"/>
                  </a:lnTo>
                  <a:lnTo>
                    <a:pt x="803" y="177"/>
                  </a:lnTo>
                  <a:lnTo>
                    <a:pt x="818" y="194"/>
                  </a:lnTo>
                  <a:lnTo>
                    <a:pt x="828" y="214"/>
                  </a:lnTo>
                  <a:lnTo>
                    <a:pt x="826" y="229"/>
                  </a:lnTo>
                  <a:lnTo>
                    <a:pt x="801" y="202"/>
                  </a:lnTo>
                  <a:lnTo>
                    <a:pt x="773" y="194"/>
                  </a:lnTo>
                  <a:lnTo>
                    <a:pt x="761" y="177"/>
                  </a:lnTo>
                  <a:lnTo>
                    <a:pt x="746" y="179"/>
                  </a:lnTo>
                  <a:lnTo>
                    <a:pt x="739" y="199"/>
                  </a:lnTo>
                  <a:lnTo>
                    <a:pt x="746" y="212"/>
                  </a:lnTo>
                  <a:lnTo>
                    <a:pt x="749" y="222"/>
                  </a:lnTo>
                  <a:lnTo>
                    <a:pt x="726" y="214"/>
                  </a:lnTo>
                  <a:lnTo>
                    <a:pt x="704" y="194"/>
                  </a:lnTo>
                  <a:lnTo>
                    <a:pt x="701" y="172"/>
                  </a:lnTo>
                  <a:lnTo>
                    <a:pt x="691" y="159"/>
                  </a:lnTo>
                  <a:lnTo>
                    <a:pt x="681" y="169"/>
                  </a:lnTo>
                  <a:lnTo>
                    <a:pt x="684" y="189"/>
                  </a:lnTo>
                  <a:lnTo>
                    <a:pt x="681" y="202"/>
                  </a:lnTo>
                  <a:lnTo>
                    <a:pt x="684" y="214"/>
                  </a:lnTo>
                  <a:lnTo>
                    <a:pt x="694" y="217"/>
                  </a:lnTo>
                  <a:lnTo>
                    <a:pt x="696" y="251"/>
                  </a:lnTo>
                  <a:lnTo>
                    <a:pt x="701" y="266"/>
                  </a:lnTo>
                  <a:lnTo>
                    <a:pt x="724" y="271"/>
                  </a:lnTo>
                  <a:lnTo>
                    <a:pt x="726" y="261"/>
                  </a:lnTo>
                  <a:lnTo>
                    <a:pt x="744" y="266"/>
                  </a:lnTo>
                  <a:lnTo>
                    <a:pt x="754" y="271"/>
                  </a:lnTo>
                  <a:lnTo>
                    <a:pt x="761" y="284"/>
                  </a:lnTo>
                  <a:lnTo>
                    <a:pt x="766" y="299"/>
                  </a:lnTo>
                  <a:lnTo>
                    <a:pt x="776" y="309"/>
                  </a:lnTo>
                  <a:lnTo>
                    <a:pt x="786" y="313"/>
                  </a:lnTo>
                  <a:lnTo>
                    <a:pt x="786" y="326"/>
                  </a:lnTo>
                  <a:lnTo>
                    <a:pt x="771" y="316"/>
                  </a:lnTo>
                  <a:lnTo>
                    <a:pt x="759" y="301"/>
                  </a:lnTo>
                  <a:lnTo>
                    <a:pt x="741" y="289"/>
                  </a:lnTo>
                  <a:lnTo>
                    <a:pt x="721" y="289"/>
                  </a:lnTo>
                  <a:lnTo>
                    <a:pt x="719" y="294"/>
                  </a:lnTo>
                  <a:lnTo>
                    <a:pt x="716" y="309"/>
                  </a:lnTo>
                  <a:lnTo>
                    <a:pt x="706" y="328"/>
                  </a:lnTo>
                  <a:lnTo>
                    <a:pt x="694" y="351"/>
                  </a:lnTo>
                  <a:lnTo>
                    <a:pt x="674" y="361"/>
                  </a:lnTo>
                  <a:lnTo>
                    <a:pt x="644" y="351"/>
                  </a:lnTo>
                  <a:lnTo>
                    <a:pt x="649" y="338"/>
                  </a:lnTo>
                  <a:lnTo>
                    <a:pt x="669" y="333"/>
                  </a:lnTo>
                  <a:lnTo>
                    <a:pt x="684" y="323"/>
                  </a:lnTo>
                  <a:lnTo>
                    <a:pt x="689" y="316"/>
                  </a:lnTo>
                  <a:lnTo>
                    <a:pt x="691" y="304"/>
                  </a:lnTo>
                  <a:lnTo>
                    <a:pt x="686" y="289"/>
                  </a:lnTo>
                  <a:lnTo>
                    <a:pt x="681" y="276"/>
                  </a:lnTo>
                  <a:lnTo>
                    <a:pt x="676" y="259"/>
                  </a:lnTo>
                  <a:lnTo>
                    <a:pt x="676" y="246"/>
                  </a:lnTo>
                  <a:lnTo>
                    <a:pt x="669" y="229"/>
                  </a:lnTo>
                  <a:lnTo>
                    <a:pt x="664" y="207"/>
                  </a:lnTo>
                  <a:lnTo>
                    <a:pt x="657" y="177"/>
                  </a:lnTo>
                  <a:lnTo>
                    <a:pt x="652" y="152"/>
                  </a:lnTo>
                  <a:lnTo>
                    <a:pt x="637" y="135"/>
                  </a:lnTo>
                  <a:lnTo>
                    <a:pt x="612" y="137"/>
                  </a:lnTo>
                  <a:lnTo>
                    <a:pt x="599" y="167"/>
                  </a:lnTo>
                  <a:lnTo>
                    <a:pt x="597" y="199"/>
                  </a:lnTo>
                  <a:lnTo>
                    <a:pt x="575" y="212"/>
                  </a:lnTo>
                  <a:lnTo>
                    <a:pt x="577" y="229"/>
                  </a:lnTo>
                  <a:lnTo>
                    <a:pt x="589" y="249"/>
                  </a:lnTo>
                  <a:lnTo>
                    <a:pt x="604" y="269"/>
                  </a:lnTo>
                  <a:lnTo>
                    <a:pt x="614" y="284"/>
                  </a:lnTo>
                  <a:lnTo>
                    <a:pt x="619" y="296"/>
                  </a:lnTo>
                  <a:lnTo>
                    <a:pt x="602" y="301"/>
                  </a:lnTo>
                  <a:lnTo>
                    <a:pt x="585" y="279"/>
                  </a:lnTo>
                  <a:lnTo>
                    <a:pt x="555" y="261"/>
                  </a:lnTo>
                  <a:lnTo>
                    <a:pt x="520" y="254"/>
                  </a:lnTo>
                  <a:lnTo>
                    <a:pt x="490" y="251"/>
                  </a:lnTo>
                  <a:lnTo>
                    <a:pt x="483" y="264"/>
                  </a:lnTo>
                  <a:lnTo>
                    <a:pt x="493" y="271"/>
                  </a:lnTo>
                  <a:lnTo>
                    <a:pt x="490" y="294"/>
                  </a:lnTo>
                  <a:lnTo>
                    <a:pt x="475" y="299"/>
                  </a:lnTo>
                  <a:lnTo>
                    <a:pt x="473" y="279"/>
                  </a:lnTo>
                  <a:lnTo>
                    <a:pt x="458" y="276"/>
                  </a:lnTo>
                  <a:lnTo>
                    <a:pt x="448" y="291"/>
                  </a:lnTo>
                  <a:lnTo>
                    <a:pt x="410" y="291"/>
                  </a:lnTo>
                  <a:lnTo>
                    <a:pt x="396" y="309"/>
                  </a:lnTo>
                  <a:lnTo>
                    <a:pt x="386" y="289"/>
                  </a:lnTo>
                  <a:lnTo>
                    <a:pt x="373" y="291"/>
                  </a:lnTo>
                  <a:lnTo>
                    <a:pt x="353" y="301"/>
                  </a:lnTo>
                  <a:lnTo>
                    <a:pt x="333" y="309"/>
                  </a:lnTo>
                  <a:lnTo>
                    <a:pt x="309" y="331"/>
                  </a:lnTo>
                  <a:lnTo>
                    <a:pt x="284" y="343"/>
                  </a:lnTo>
                  <a:lnTo>
                    <a:pt x="274" y="326"/>
                  </a:lnTo>
                  <a:lnTo>
                    <a:pt x="274" y="311"/>
                  </a:lnTo>
                  <a:lnTo>
                    <a:pt x="256" y="294"/>
                  </a:lnTo>
                  <a:lnTo>
                    <a:pt x="229" y="296"/>
                  </a:lnTo>
                  <a:lnTo>
                    <a:pt x="236" y="311"/>
                  </a:lnTo>
                  <a:lnTo>
                    <a:pt x="241" y="331"/>
                  </a:lnTo>
                  <a:lnTo>
                    <a:pt x="249" y="348"/>
                  </a:lnTo>
                  <a:lnTo>
                    <a:pt x="251" y="368"/>
                  </a:lnTo>
                  <a:lnTo>
                    <a:pt x="231" y="361"/>
                  </a:lnTo>
                  <a:lnTo>
                    <a:pt x="214" y="356"/>
                  </a:lnTo>
                  <a:lnTo>
                    <a:pt x="204" y="368"/>
                  </a:lnTo>
                  <a:lnTo>
                    <a:pt x="182" y="376"/>
                  </a:lnTo>
                  <a:lnTo>
                    <a:pt x="179" y="391"/>
                  </a:lnTo>
                  <a:lnTo>
                    <a:pt x="192" y="398"/>
                  </a:lnTo>
                  <a:lnTo>
                    <a:pt x="187" y="418"/>
                  </a:lnTo>
                  <a:lnTo>
                    <a:pt x="169" y="418"/>
                  </a:lnTo>
                  <a:lnTo>
                    <a:pt x="169" y="398"/>
                  </a:lnTo>
                  <a:lnTo>
                    <a:pt x="152" y="391"/>
                  </a:lnTo>
                  <a:lnTo>
                    <a:pt x="135" y="398"/>
                  </a:lnTo>
                  <a:lnTo>
                    <a:pt x="137" y="413"/>
                  </a:lnTo>
                  <a:lnTo>
                    <a:pt x="149" y="418"/>
                  </a:lnTo>
                  <a:lnTo>
                    <a:pt x="152" y="425"/>
                  </a:lnTo>
                  <a:lnTo>
                    <a:pt x="144" y="435"/>
                  </a:lnTo>
                  <a:lnTo>
                    <a:pt x="125" y="420"/>
                  </a:lnTo>
                  <a:lnTo>
                    <a:pt x="112" y="403"/>
                  </a:lnTo>
                  <a:lnTo>
                    <a:pt x="102" y="386"/>
                  </a:lnTo>
                  <a:lnTo>
                    <a:pt x="97" y="358"/>
                  </a:lnTo>
                  <a:lnTo>
                    <a:pt x="90" y="348"/>
                  </a:lnTo>
                  <a:lnTo>
                    <a:pt x="110" y="353"/>
                  </a:lnTo>
                  <a:lnTo>
                    <a:pt x="142" y="363"/>
                  </a:lnTo>
                  <a:lnTo>
                    <a:pt x="169" y="356"/>
                  </a:lnTo>
                  <a:lnTo>
                    <a:pt x="182" y="343"/>
                  </a:lnTo>
                  <a:lnTo>
                    <a:pt x="189" y="328"/>
                  </a:lnTo>
                  <a:lnTo>
                    <a:pt x="159" y="306"/>
                  </a:lnTo>
                  <a:lnTo>
                    <a:pt x="122" y="289"/>
                  </a:lnTo>
                  <a:lnTo>
                    <a:pt x="82" y="266"/>
                  </a:lnTo>
                  <a:lnTo>
                    <a:pt x="65" y="259"/>
                  </a:lnTo>
                  <a:lnTo>
                    <a:pt x="45" y="271"/>
                  </a:lnTo>
                  <a:lnTo>
                    <a:pt x="25" y="294"/>
                  </a:lnTo>
                  <a:lnTo>
                    <a:pt x="18" y="311"/>
                  </a:lnTo>
                  <a:lnTo>
                    <a:pt x="18" y="331"/>
                  </a:lnTo>
                  <a:lnTo>
                    <a:pt x="23" y="356"/>
                  </a:lnTo>
                  <a:lnTo>
                    <a:pt x="25" y="386"/>
                  </a:lnTo>
                  <a:lnTo>
                    <a:pt x="33" y="410"/>
                  </a:lnTo>
                  <a:lnTo>
                    <a:pt x="40" y="438"/>
                  </a:lnTo>
                  <a:lnTo>
                    <a:pt x="50" y="448"/>
                  </a:lnTo>
                  <a:lnTo>
                    <a:pt x="62" y="458"/>
                  </a:lnTo>
                  <a:lnTo>
                    <a:pt x="50" y="470"/>
                  </a:lnTo>
                  <a:lnTo>
                    <a:pt x="30" y="490"/>
                  </a:lnTo>
                  <a:lnTo>
                    <a:pt x="15" y="510"/>
                  </a:lnTo>
                  <a:lnTo>
                    <a:pt x="8" y="527"/>
                  </a:lnTo>
                  <a:lnTo>
                    <a:pt x="10" y="547"/>
                  </a:lnTo>
                  <a:lnTo>
                    <a:pt x="0" y="552"/>
                  </a:lnTo>
                  <a:lnTo>
                    <a:pt x="20" y="579"/>
                  </a:lnTo>
                  <a:lnTo>
                    <a:pt x="48" y="604"/>
                  </a:lnTo>
                  <a:lnTo>
                    <a:pt x="95" y="624"/>
                  </a:lnTo>
                  <a:lnTo>
                    <a:pt x="100" y="686"/>
                  </a:lnTo>
                  <a:lnTo>
                    <a:pt x="92" y="696"/>
                  </a:lnTo>
                  <a:lnTo>
                    <a:pt x="82" y="721"/>
                  </a:lnTo>
                  <a:lnTo>
                    <a:pt x="130" y="719"/>
                  </a:lnTo>
                  <a:lnTo>
                    <a:pt x="140" y="744"/>
                  </a:lnTo>
                  <a:lnTo>
                    <a:pt x="212" y="803"/>
                  </a:lnTo>
                  <a:lnTo>
                    <a:pt x="199" y="858"/>
                  </a:lnTo>
                  <a:lnTo>
                    <a:pt x="209" y="865"/>
                  </a:lnTo>
                  <a:lnTo>
                    <a:pt x="189" y="883"/>
                  </a:lnTo>
                  <a:lnTo>
                    <a:pt x="174" y="898"/>
                  </a:lnTo>
                  <a:lnTo>
                    <a:pt x="169" y="910"/>
                  </a:lnTo>
                  <a:lnTo>
                    <a:pt x="192" y="922"/>
                  </a:lnTo>
                  <a:lnTo>
                    <a:pt x="207" y="937"/>
                  </a:lnTo>
                  <a:lnTo>
                    <a:pt x="244" y="915"/>
                  </a:lnTo>
                  <a:lnTo>
                    <a:pt x="266" y="927"/>
                  </a:lnTo>
                  <a:lnTo>
                    <a:pt x="281" y="927"/>
                  </a:lnTo>
                  <a:lnTo>
                    <a:pt x="296" y="942"/>
                  </a:lnTo>
                  <a:lnTo>
                    <a:pt x="314" y="962"/>
                  </a:lnTo>
                  <a:lnTo>
                    <a:pt x="348" y="952"/>
                  </a:lnTo>
                  <a:lnTo>
                    <a:pt x="341" y="927"/>
                  </a:lnTo>
                  <a:lnTo>
                    <a:pt x="348" y="910"/>
                  </a:lnTo>
                  <a:lnTo>
                    <a:pt x="373" y="8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1" name="Freeform 301"/>
            <p:cNvSpPr>
              <a:spLocks/>
            </p:cNvSpPr>
            <p:nvPr/>
          </p:nvSpPr>
          <p:spPr bwMode="auto">
            <a:xfrm>
              <a:off x="5424669" y="3478568"/>
              <a:ext cx="35981" cy="46056"/>
            </a:xfrm>
            <a:custGeom>
              <a:avLst/>
              <a:gdLst>
                <a:gd name="T0" fmla="*/ 0 w 25"/>
                <a:gd name="T1" fmla="*/ 30 h 32"/>
                <a:gd name="T2" fmla="*/ 2 w 25"/>
                <a:gd name="T3" fmla="*/ 3 h 32"/>
                <a:gd name="T4" fmla="*/ 12 w 25"/>
                <a:gd name="T5" fmla="*/ 0 h 32"/>
                <a:gd name="T6" fmla="*/ 25 w 25"/>
                <a:gd name="T7" fmla="*/ 32 h 32"/>
                <a:gd name="T8" fmla="*/ 0 w 25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2">
                  <a:moveTo>
                    <a:pt x="0" y="30"/>
                  </a:moveTo>
                  <a:lnTo>
                    <a:pt x="2" y="3"/>
                  </a:lnTo>
                  <a:lnTo>
                    <a:pt x="12" y="0"/>
                  </a:lnTo>
                  <a:lnTo>
                    <a:pt x="25" y="32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2" name="Freeform 302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0 w 59"/>
                <a:gd name="T1" fmla="*/ 3 h 72"/>
                <a:gd name="T2" fmla="*/ 22 w 59"/>
                <a:gd name="T3" fmla="*/ 0 h 72"/>
                <a:gd name="T4" fmla="*/ 37 w 59"/>
                <a:gd name="T5" fmla="*/ 10 h 72"/>
                <a:gd name="T6" fmla="*/ 59 w 59"/>
                <a:gd name="T7" fmla="*/ 43 h 72"/>
                <a:gd name="T8" fmla="*/ 57 w 59"/>
                <a:gd name="T9" fmla="*/ 58 h 72"/>
                <a:gd name="T10" fmla="*/ 50 w 59"/>
                <a:gd name="T11" fmla="*/ 72 h 72"/>
                <a:gd name="T12" fmla="*/ 42 w 59"/>
                <a:gd name="T13" fmla="*/ 60 h 72"/>
                <a:gd name="T14" fmla="*/ 37 w 59"/>
                <a:gd name="T15" fmla="*/ 70 h 72"/>
                <a:gd name="T16" fmla="*/ 27 w 59"/>
                <a:gd name="T17" fmla="*/ 48 h 72"/>
                <a:gd name="T18" fmla="*/ 25 w 59"/>
                <a:gd name="T19" fmla="*/ 25 h 72"/>
                <a:gd name="T20" fmla="*/ 0 w 59"/>
                <a:gd name="T21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0" y="3"/>
                  </a:moveTo>
                  <a:lnTo>
                    <a:pt x="22" y="0"/>
                  </a:lnTo>
                  <a:lnTo>
                    <a:pt x="37" y="10"/>
                  </a:lnTo>
                  <a:lnTo>
                    <a:pt x="59" y="43"/>
                  </a:lnTo>
                  <a:lnTo>
                    <a:pt x="57" y="58"/>
                  </a:lnTo>
                  <a:lnTo>
                    <a:pt x="50" y="72"/>
                  </a:lnTo>
                  <a:lnTo>
                    <a:pt x="42" y="60"/>
                  </a:lnTo>
                  <a:lnTo>
                    <a:pt x="37" y="70"/>
                  </a:lnTo>
                  <a:lnTo>
                    <a:pt x="27" y="48"/>
                  </a:lnTo>
                  <a:lnTo>
                    <a:pt x="25" y="2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3" name="Freeform 303"/>
            <p:cNvSpPr>
              <a:spLocks/>
            </p:cNvSpPr>
            <p:nvPr/>
          </p:nvSpPr>
          <p:spPr bwMode="auto">
            <a:xfrm>
              <a:off x="4543857" y="2773343"/>
              <a:ext cx="182783" cy="103625"/>
            </a:xfrm>
            <a:custGeom>
              <a:avLst/>
              <a:gdLst>
                <a:gd name="T0" fmla="*/ 0 w 127"/>
                <a:gd name="T1" fmla="*/ 20 h 72"/>
                <a:gd name="T2" fmla="*/ 47 w 127"/>
                <a:gd name="T3" fmla="*/ 0 h 72"/>
                <a:gd name="T4" fmla="*/ 65 w 127"/>
                <a:gd name="T5" fmla="*/ 13 h 72"/>
                <a:gd name="T6" fmla="*/ 107 w 127"/>
                <a:gd name="T7" fmla="*/ 25 h 72"/>
                <a:gd name="T8" fmla="*/ 127 w 127"/>
                <a:gd name="T9" fmla="*/ 38 h 72"/>
                <a:gd name="T10" fmla="*/ 92 w 127"/>
                <a:gd name="T11" fmla="*/ 60 h 72"/>
                <a:gd name="T12" fmla="*/ 82 w 127"/>
                <a:gd name="T13" fmla="*/ 72 h 72"/>
                <a:gd name="T14" fmla="*/ 70 w 127"/>
                <a:gd name="T15" fmla="*/ 65 h 72"/>
                <a:gd name="T16" fmla="*/ 72 w 127"/>
                <a:gd name="T17" fmla="*/ 55 h 72"/>
                <a:gd name="T18" fmla="*/ 57 w 127"/>
                <a:gd name="T19" fmla="*/ 53 h 72"/>
                <a:gd name="T20" fmla="*/ 52 w 127"/>
                <a:gd name="T21" fmla="*/ 63 h 72"/>
                <a:gd name="T22" fmla="*/ 40 w 127"/>
                <a:gd name="T23" fmla="*/ 65 h 72"/>
                <a:gd name="T24" fmla="*/ 28 w 127"/>
                <a:gd name="T25" fmla="*/ 53 h 72"/>
                <a:gd name="T26" fmla="*/ 0 w 127"/>
                <a:gd name="T27" fmla="*/ 2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72">
                  <a:moveTo>
                    <a:pt x="0" y="20"/>
                  </a:moveTo>
                  <a:lnTo>
                    <a:pt x="47" y="0"/>
                  </a:lnTo>
                  <a:lnTo>
                    <a:pt x="65" y="13"/>
                  </a:lnTo>
                  <a:lnTo>
                    <a:pt x="107" y="25"/>
                  </a:lnTo>
                  <a:lnTo>
                    <a:pt x="127" y="38"/>
                  </a:lnTo>
                  <a:lnTo>
                    <a:pt x="92" y="60"/>
                  </a:lnTo>
                  <a:lnTo>
                    <a:pt x="82" y="72"/>
                  </a:lnTo>
                  <a:lnTo>
                    <a:pt x="70" y="65"/>
                  </a:lnTo>
                  <a:lnTo>
                    <a:pt x="72" y="55"/>
                  </a:lnTo>
                  <a:lnTo>
                    <a:pt x="57" y="53"/>
                  </a:lnTo>
                  <a:lnTo>
                    <a:pt x="52" y="63"/>
                  </a:lnTo>
                  <a:lnTo>
                    <a:pt x="40" y="65"/>
                  </a:lnTo>
                  <a:lnTo>
                    <a:pt x="28" y="53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4" name="Freeform 304"/>
            <p:cNvSpPr>
              <a:spLocks/>
            </p:cNvSpPr>
            <p:nvPr/>
          </p:nvSpPr>
          <p:spPr bwMode="auto">
            <a:xfrm>
              <a:off x="4661874" y="2820838"/>
              <a:ext cx="146802" cy="74840"/>
            </a:xfrm>
            <a:custGeom>
              <a:avLst/>
              <a:gdLst>
                <a:gd name="T0" fmla="*/ 45 w 102"/>
                <a:gd name="T1" fmla="*/ 5 h 52"/>
                <a:gd name="T2" fmla="*/ 102 w 102"/>
                <a:gd name="T3" fmla="*/ 0 h 52"/>
                <a:gd name="T4" fmla="*/ 97 w 102"/>
                <a:gd name="T5" fmla="*/ 52 h 52"/>
                <a:gd name="T6" fmla="*/ 82 w 102"/>
                <a:gd name="T7" fmla="*/ 39 h 52"/>
                <a:gd name="T8" fmla="*/ 75 w 102"/>
                <a:gd name="T9" fmla="*/ 37 h 52"/>
                <a:gd name="T10" fmla="*/ 45 w 102"/>
                <a:gd name="T11" fmla="*/ 42 h 52"/>
                <a:gd name="T12" fmla="*/ 25 w 102"/>
                <a:gd name="T13" fmla="*/ 42 h 52"/>
                <a:gd name="T14" fmla="*/ 0 w 102"/>
                <a:gd name="T15" fmla="*/ 39 h 52"/>
                <a:gd name="T16" fmla="*/ 10 w 102"/>
                <a:gd name="T17" fmla="*/ 27 h 52"/>
                <a:gd name="T18" fmla="*/ 45 w 102"/>
                <a:gd name="T19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52">
                  <a:moveTo>
                    <a:pt x="45" y="5"/>
                  </a:moveTo>
                  <a:lnTo>
                    <a:pt x="102" y="0"/>
                  </a:lnTo>
                  <a:lnTo>
                    <a:pt x="97" y="52"/>
                  </a:lnTo>
                  <a:lnTo>
                    <a:pt x="82" y="39"/>
                  </a:lnTo>
                  <a:lnTo>
                    <a:pt x="75" y="37"/>
                  </a:lnTo>
                  <a:lnTo>
                    <a:pt x="45" y="42"/>
                  </a:lnTo>
                  <a:lnTo>
                    <a:pt x="25" y="42"/>
                  </a:lnTo>
                  <a:lnTo>
                    <a:pt x="0" y="39"/>
                  </a:lnTo>
                  <a:lnTo>
                    <a:pt x="10" y="27"/>
                  </a:lnTo>
                  <a:lnTo>
                    <a:pt x="4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5" name="Freeform 305"/>
            <p:cNvSpPr>
              <a:spLocks/>
            </p:cNvSpPr>
            <p:nvPr/>
          </p:nvSpPr>
          <p:spPr bwMode="auto">
            <a:xfrm>
              <a:off x="5123869" y="3406606"/>
              <a:ext cx="536834" cy="512368"/>
            </a:xfrm>
            <a:custGeom>
              <a:avLst/>
              <a:gdLst>
                <a:gd name="T0" fmla="*/ 196 w 373"/>
                <a:gd name="T1" fmla="*/ 90 h 356"/>
                <a:gd name="T2" fmla="*/ 209 w 373"/>
                <a:gd name="T3" fmla="*/ 80 h 356"/>
                <a:gd name="T4" fmla="*/ 234 w 373"/>
                <a:gd name="T5" fmla="*/ 82 h 356"/>
                <a:gd name="T6" fmla="*/ 254 w 373"/>
                <a:gd name="T7" fmla="*/ 102 h 356"/>
                <a:gd name="T8" fmla="*/ 278 w 373"/>
                <a:gd name="T9" fmla="*/ 127 h 356"/>
                <a:gd name="T10" fmla="*/ 281 w 373"/>
                <a:gd name="T11" fmla="*/ 150 h 356"/>
                <a:gd name="T12" fmla="*/ 291 w 373"/>
                <a:gd name="T13" fmla="*/ 159 h 356"/>
                <a:gd name="T14" fmla="*/ 303 w 373"/>
                <a:gd name="T15" fmla="*/ 199 h 356"/>
                <a:gd name="T16" fmla="*/ 358 w 373"/>
                <a:gd name="T17" fmla="*/ 202 h 356"/>
                <a:gd name="T18" fmla="*/ 373 w 373"/>
                <a:gd name="T19" fmla="*/ 224 h 356"/>
                <a:gd name="T20" fmla="*/ 360 w 373"/>
                <a:gd name="T21" fmla="*/ 274 h 356"/>
                <a:gd name="T22" fmla="*/ 311 w 373"/>
                <a:gd name="T23" fmla="*/ 284 h 356"/>
                <a:gd name="T24" fmla="*/ 258 w 373"/>
                <a:gd name="T25" fmla="*/ 294 h 356"/>
                <a:gd name="T26" fmla="*/ 244 w 373"/>
                <a:gd name="T27" fmla="*/ 311 h 356"/>
                <a:gd name="T28" fmla="*/ 236 w 373"/>
                <a:gd name="T29" fmla="*/ 338 h 356"/>
                <a:gd name="T30" fmla="*/ 214 w 373"/>
                <a:gd name="T31" fmla="*/ 356 h 356"/>
                <a:gd name="T32" fmla="*/ 214 w 373"/>
                <a:gd name="T33" fmla="*/ 341 h 356"/>
                <a:gd name="T34" fmla="*/ 214 w 373"/>
                <a:gd name="T35" fmla="*/ 329 h 356"/>
                <a:gd name="T36" fmla="*/ 206 w 373"/>
                <a:gd name="T37" fmla="*/ 326 h 356"/>
                <a:gd name="T38" fmla="*/ 184 w 373"/>
                <a:gd name="T39" fmla="*/ 324 h 356"/>
                <a:gd name="T40" fmla="*/ 164 w 373"/>
                <a:gd name="T41" fmla="*/ 326 h 356"/>
                <a:gd name="T42" fmla="*/ 149 w 373"/>
                <a:gd name="T43" fmla="*/ 333 h 356"/>
                <a:gd name="T44" fmla="*/ 132 w 373"/>
                <a:gd name="T45" fmla="*/ 311 h 356"/>
                <a:gd name="T46" fmla="*/ 124 w 373"/>
                <a:gd name="T47" fmla="*/ 289 h 356"/>
                <a:gd name="T48" fmla="*/ 112 w 373"/>
                <a:gd name="T49" fmla="*/ 271 h 356"/>
                <a:gd name="T50" fmla="*/ 89 w 373"/>
                <a:gd name="T51" fmla="*/ 242 h 356"/>
                <a:gd name="T52" fmla="*/ 79 w 373"/>
                <a:gd name="T53" fmla="*/ 224 h 356"/>
                <a:gd name="T54" fmla="*/ 67 w 373"/>
                <a:gd name="T55" fmla="*/ 184 h 356"/>
                <a:gd name="T56" fmla="*/ 47 w 373"/>
                <a:gd name="T57" fmla="*/ 152 h 356"/>
                <a:gd name="T58" fmla="*/ 22 w 373"/>
                <a:gd name="T59" fmla="*/ 130 h 356"/>
                <a:gd name="T60" fmla="*/ 20 w 373"/>
                <a:gd name="T61" fmla="*/ 102 h 356"/>
                <a:gd name="T62" fmla="*/ 5 w 373"/>
                <a:gd name="T63" fmla="*/ 92 h 356"/>
                <a:gd name="T64" fmla="*/ 0 w 373"/>
                <a:gd name="T65" fmla="*/ 72 h 356"/>
                <a:gd name="T66" fmla="*/ 22 w 373"/>
                <a:gd name="T67" fmla="*/ 72 h 356"/>
                <a:gd name="T68" fmla="*/ 37 w 373"/>
                <a:gd name="T69" fmla="*/ 58 h 356"/>
                <a:gd name="T70" fmla="*/ 55 w 373"/>
                <a:gd name="T71" fmla="*/ 45 h 356"/>
                <a:gd name="T72" fmla="*/ 55 w 373"/>
                <a:gd name="T73" fmla="*/ 20 h 356"/>
                <a:gd name="T74" fmla="*/ 72 w 373"/>
                <a:gd name="T75" fmla="*/ 3 h 356"/>
                <a:gd name="T76" fmla="*/ 79 w 373"/>
                <a:gd name="T77" fmla="*/ 0 h 356"/>
                <a:gd name="T78" fmla="*/ 92 w 373"/>
                <a:gd name="T79" fmla="*/ 10 h 356"/>
                <a:gd name="T80" fmla="*/ 104 w 373"/>
                <a:gd name="T81" fmla="*/ 20 h 356"/>
                <a:gd name="T82" fmla="*/ 124 w 373"/>
                <a:gd name="T83" fmla="*/ 18 h 356"/>
                <a:gd name="T84" fmla="*/ 137 w 373"/>
                <a:gd name="T85" fmla="*/ 38 h 356"/>
                <a:gd name="T86" fmla="*/ 149 w 373"/>
                <a:gd name="T87" fmla="*/ 43 h 356"/>
                <a:gd name="T88" fmla="*/ 167 w 373"/>
                <a:gd name="T89" fmla="*/ 70 h 356"/>
                <a:gd name="T90" fmla="*/ 196 w 373"/>
                <a:gd name="T91" fmla="*/ 9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3" h="356">
                  <a:moveTo>
                    <a:pt x="196" y="90"/>
                  </a:moveTo>
                  <a:lnTo>
                    <a:pt x="209" y="80"/>
                  </a:lnTo>
                  <a:lnTo>
                    <a:pt x="234" y="82"/>
                  </a:lnTo>
                  <a:lnTo>
                    <a:pt x="254" y="102"/>
                  </a:lnTo>
                  <a:lnTo>
                    <a:pt x="278" y="127"/>
                  </a:lnTo>
                  <a:lnTo>
                    <a:pt x="281" y="150"/>
                  </a:lnTo>
                  <a:lnTo>
                    <a:pt x="291" y="159"/>
                  </a:lnTo>
                  <a:lnTo>
                    <a:pt x="303" y="199"/>
                  </a:lnTo>
                  <a:lnTo>
                    <a:pt x="358" y="202"/>
                  </a:lnTo>
                  <a:lnTo>
                    <a:pt x="373" y="224"/>
                  </a:lnTo>
                  <a:lnTo>
                    <a:pt x="360" y="274"/>
                  </a:lnTo>
                  <a:lnTo>
                    <a:pt x="311" y="284"/>
                  </a:lnTo>
                  <a:lnTo>
                    <a:pt x="258" y="294"/>
                  </a:lnTo>
                  <a:lnTo>
                    <a:pt x="244" y="311"/>
                  </a:lnTo>
                  <a:lnTo>
                    <a:pt x="236" y="338"/>
                  </a:lnTo>
                  <a:lnTo>
                    <a:pt x="214" y="356"/>
                  </a:lnTo>
                  <a:lnTo>
                    <a:pt x="214" y="341"/>
                  </a:lnTo>
                  <a:lnTo>
                    <a:pt x="214" y="329"/>
                  </a:lnTo>
                  <a:lnTo>
                    <a:pt x="206" y="326"/>
                  </a:lnTo>
                  <a:lnTo>
                    <a:pt x="184" y="324"/>
                  </a:lnTo>
                  <a:lnTo>
                    <a:pt x="164" y="326"/>
                  </a:lnTo>
                  <a:lnTo>
                    <a:pt x="149" y="333"/>
                  </a:lnTo>
                  <a:lnTo>
                    <a:pt x="132" y="311"/>
                  </a:lnTo>
                  <a:lnTo>
                    <a:pt x="124" y="289"/>
                  </a:lnTo>
                  <a:lnTo>
                    <a:pt x="112" y="271"/>
                  </a:lnTo>
                  <a:lnTo>
                    <a:pt x="89" y="242"/>
                  </a:lnTo>
                  <a:lnTo>
                    <a:pt x="79" y="224"/>
                  </a:lnTo>
                  <a:lnTo>
                    <a:pt x="67" y="184"/>
                  </a:lnTo>
                  <a:lnTo>
                    <a:pt x="47" y="152"/>
                  </a:lnTo>
                  <a:lnTo>
                    <a:pt x="22" y="130"/>
                  </a:lnTo>
                  <a:lnTo>
                    <a:pt x="20" y="102"/>
                  </a:lnTo>
                  <a:lnTo>
                    <a:pt x="5" y="92"/>
                  </a:lnTo>
                  <a:lnTo>
                    <a:pt x="0" y="72"/>
                  </a:lnTo>
                  <a:lnTo>
                    <a:pt x="22" y="72"/>
                  </a:lnTo>
                  <a:lnTo>
                    <a:pt x="37" y="58"/>
                  </a:lnTo>
                  <a:lnTo>
                    <a:pt x="55" y="45"/>
                  </a:lnTo>
                  <a:lnTo>
                    <a:pt x="55" y="20"/>
                  </a:lnTo>
                  <a:lnTo>
                    <a:pt x="72" y="3"/>
                  </a:lnTo>
                  <a:lnTo>
                    <a:pt x="79" y="0"/>
                  </a:lnTo>
                  <a:lnTo>
                    <a:pt x="92" y="10"/>
                  </a:lnTo>
                  <a:lnTo>
                    <a:pt x="104" y="20"/>
                  </a:lnTo>
                  <a:lnTo>
                    <a:pt x="124" y="18"/>
                  </a:lnTo>
                  <a:lnTo>
                    <a:pt x="137" y="38"/>
                  </a:lnTo>
                  <a:lnTo>
                    <a:pt x="149" y="43"/>
                  </a:lnTo>
                  <a:lnTo>
                    <a:pt x="167" y="70"/>
                  </a:lnTo>
                  <a:lnTo>
                    <a:pt x="196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6" name="Freeform 306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37 w 59"/>
                <a:gd name="T1" fmla="*/ 10 h 72"/>
                <a:gd name="T2" fmla="*/ 22 w 59"/>
                <a:gd name="T3" fmla="*/ 0 h 72"/>
                <a:gd name="T4" fmla="*/ 0 w 59"/>
                <a:gd name="T5" fmla="*/ 3 h 72"/>
                <a:gd name="T6" fmla="*/ 25 w 59"/>
                <a:gd name="T7" fmla="*/ 25 h 72"/>
                <a:gd name="T8" fmla="*/ 27 w 59"/>
                <a:gd name="T9" fmla="*/ 48 h 72"/>
                <a:gd name="T10" fmla="*/ 37 w 59"/>
                <a:gd name="T11" fmla="*/ 70 h 72"/>
                <a:gd name="T12" fmla="*/ 42 w 59"/>
                <a:gd name="T13" fmla="*/ 60 h 72"/>
                <a:gd name="T14" fmla="*/ 50 w 59"/>
                <a:gd name="T15" fmla="*/ 72 h 72"/>
                <a:gd name="T16" fmla="*/ 57 w 59"/>
                <a:gd name="T17" fmla="*/ 58 h 72"/>
                <a:gd name="T18" fmla="*/ 59 w 59"/>
                <a:gd name="T19" fmla="*/ 43 h 72"/>
                <a:gd name="T20" fmla="*/ 37 w 59"/>
                <a:gd name="T21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37" y="10"/>
                  </a:moveTo>
                  <a:lnTo>
                    <a:pt x="22" y="0"/>
                  </a:lnTo>
                  <a:lnTo>
                    <a:pt x="0" y="3"/>
                  </a:lnTo>
                  <a:lnTo>
                    <a:pt x="25" y="25"/>
                  </a:lnTo>
                  <a:lnTo>
                    <a:pt x="27" y="48"/>
                  </a:lnTo>
                  <a:lnTo>
                    <a:pt x="37" y="70"/>
                  </a:lnTo>
                  <a:lnTo>
                    <a:pt x="42" y="60"/>
                  </a:lnTo>
                  <a:lnTo>
                    <a:pt x="50" y="72"/>
                  </a:lnTo>
                  <a:lnTo>
                    <a:pt x="57" y="58"/>
                  </a:lnTo>
                  <a:lnTo>
                    <a:pt x="59" y="43"/>
                  </a:lnTo>
                  <a:lnTo>
                    <a:pt x="3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7" name="Freeform 307"/>
            <p:cNvSpPr>
              <a:spLocks/>
            </p:cNvSpPr>
            <p:nvPr/>
          </p:nvSpPr>
          <p:spPr bwMode="auto">
            <a:xfrm>
              <a:off x="4743911" y="2544505"/>
              <a:ext cx="172708" cy="151119"/>
            </a:xfrm>
            <a:custGeom>
              <a:avLst/>
              <a:gdLst>
                <a:gd name="T0" fmla="*/ 0 w 120"/>
                <a:gd name="T1" fmla="*/ 62 h 105"/>
                <a:gd name="T2" fmla="*/ 13 w 120"/>
                <a:gd name="T3" fmla="*/ 72 h 105"/>
                <a:gd name="T4" fmla="*/ 13 w 120"/>
                <a:gd name="T5" fmla="*/ 80 h 105"/>
                <a:gd name="T6" fmla="*/ 23 w 120"/>
                <a:gd name="T7" fmla="*/ 85 h 105"/>
                <a:gd name="T8" fmla="*/ 45 w 120"/>
                <a:gd name="T9" fmla="*/ 105 h 105"/>
                <a:gd name="T10" fmla="*/ 45 w 120"/>
                <a:gd name="T11" fmla="*/ 90 h 105"/>
                <a:gd name="T12" fmla="*/ 63 w 120"/>
                <a:gd name="T13" fmla="*/ 82 h 105"/>
                <a:gd name="T14" fmla="*/ 85 w 120"/>
                <a:gd name="T15" fmla="*/ 85 h 105"/>
                <a:gd name="T16" fmla="*/ 90 w 120"/>
                <a:gd name="T17" fmla="*/ 70 h 105"/>
                <a:gd name="T18" fmla="*/ 112 w 120"/>
                <a:gd name="T19" fmla="*/ 62 h 105"/>
                <a:gd name="T20" fmla="*/ 105 w 120"/>
                <a:gd name="T21" fmla="*/ 48 h 105"/>
                <a:gd name="T22" fmla="*/ 117 w 120"/>
                <a:gd name="T23" fmla="*/ 25 h 105"/>
                <a:gd name="T24" fmla="*/ 120 w 120"/>
                <a:gd name="T25" fmla="*/ 28 h 105"/>
                <a:gd name="T26" fmla="*/ 120 w 120"/>
                <a:gd name="T27" fmla="*/ 15 h 105"/>
                <a:gd name="T28" fmla="*/ 82 w 120"/>
                <a:gd name="T29" fmla="*/ 0 h 105"/>
                <a:gd name="T30" fmla="*/ 48 w 120"/>
                <a:gd name="T31" fmla="*/ 23 h 105"/>
                <a:gd name="T32" fmla="*/ 18 w 120"/>
                <a:gd name="T33" fmla="*/ 25 h 105"/>
                <a:gd name="T34" fmla="*/ 8 w 120"/>
                <a:gd name="T35" fmla="*/ 45 h 105"/>
                <a:gd name="T36" fmla="*/ 0 w 120"/>
                <a:gd name="T37" fmla="*/ 6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05">
                  <a:moveTo>
                    <a:pt x="0" y="62"/>
                  </a:moveTo>
                  <a:lnTo>
                    <a:pt x="13" y="72"/>
                  </a:lnTo>
                  <a:lnTo>
                    <a:pt x="13" y="80"/>
                  </a:lnTo>
                  <a:lnTo>
                    <a:pt x="23" y="85"/>
                  </a:lnTo>
                  <a:lnTo>
                    <a:pt x="45" y="105"/>
                  </a:lnTo>
                  <a:lnTo>
                    <a:pt x="45" y="90"/>
                  </a:lnTo>
                  <a:lnTo>
                    <a:pt x="63" y="82"/>
                  </a:lnTo>
                  <a:lnTo>
                    <a:pt x="85" y="85"/>
                  </a:lnTo>
                  <a:lnTo>
                    <a:pt x="90" y="70"/>
                  </a:lnTo>
                  <a:lnTo>
                    <a:pt x="112" y="62"/>
                  </a:lnTo>
                  <a:lnTo>
                    <a:pt x="105" y="48"/>
                  </a:lnTo>
                  <a:lnTo>
                    <a:pt x="117" y="25"/>
                  </a:lnTo>
                  <a:lnTo>
                    <a:pt x="120" y="28"/>
                  </a:lnTo>
                  <a:lnTo>
                    <a:pt x="120" y="15"/>
                  </a:lnTo>
                  <a:lnTo>
                    <a:pt x="82" y="0"/>
                  </a:lnTo>
                  <a:lnTo>
                    <a:pt x="48" y="23"/>
                  </a:lnTo>
                  <a:lnTo>
                    <a:pt x="18" y="25"/>
                  </a:lnTo>
                  <a:lnTo>
                    <a:pt x="8" y="45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8" name="Freeform 308"/>
            <p:cNvSpPr>
              <a:spLocks/>
            </p:cNvSpPr>
            <p:nvPr/>
          </p:nvSpPr>
          <p:spPr bwMode="auto">
            <a:xfrm>
              <a:off x="4765499" y="2488374"/>
              <a:ext cx="208690" cy="96429"/>
            </a:xfrm>
            <a:custGeom>
              <a:avLst/>
              <a:gdLst>
                <a:gd name="T0" fmla="*/ 105 w 145"/>
                <a:gd name="T1" fmla="*/ 67 h 67"/>
                <a:gd name="T2" fmla="*/ 105 w 145"/>
                <a:gd name="T3" fmla="*/ 54 h 67"/>
                <a:gd name="T4" fmla="*/ 67 w 145"/>
                <a:gd name="T5" fmla="*/ 39 h 67"/>
                <a:gd name="T6" fmla="*/ 33 w 145"/>
                <a:gd name="T7" fmla="*/ 62 h 67"/>
                <a:gd name="T8" fmla="*/ 3 w 145"/>
                <a:gd name="T9" fmla="*/ 64 h 67"/>
                <a:gd name="T10" fmla="*/ 0 w 145"/>
                <a:gd name="T11" fmla="*/ 32 h 67"/>
                <a:gd name="T12" fmla="*/ 13 w 145"/>
                <a:gd name="T13" fmla="*/ 19 h 67"/>
                <a:gd name="T14" fmla="*/ 28 w 145"/>
                <a:gd name="T15" fmla="*/ 39 h 67"/>
                <a:gd name="T16" fmla="*/ 45 w 145"/>
                <a:gd name="T17" fmla="*/ 39 h 67"/>
                <a:gd name="T18" fmla="*/ 50 w 145"/>
                <a:gd name="T19" fmla="*/ 22 h 67"/>
                <a:gd name="T20" fmla="*/ 38 w 145"/>
                <a:gd name="T21" fmla="*/ 17 h 67"/>
                <a:gd name="T22" fmla="*/ 30 w 145"/>
                <a:gd name="T23" fmla="*/ 2 h 67"/>
                <a:gd name="T24" fmla="*/ 65 w 145"/>
                <a:gd name="T25" fmla="*/ 0 h 67"/>
                <a:gd name="T26" fmla="*/ 82 w 145"/>
                <a:gd name="T27" fmla="*/ 14 h 67"/>
                <a:gd name="T28" fmla="*/ 117 w 145"/>
                <a:gd name="T29" fmla="*/ 14 h 67"/>
                <a:gd name="T30" fmla="*/ 145 w 145"/>
                <a:gd name="T31" fmla="*/ 39 h 67"/>
                <a:gd name="T32" fmla="*/ 130 w 145"/>
                <a:gd name="T33" fmla="*/ 49 h 67"/>
                <a:gd name="T34" fmla="*/ 115 w 145"/>
                <a:gd name="T35" fmla="*/ 42 h 67"/>
                <a:gd name="T36" fmla="*/ 105 w 145"/>
                <a:gd name="T3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5" h="67">
                  <a:moveTo>
                    <a:pt x="105" y="67"/>
                  </a:moveTo>
                  <a:lnTo>
                    <a:pt x="105" y="54"/>
                  </a:lnTo>
                  <a:lnTo>
                    <a:pt x="67" y="39"/>
                  </a:lnTo>
                  <a:lnTo>
                    <a:pt x="33" y="62"/>
                  </a:lnTo>
                  <a:lnTo>
                    <a:pt x="3" y="64"/>
                  </a:lnTo>
                  <a:lnTo>
                    <a:pt x="0" y="32"/>
                  </a:lnTo>
                  <a:lnTo>
                    <a:pt x="13" y="19"/>
                  </a:lnTo>
                  <a:lnTo>
                    <a:pt x="28" y="39"/>
                  </a:lnTo>
                  <a:lnTo>
                    <a:pt x="45" y="39"/>
                  </a:lnTo>
                  <a:lnTo>
                    <a:pt x="50" y="22"/>
                  </a:lnTo>
                  <a:lnTo>
                    <a:pt x="38" y="17"/>
                  </a:lnTo>
                  <a:lnTo>
                    <a:pt x="30" y="2"/>
                  </a:lnTo>
                  <a:lnTo>
                    <a:pt x="65" y="0"/>
                  </a:lnTo>
                  <a:lnTo>
                    <a:pt x="82" y="14"/>
                  </a:lnTo>
                  <a:lnTo>
                    <a:pt x="117" y="14"/>
                  </a:lnTo>
                  <a:lnTo>
                    <a:pt x="145" y="39"/>
                  </a:lnTo>
                  <a:lnTo>
                    <a:pt x="130" y="49"/>
                  </a:lnTo>
                  <a:lnTo>
                    <a:pt x="115" y="42"/>
                  </a:lnTo>
                  <a:lnTo>
                    <a:pt x="105" y="6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89" name="Freeform 309"/>
            <p:cNvSpPr>
              <a:spLocks/>
            </p:cNvSpPr>
            <p:nvPr/>
          </p:nvSpPr>
          <p:spPr bwMode="auto">
            <a:xfrm>
              <a:off x="4808676" y="2455272"/>
              <a:ext cx="125214" cy="53251"/>
            </a:xfrm>
            <a:custGeom>
              <a:avLst/>
              <a:gdLst>
                <a:gd name="T0" fmla="*/ 87 w 87"/>
                <a:gd name="T1" fmla="*/ 37 h 37"/>
                <a:gd name="T2" fmla="*/ 52 w 87"/>
                <a:gd name="T3" fmla="*/ 37 h 37"/>
                <a:gd name="T4" fmla="*/ 35 w 87"/>
                <a:gd name="T5" fmla="*/ 23 h 37"/>
                <a:gd name="T6" fmla="*/ 0 w 87"/>
                <a:gd name="T7" fmla="*/ 25 h 37"/>
                <a:gd name="T8" fmla="*/ 15 w 87"/>
                <a:gd name="T9" fmla="*/ 13 h 37"/>
                <a:gd name="T10" fmla="*/ 37 w 87"/>
                <a:gd name="T11" fmla="*/ 0 h 37"/>
                <a:gd name="T12" fmla="*/ 67 w 87"/>
                <a:gd name="T13" fmla="*/ 10 h 37"/>
                <a:gd name="T14" fmla="*/ 87 w 8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37">
                  <a:moveTo>
                    <a:pt x="87" y="37"/>
                  </a:moveTo>
                  <a:lnTo>
                    <a:pt x="52" y="37"/>
                  </a:lnTo>
                  <a:lnTo>
                    <a:pt x="35" y="23"/>
                  </a:lnTo>
                  <a:lnTo>
                    <a:pt x="0" y="25"/>
                  </a:lnTo>
                  <a:lnTo>
                    <a:pt x="15" y="13"/>
                  </a:lnTo>
                  <a:lnTo>
                    <a:pt x="37" y="0"/>
                  </a:lnTo>
                  <a:lnTo>
                    <a:pt x="67" y="10"/>
                  </a:lnTo>
                  <a:lnTo>
                    <a:pt x="87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0" name="Freeform 310"/>
            <p:cNvSpPr>
              <a:spLocks/>
            </p:cNvSpPr>
            <p:nvPr/>
          </p:nvSpPr>
          <p:spPr bwMode="auto">
            <a:xfrm>
              <a:off x="4801480" y="2710016"/>
              <a:ext cx="408743" cy="292165"/>
            </a:xfrm>
            <a:custGeom>
              <a:avLst/>
              <a:gdLst>
                <a:gd name="T0" fmla="*/ 70 w 284"/>
                <a:gd name="T1" fmla="*/ 134 h 203"/>
                <a:gd name="T2" fmla="*/ 92 w 284"/>
                <a:gd name="T3" fmla="*/ 131 h 203"/>
                <a:gd name="T4" fmla="*/ 107 w 284"/>
                <a:gd name="T5" fmla="*/ 141 h 203"/>
                <a:gd name="T6" fmla="*/ 129 w 284"/>
                <a:gd name="T7" fmla="*/ 174 h 203"/>
                <a:gd name="T8" fmla="*/ 127 w 284"/>
                <a:gd name="T9" fmla="*/ 189 h 203"/>
                <a:gd name="T10" fmla="*/ 120 w 284"/>
                <a:gd name="T11" fmla="*/ 203 h 203"/>
                <a:gd name="T12" fmla="*/ 134 w 284"/>
                <a:gd name="T13" fmla="*/ 189 h 203"/>
                <a:gd name="T14" fmla="*/ 144 w 284"/>
                <a:gd name="T15" fmla="*/ 149 h 203"/>
                <a:gd name="T16" fmla="*/ 162 w 284"/>
                <a:gd name="T17" fmla="*/ 146 h 203"/>
                <a:gd name="T18" fmla="*/ 169 w 284"/>
                <a:gd name="T19" fmla="*/ 169 h 203"/>
                <a:gd name="T20" fmla="*/ 214 w 284"/>
                <a:gd name="T21" fmla="*/ 166 h 203"/>
                <a:gd name="T22" fmla="*/ 224 w 284"/>
                <a:gd name="T23" fmla="*/ 151 h 203"/>
                <a:gd name="T24" fmla="*/ 239 w 284"/>
                <a:gd name="T25" fmla="*/ 154 h 203"/>
                <a:gd name="T26" fmla="*/ 271 w 284"/>
                <a:gd name="T27" fmla="*/ 139 h 203"/>
                <a:gd name="T28" fmla="*/ 284 w 284"/>
                <a:gd name="T29" fmla="*/ 84 h 203"/>
                <a:gd name="T30" fmla="*/ 212 w 284"/>
                <a:gd name="T31" fmla="*/ 25 h 203"/>
                <a:gd name="T32" fmla="*/ 202 w 284"/>
                <a:gd name="T33" fmla="*/ 0 h 203"/>
                <a:gd name="T34" fmla="*/ 154 w 284"/>
                <a:gd name="T35" fmla="*/ 2 h 203"/>
                <a:gd name="T36" fmla="*/ 144 w 284"/>
                <a:gd name="T37" fmla="*/ 22 h 203"/>
                <a:gd name="T38" fmla="*/ 18 w 284"/>
                <a:gd name="T39" fmla="*/ 34 h 203"/>
                <a:gd name="T40" fmla="*/ 20 w 284"/>
                <a:gd name="T41" fmla="*/ 67 h 203"/>
                <a:gd name="T42" fmla="*/ 5 w 284"/>
                <a:gd name="T43" fmla="*/ 77 h 203"/>
                <a:gd name="T44" fmla="*/ 0 w 284"/>
                <a:gd name="T45" fmla="*/ 129 h 203"/>
                <a:gd name="T46" fmla="*/ 25 w 284"/>
                <a:gd name="T47" fmla="*/ 129 h 203"/>
                <a:gd name="T48" fmla="*/ 35 w 284"/>
                <a:gd name="T49" fmla="*/ 136 h 203"/>
                <a:gd name="T50" fmla="*/ 60 w 284"/>
                <a:gd name="T51" fmla="*/ 136 h 203"/>
                <a:gd name="T52" fmla="*/ 67 w 284"/>
                <a:gd name="T53" fmla="*/ 134 h 203"/>
                <a:gd name="T54" fmla="*/ 70 w 284"/>
                <a:gd name="T55" fmla="*/ 13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4" h="203">
                  <a:moveTo>
                    <a:pt x="70" y="134"/>
                  </a:moveTo>
                  <a:lnTo>
                    <a:pt x="92" y="131"/>
                  </a:lnTo>
                  <a:lnTo>
                    <a:pt x="107" y="141"/>
                  </a:lnTo>
                  <a:lnTo>
                    <a:pt x="129" y="174"/>
                  </a:lnTo>
                  <a:lnTo>
                    <a:pt x="127" y="189"/>
                  </a:lnTo>
                  <a:lnTo>
                    <a:pt x="120" y="203"/>
                  </a:lnTo>
                  <a:lnTo>
                    <a:pt x="134" y="189"/>
                  </a:lnTo>
                  <a:lnTo>
                    <a:pt x="144" y="149"/>
                  </a:lnTo>
                  <a:lnTo>
                    <a:pt x="162" y="146"/>
                  </a:lnTo>
                  <a:lnTo>
                    <a:pt x="169" y="169"/>
                  </a:lnTo>
                  <a:lnTo>
                    <a:pt x="214" y="166"/>
                  </a:lnTo>
                  <a:lnTo>
                    <a:pt x="224" y="151"/>
                  </a:lnTo>
                  <a:lnTo>
                    <a:pt x="239" y="154"/>
                  </a:lnTo>
                  <a:lnTo>
                    <a:pt x="271" y="139"/>
                  </a:lnTo>
                  <a:lnTo>
                    <a:pt x="284" y="84"/>
                  </a:lnTo>
                  <a:lnTo>
                    <a:pt x="212" y="25"/>
                  </a:lnTo>
                  <a:lnTo>
                    <a:pt x="202" y="0"/>
                  </a:lnTo>
                  <a:lnTo>
                    <a:pt x="154" y="2"/>
                  </a:lnTo>
                  <a:lnTo>
                    <a:pt x="144" y="22"/>
                  </a:lnTo>
                  <a:lnTo>
                    <a:pt x="18" y="34"/>
                  </a:lnTo>
                  <a:lnTo>
                    <a:pt x="20" y="67"/>
                  </a:lnTo>
                  <a:lnTo>
                    <a:pt x="5" y="77"/>
                  </a:lnTo>
                  <a:lnTo>
                    <a:pt x="0" y="129"/>
                  </a:lnTo>
                  <a:lnTo>
                    <a:pt x="25" y="129"/>
                  </a:lnTo>
                  <a:lnTo>
                    <a:pt x="35" y="136"/>
                  </a:lnTo>
                  <a:lnTo>
                    <a:pt x="60" y="136"/>
                  </a:lnTo>
                  <a:lnTo>
                    <a:pt x="67" y="134"/>
                  </a:lnTo>
                  <a:lnTo>
                    <a:pt x="70" y="13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1" name="Freeform 312"/>
            <p:cNvSpPr>
              <a:spLocks/>
            </p:cNvSpPr>
            <p:nvPr/>
          </p:nvSpPr>
          <p:spPr bwMode="auto">
            <a:xfrm>
              <a:off x="4808676" y="2544505"/>
              <a:ext cx="240353" cy="214446"/>
            </a:xfrm>
            <a:custGeom>
              <a:avLst/>
              <a:gdLst>
                <a:gd name="T0" fmla="*/ 13 w 167"/>
                <a:gd name="T1" fmla="*/ 149 h 149"/>
                <a:gd name="T2" fmla="*/ 139 w 167"/>
                <a:gd name="T3" fmla="*/ 137 h 149"/>
                <a:gd name="T4" fmla="*/ 149 w 167"/>
                <a:gd name="T5" fmla="*/ 117 h 149"/>
                <a:gd name="T6" fmla="*/ 159 w 167"/>
                <a:gd name="T7" fmla="*/ 92 h 149"/>
                <a:gd name="T8" fmla="*/ 167 w 167"/>
                <a:gd name="T9" fmla="*/ 82 h 149"/>
                <a:gd name="T10" fmla="*/ 162 w 167"/>
                <a:gd name="T11" fmla="*/ 20 h 149"/>
                <a:gd name="T12" fmla="*/ 115 w 167"/>
                <a:gd name="T13" fmla="*/ 0 h 149"/>
                <a:gd name="T14" fmla="*/ 100 w 167"/>
                <a:gd name="T15" fmla="*/ 10 h 149"/>
                <a:gd name="T16" fmla="*/ 85 w 167"/>
                <a:gd name="T17" fmla="*/ 3 h 149"/>
                <a:gd name="T18" fmla="*/ 75 w 167"/>
                <a:gd name="T19" fmla="*/ 28 h 149"/>
                <a:gd name="T20" fmla="*/ 72 w 167"/>
                <a:gd name="T21" fmla="*/ 25 h 149"/>
                <a:gd name="T22" fmla="*/ 60 w 167"/>
                <a:gd name="T23" fmla="*/ 48 h 149"/>
                <a:gd name="T24" fmla="*/ 67 w 167"/>
                <a:gd name="T25" fmla="*/ 62 h 149"/>
                <a:gd name="T26" fmla="*/ 45 w 167"/>
                <a:gd name="T27" fmla="*/ 70 h 149"/>
                <a:gd name="T28" fmla="*/ 40 w 167"/>
                <a:gd name="T29" fmla="*/ 85 h 149"/>
                <a:gd name="T30" fmla="*/ 18 w 167"/>
                <a:gd name="T31" fmla="*/ 82 h 149"/>
                <a:gd name="T32" fmla="*/ 0 w 167"/>
                <a:gd name="T33" fmla="*/ 90 h 149"/>
                <a:gd name="T34" fmla="*/ 0 w 167"/>
                <a:gd name="T35" fmla="*/ 105 h 149"/>
                <a:gd name="T36" fmla="*/ 0 w 167"/>
                <a:gd name="T37" fmla="*/ 130 h 149"/>
                <a:gd name="T38" fmla="*/ 13 w 167"/>
                <a:gd name="T39" fmla="*/ 130 h 149"/>
                <a:gd name="T40" fmla="*/ 13 w 167"/>
                <a:gd name="T41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49">
                  <a:moveTo>
                    <a:pt x="13" y="149"/>
                  </a:moveTo>
                  <a:lnTo>
                    <a:pt x="139" y="137"/>
                  </a:lnTo>
                  <a:lnTo>
                    <a:pt x="149" y="117"/>
                  </a:lnTo>
                  <a:lnTo>
                    <a:pt x="159" y="92"/>
                  </a:lnTo>
                  <a:lnTo>
                    <a:pt x="167" y="82"/>
                  </a:lnTo>
                  <a:lnTo>
                    <a:pt x="162" y="20"/>
                  </a:lnTo>
                  <a:lnTo>
                    <a:pt x="115" y="0"/>
                  </a:lnTo>
                  <a:lnTo>
                    <a:pt x="100" y="10"/>
                  </a:lnTo>
                  <a:lnTo>
                    <a:pt x="85" y="3"/>
                  </a:lnTo>
                  <a:lnTo>
                    <a:pt x="75" y="28"/>
                  </a:lnTo>
                  <a:lnTo>
                    <a:pt x="72" y="25"/>
                  </a:lnTo>
                  <a:lnTo>
                    <a:pt x="60" y="48"/>
                  </a:lnTo>
                  <a:lnTo>
                    <a:pt x="67" y="62"/>
                  </a:lnTo>
                  <a:lnTo>
                    <a:pt x="45" y="70"/>
                  </a:lnTo>
                  <a:lnTo>
                    <a:pt x="40" y="85"/>
                  </a:lnTo>
                  <a:lnTo>
                    <a:pt x="18" y="82"/>
                  </a:lnTo>
                  <a:lnTo>
                    <a:pt x="0" y="90"/>
                  </a:lnTo>
                  <a:lnTo>
                    <a:pt x="0" y="105"/>
                  </a:lnTo>
                  <a:lnTo>
                    <a:pt x="0" y="130"/>
                  </a:lnTo>
                  <a:lnTo>
                    <a:pt x="13" y="130"/>
                  </a:lnTo>
                  <a:lnTo>
                    <a:pt x="13" y="14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2" name="Freeform 313"/>
            <p:cNvSpPr>
              <a:spLocks/>
            </p:cNvSpPr>
            <p:nvPr/>
          </p:nvSpPr>
          <p:spPr bwMode="auto">
            <a:xfrm>
              <a:off x="4733836" y="2633737"/>
              <a:ext cx="28785" cy="25906"/>
            </a:xfrm>
            <a:custGeom>
              <a:avLst/>
              <a:gdLst>
                <a:gd name="T0" fmla="*/ 0 w 20"/>
                <a:gd name="T1" fmla="*/ 10 h 18"/>
                <a:gd name="T2" fmla="*/ 20 w 20"/>
                <a:gd name="T3" fmla="*/ 18 h 18"/>
                <a:gd name="T4" fmla="*/ 20 w 20"/>
                <a:gd name="T5" fmla="*/ 10 h 18"/>
                <a:gd name="T6" fmla="*/ 7 w 20"/>
                <a:gd name="T7" fmla="*/ 0 h 18"/>
                <a:gd name="T8" fmla="*/ 0 w 20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10"/>
                  </a:moveTo>
                  <a:lnTo>
                    <a:pt x="20" y="18"/>
                  </a:lnTo>
                  <a:lnTo>
                    <a:pt x="20" y="10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3" name="Freeform 314"/>
            <p:cNvSpPr>
              <a:spLocks/>
            </p:cNvSpPr>
            <p:nvPr/>
          </p:nvSpPr>
          <p:spPr bwMode="auto">
            <a:xfrm>
              <a:off x="4762621" y="3066947"/>
              <a:ext cx="53252" cy="60448"/>
            </a:xfrm>
            <a:custGeom>
              <a:avLst/>
              <a:gdLst>
                <a:gd name="T0" fmla="*/ 2 w 37"/>
                <a:gd name="T1" fmla="*/ 20 h 42"/>
                <a:gd name="T2" fmla="*/ 7 w 37"/>
                <a:gd name="T3" fmla="*/ 40 h 42"/>
                <a:gd name="T4" fmla="*/ 20 w 37"/>
                <a:gd name="T5" fmla="*/ 42 h 42"/>
                <a:gd name="T6" fmla="*/ 37 w 37"/>
                <a:gd name="T7" fmla="*/ 30 h 42"/>
                <a:gd name="T8" fmla="*/ 35 w 37"/>
                <a:gd name="T9" fmla="*/ 5 h 42"/>
                <a:gd name="T10" fmla="*/ 32 w 37"/>
                <a:gd name="T11" fmla="*/ 3 h 42"/>
                <a:gd name="T12" fmla="*/ 25 w 37"/>
                <a:gd name="T13" fmla="*/ 0 h 42"/>
                <a:gd name="T14" fmla="*/ 17 w 37"/>
                <a:gd name="T15" fmla="*/ 0 h 42"/>
                <a:gd name="T16" fmla="*/ 10 w 37"/>
                <a:gd name="T17" fmla="*/ 3 h 42"/>
                <a:gd name="T18" fmla="*/ 2 w 37"/>
                <a:gd name="T19" fmla="*/ 8 h 42"/>
                <a:gd name="T20" fmla="*/ 0 w 37"/>
                <a:gd name="T21" fmla="*/ 13 h 42"/>
                <a:gd name="T22" fmla="*/ 0 w 37"/>
                <a:gd name="T23" fmla="*/ 15 h 42"/>
                <a:gd name="T24" fmla="*/ 2 w 37"/>
                <a:gd name="T25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42">
                  <a:moveTo>
                    <a:pt x="2" y="20"/>
                  </a:moveTo>
                  <a:lnTo>
                    <a:pt x="7" y="40"/>
                  </a:lnTo>
                  <a:lnTo>
                    <a:pt x="20" y="42"/>
                  </a:lnTo>
                  <a:lnTo>
                    <a:pt x="37" y="30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2" y="8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4" name="Freeform 315"/>
            <p:cNvSpPr>
              <a:spLocks/>
            </p:cNvSpPr>
            <p:nvPr/>
          </p:nvSpPr>
          <p:spPr bwMode="auto">
            <a:xfrm>
              <a:off x="4748228" y="3049676"/>
              <a:ext cx="43177" cy="38860"/>
            </a:xfrm>
            <a:custGeom>
              <a:avLst/>
              <a:gdLst>
                <a:gd name="T0" fmla="*/ 10 w 30"/>
                <a:gd name="T1" fmla="*/ 25 h 27"/>
                <a:gd name="T2" fmla="*/ 12 w 30"/>
                <a:gd name="T3" fmla="*/ 20 h 27"/>
                <a:gd name="T4" fmla="*/ 20 w 30"/>
                <a:gd name="T5" fmla="*/ 15 h 27"/>
                <a:gd name="T6" fmla="*/ 25 w 30"/>
                <a:gd name="T7" fmla="*/ 12 h 27"/>
                <a:gd name="T8" fmla="*/ 30 w 30"/>
                <a:gd name="T9" fmla="*/ 12 h 27"/>
                <a:gd name="T10" fmla="*/ 25 w 30"/>
                <a:gd name="T11" fmla="*/ 7 h 27"/>
                <a:gd name="T12" fmla="*/ 20 w 30"/>
                <a:gd name="T13" fmla="*/ 2 h 27"/>
                <a:gd name="T14" fmla="*/ 17 w 30"/>
                <a:gd name="T15" fmla="*/ 0 h 27"/>
                <a:gd name="T16" fmla="*/ 15 w 30"/>
                <a:gd name="T17" fmla="*/ 0 h 27"/>
                <a:gd name="T18" fmla="*/ 5 w 30"/>
                <a:gd name="T19" fmla="*/ 5 h 27"/>
                <a:gd name="T20" fmla="*/ 2 w 30"/>
                <a:gd name="T21" fmla="*/ 7 h 27"/>
                <a:gd name="T22" fmla="*/ 0 w 30"/>
                <a:gd name="T23" fmla="*/ 12 h 27"/>
                <a:gd name="T24" fmla="*/ 5 w 30"/>
                <a:gd name="T25" fmla="*/ 20 h 27"/>
                <a:gd name="T26" fmla="*/ 10 w 30"/>
                <a:gd name="T27" fmla="*/ 27 h 27"/>
                <a:gd name="T28" fmla="*/ 10 w 30"/>
                <a:gd name="T2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10" y="25"/>
                  </a:moveTo>
                  <a:lnTo>
                    <a:pt x="12" y="20"/>
                  </a:lnTo>
                  <a:lnTo>
                    <a:pt x="20" y="15"/>
                  </a:lnTo>
                  <a:lnTo>
                    <a:pt x="25" y="12"/>
                  </a:lnTo>
                  <a:lnTo>
                    <a:pt x="30" y="12"/>
                  </a:lnTo>
                  <a:lnTo>
                    <a:pt x="25" y="7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12"/>
                  </a:lnTo>
                  <a:lnTo>
                    <a:pt x="5" y="20"/>
                  </a:lnTo>
                  <a:lnTo>
                    <a:pt x="10" y="27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5" name="Freeform 316"/>
            <p:cNvSpPr>
              <a:spLocks/>
            </p:cNvSpPr>
            <p:nvPr/>
          </p:nvSpPr>
          <p:spPr bwMode="auto">
            <a:xfrm>
              <a:off x="4726640" y="3074143"/>
              <a:ext cx="46056" cy="71962"/>
            </a:xfrm>
            <a:custGeom>
              <a:avLst/>
              <a:gdLst>
                <a:gd name="T0" fmla="*/ 25 w 32"/>
                <a:gd name="T1" fmla="*/ 10 h 50"/>
                <a:gd name="T2" fmla="*/ 17 w 32"/>
                <a:gd name="T3" fmla="*/ 0 h 50"/>
                <a:gd name="T4" fmla="*/ 7 w 32"/>
                <a:gd name="T5" fmla="*/ 3 h 50"/>
                <a:gd name="T6" fmla="*/ 10 w 32"/>
                <a:gd name="T7" fmla="*/ 18 h 50"/>
                <a:gd name="T8" fmla="*/ 0 w 32"/>
                <a:gd name="T9" fmla="*/ 37 h 50"/>
                <a:gd name="T10" fmla="*/ 7 w 32"/>
                <a:gd name="T11" fmla="*/ 42 h 50"/>
                <a:gd name="T12" fmla="*/ 15 w 32"/>
                <a:gd name="T13" fmla="*/ 50 h 50"/>
                <a:gd name="T14" fmla="*/ 32 w 32"/>
                <a:gd name="T15" fmla="*/ 35 h 50"/>
                <a:gd name="T16" fmla="*/ 27 w 32"/>
                <a:gd name="T17" fmla="*/ 15 h 50"/>
                <a:gd name="T18" fmla="*/ 25 w 32"/>
                <a:gd name="T19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0">
                  <a:moveTo>
                    <a:pt x="25" y="10"/>
                  </a:moveTo>
                  <a:lnTo>
                    <a:pt x="17" y="0"/>
                  </a:lnTo>
                  <a:lnTo>
                    <a:pt x="7" y="3"/>
                  </a:lnTo>
                  <a:lnTo>
                    <a:pt x="10" y="18"/>
                  </a:lnTo>
                  <a:lnTo>
                    <a:pt x="0" y="37"/>
                  </a:lnTo>
                  <a:lnTo>
                    <a:pt x="7" y="42"/>
                  </a:lnTo>
                  <a:lnTo>
                    <a:pt x="15" y="50"/>
                  </a:lnTo>
                  <a:lnTo>
                    <a:pt x="32" y="35"/>
                  </a:lnTo>
                  <a:lnTo>
                    <a:pt x="27" y="15"/>
                  </a:lnTo>
                  <a:lnTo>
                    <a:pt x="2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6" name="Freeform 317"/>
            <p:cNvSpPr>
              <a:spLocks/>
            </p:cNvSpPr>
            <p:nvPr/>
          </p:nvSpPr>
          <p:spPr bwMode="auto">
            <a:xfrm>
              <a:off x="4726640" y="3059751"/>
              <a:ext cx="24467" cy="35980"/>
            </a:xfrm>
            <a:custGeom>
              <a:avLst/>
              <a:gdLst>
                <a:gd name="T0" fmla="*/ 10 w 17"/>
                <a:gd name="T1" fmla="*/ 25 h 25"/>
                <a:gd name="T2" fmla="*/ 7 w 17"/>
                <a:gd name="T3" fmla="*/ 13 h 25"/>
                <a:gd name="T4" fmla="*/ 17 w 17"/>
                <a:gd name="T5" fmla="*/ 10 h 25"/>
                <a:gd name="T6" fmla="*/ 15 w 17"/>
                <a:gd name="T7" fmla="*/ 5 h 25"/>
                <a:gd name="T8" fmla="*/ 12 w 17"/>
                <a:gd name="T9" fmla="*/ 3 h 25"/>
                <a:gd name="T10" fmla="*/ 7 w 17"/>
                <a:gd name="T11" fmla="*/ 3 h 25"/>
                <a:gd name="T12" fmla="*/ 2 w 17"/>
                <a:gd name="T13" fmla="*/ 0 h 25"/>
                <a:gd name="T14" fmla="*/ 0 w 17"/>
                <a:gd name="T15" fmla="*/ 10 h 25"/>
                <a:gd name="T16" fmla="*/ 0 w 17"/>
                <a:gd name="T17" fmla="*/ 25 h 25"/>
                <a:gd name="T18" fmla="*/ 5 w 17"/>
                <a:gd name="T19" fmla="*/ 25 h 25"/>
                <a:gd name="T20" fmla="*/ 7 w 17"/>
                <a:gd name="T21" fmla="*/ 25 h 25"/>
                <a:gd name="T22" fmla="*/ 10 w 17"/>
                <a:gd name="T2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5">
                  <a:moveTo>
                    <a:pt x="10" y="25"/>
                  </a:moveTo>
                  <a:lnTo>
                    <a:pt x="7" y="13"/>
                  </a:lnTo>
                  <a:lnTo>
                    <a:pt x="17" y="10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7" y="3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7" name="Freeform 319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48 w 65"/>
                <a:gd name="T83" fmla="*/ 44 h 62"/>
                <a:gd name="T84" fmla="*/ 50 w 65"/>
                <a:gd name="T85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48" y="44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8" name="Freeform 320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50 w 65"/>
                <a:gd name="T83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299" name="Freeform 321"/>
            <p:cNvSpPr>
              <a:spLocks/>
            </p:cNvSpPr>
            <p:nvPr/>
          </p:nvSpPr>
          <p:spPr bwMode="auto">
            <a:xfrm>
              <a:off x="4579838" y="2934537"/>
              <a:ext cx="143924" cy="151120"/>
            </a:xfrm>
            <a:custGeom>
              <a:avLst/>
              <a:gdLst>
                <a:gd name="T0" fmla="*/ 85 w 100"/>
                <a:gd name="T1" fmla="*/ 90 h 105"/>
                <a:gd name="T2" fmla="*/ 82 w 100"/>
                <a:gd name="T3" fmla="*/ 85 h 105"/>
                <a:gd name="T4" fmla="*/ 80 w 100"/>
                <a:gd name="T5" fmla="*/ 85 h 105"/>
                <a:gd name="T6" fmla="*/ 77 w 100"/>
                <a:gd name="T7" fmla="*/ 85 h 105"/>
                <a:gd name="T8" fmla="*/ 75 w 100"/>
                <a:gd name="T9" fmla="*/ 85 h 105"/>
                <a:gd name="T10" fmla="*/ 75 w 100"/>
                <a:gd name="T11" fmla="*/ 82 h 105"/>
                <a:gd name="T12" fmla="*/ 72 w 100"/>
                <a:gd name="T13" fmla="*/ 77 h 105"/>
                <a:gd name="T14" fmla="*/ 70 w 100"/>
                <a:gd name="T15" fmla="*/ 75 h 105"/>
                <a:gd name="T16" fmla="*/ 67 w 100"/>
                <a:gd name="T17" fmla="*/ 72 h 105"/>
                <a:gd name="T18" fmla="*/ 67 w 100"/>
                <a:gd name="T19" fmla="*/ 67 h 105"/>
                <a:gd name="T20" fmla="*/ 65 w 100"/>
                <a:gd name="T21" fmla="*/ 65 h 105"/>
                <a:gd name="T22" fmla="*/ 60 w 100"/>
                <a:gd name="T23" fmla="*/ 62 h 105"/>
                <a:gd name="T24" fmla="*/ 52 w 100"/>
                <a:gd name="T25" fmla="*/ 55 h 105"/>
                <a:gd name="T26" fmla="*/ 47 w 100"/>
                <a:gd name="T27" fmla="*/ 52 h 105"/>
                <a:gd name="T28" fmla="*/ 47 w 100"/>
                <a:gd name="T29" fmla="*/ 50 h 105"/>
                <a:gd name="T30" fmla="*/ 47 w 100"/>
                <a:gd name="T31" fmla="*/ 45 h 105"/>
                <a:gd name="T32" fmla="*/ 42 w 100"/>
                <a:gd name="T33" fmla="*/ 43 h 105"/>
                <a:gd name="T34" fmla="*/ 37 w 100"/>
                <a:gd name="T35" fmla="*/ 33 h 105"/>
                <a:gd name="T36" fmla="*/ 40 w 100"/>
                <a:gd name="T37" fmla="*/ 30 h 105"/>
                <a:gd name="T38" fmla="*/ 42 w 100"/>
                <a:gd name="T39" fmla="*/ 30 h 105"/>
                <a:gd name="T40" fmla="*/ 42 w 100"/>
                <a:gd name="T41" fmla="*/ 33 h 105"/>
                <a:gd name="T42" fmla="*/ 45 w 100"/>
                <a:gd name="T43" fmla="*/ 35 h 105"/>
                <a:gd name="T44" fmla="*/ 47 w 100"/>
                <a:gd name="T45" fmla="*/ 35 h 105"/>
                <a:gd name="T46" fmla="*/ 55 w 100"/>
                <a:gd name="T47" fmla="*/ 30 h 105"/>
                <a:gd name="T48" fmla="*/ 57 w 100"/>
                <a:gd name="T49" fmla="*/ 28 h 105"/>
                <a:gd name="T50" fmla="*/ 67 w 100"/>
                <a:gd name="T51" fmla="*/ 28 h 105"/>
                <a:gd name="T52" fmla="*/ 75 w 100"/>
                <a:gd name="T53" fmla="*/ 30 h 105"/>
                <a:gd name="T54" fmla="*/ 82 w 100"/>
                <a:gd name="T55" fmla="*/ 30 h 105"/>
                <a:gd name="T56" fmla="*/ 87 w 100"/>
                <a:gd name="T57" fmla="*/ 35 h 105"/>
                <a:gd name="T58" fmla="*/ 92 w 100"/>
                <a:gd name="T59" fmla="*/ 35 h 105"/>
                <a:gd name="T60" fmla="*/ 95 w 100"/>
                <a:gd name="T61" fmla="*/ 38 h 105"/>
                <a:gd name="T62" fmla="*/ 97 w 100"/>
                <a:gd name="T63" fmla="*/ 40 h 105"/>
                <a:gd name="T64" fmla="*/ 97 w 100"/>
                <a:gd name="T65" fmla="*/ 38 h 105"/>
                <a:gd name="T66" fmla="*/ 97 w 100"/>
                <a:gd name="T67" fmla="*/ 33 h 105"/>
                <a:gd name="T68" fmla="*/ 95 w 100"/>
                <a:gd name="T69" fmla="*/ 30 h 105"/>
                <a:gd name="T70" fmla="*/ 100 w 100"/>
                <a:gd name="T71" fmla="*/ 28 h 105"/>
                <a:gd name="T72" fmla="*/ 100 w 100"/>
                <a:gd name="T73" fmla="*/ 25 h 105"/>
                <a:gd name="T74" fmla="*/ 97 w 100"/>
                <a:gd name="T75" fmla="*/ 25 h 105"/>
                <a:gd name="T76" fmla="*/ 95 w 100"/>
                <a:gd name="T77" fmla="*/ 23 h 105"/>
                <a:gd name="T78" fmla="*/ 95 w 100"/>
                <a:gd name="T79" fmla="*/ 20 h 105"/>
                <a:gd name="T80" fmla="*/ 95 w 100"/>
                <a:gd name="T81" fmla="*/ 15 h 105"/>
                <a:gd name="T82" fmla="*/ 92 w 100"/>
                <a:gd name="T83" fmla="*/ 18 h 105"/>
                <a:gd name="T84" fmla="*/ 72 w 100"/>
                <a:gd name="T85" fmla="*/ 13 h 105"/>
                <a:gd name="T86" fmla="*/ 52 w 100"/>
                <a:gd name="T87" fmla="*/ 3 h 105"/>
                <a:gd name="T88" fmla="*/ 45 w 100"/>
                <a:gd name="T89" fmla="*/ 0 h 105"/>
                <a:gd name="T90" fmla="*/ 27 w 100"/>
                <a:gd name="T91" fmla="*/ 8 h 105"/>
                <a:gd name="T92" fmla="*/ 0 w 100"/>
                <a:gd name="T93" fmla="*/ 0 h 105"/>
                <a:gd name="T94" fmla="*/ 3 w 100"/>
                <a:gd name="T95" fmla="*/ 15 h 105"/>
                <a:gd name="T96" fmla="*/ 15 w 100"/>
                <a:gd name="T97" fmla="*/ 23 h 105"/>
                <a:gd name="T98" fmla="*/ 20 w 100"/>
                <a:gd name="T99" fmla="*/ 28 h 105"/>
                <a:gd name="T100" fmla="*/ 25 w 100"/>
                <a:gd name="T101" fmla="*/ 47 h 105"/>
                <a:gd name="T102" fmla="*/ 40 w 100"/>
                <a:gd name="T103" fmla="*/ 57 h 105"/>
                <a:gd name="T104" fmla="*/ 40 w 100"/>
                <a:gd name="T105" fmla="*/ 70 h 105"/>
                <a:gd name="T106" fmla="*/ 60 w 100"/>
                <a:gd name="T107" fmla="*/ 77 h 105"/>
                <a:gd name="T108" fmla="*/ 72 w 100"/>
                <a:gd name="T109" fmla="*/ 85 h 105"/>
                <a:gd name="T110" fmla="*/ 82 w 100"/>
                <a:gd name="T111" fmla="*/ 100 h 105"/>
                <a:gd name="T112" fmla="*/ 87 w 100"/>
                <a:gd name="T113" fmla="*/ 105 h 105"/>
                <a:gd name="T114" fmla="*/ 90 w 100"/>
                <a:gd name="T115" fmla="*/ 102 h 105"/>
                <a:gd name="T116" fmla="*/ 85 w 100"/>
                <a:gd name="T11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0" h="105">
                  <a:moveTo>
                    <a:pt x="85" y="90"/>
                  </a:moveTo>
                  <a:lnTo>
                    <a:pt x="82" y="85"/>
                  </a:lnTo>
                  <a:lnTo>
                    <a:pt x="80" y="85"/>
                  </a:lnTo>
                  <a:lnTo>
                    <a:pt x="77" y="85"/>
                  </a:lnTo>
                  <a:lnTo>
                    <a:pt x="75" y="85"/>
                  </a:lnTo>
                  <a:lnTo>
                    <a:pt x="75" y="82"/>
                  </a:lnTo>
                  <a:lnTo>
                    <a:pt x="72" y="77"/>
                  </a:lnTo>
                  <a:lnTo>
                    <a:pt x="70" y="75"/>
                  </a:lnTo>
                  <a:lnTo>
                    <a:pt x="67" y="72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0" y="62"/>
                  </a:lnTo>
                  <a:lnTo>
                    <a:pt x="52" y="55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45"/>
                  </a:lnTo>
                  <a:lnTo>
                    <a:pt x="42" y="43"/>
                  </a:lnTo>
                  <a:lnTo>
                    <a:pt x="37" y="33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2" y="33"/>
                  </a:lnTo>
                  <a:lnTo>
                    <a:pt x="45" y="35"/>
                  </a:lnTo>
                  <a:lnTo>
                    <a:pt x="47" y="35"/>
                  </a:lnTo>
                  <a:lnTo>
                    <a:pt x="55" y="30"/>
                  </a:lnTo>
                  <a:lnTo>
                    <a:pt x="57" y="28"/>
                  </a:lnTo>
                  <a:lnTo>
                    <a:pt x="67" y="28"/>
                  </a:lnTo>
                  <a:lnTo>
                    <a:pt x="75" y="30"/>
                  </a:lnTo>
                  <a:lnTo>
                    <a:pt x="82" y="30"/>
                  </a:lnTo>
                  <a:lnTo>
                    <a:pt x="87" y="35"/>
                  </a:lnTo>
                  <a:lnTo>
                    <a:pt x="92" y="35"/>
                  </a:lnTo>
                  <a:lnTo>
                    <a:pt x="95" y="38"/>
                  </a:lnTo>
                  <a:lnTo>
                    <a:pt x="97" y="40"/>
                  </a:lnTo>
                  <a:lnTo>
                    <a:pt x="97" y="38"/>
                  </a:lnTo>
                  <a:lnTo>
                    <a:pt x="97" y="33"/>
                  </a:lnTo>
                  <a:lnTo>
                    <a:pt x="95" y="30"/>
                  </a:lnTo>
                  <a:lnTo>
                    <a:pt x="100" y="28"/>
                  </a:lnTo>
                  <a:lnTo>
                    <a:pt x="100" y="25"/>
                  </a:lnTo>
                  <a:lnTo>
                    <a:pt x="97" y="25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5" y="15"/>
                  </a:lnTo>
                  <a:lnTo>
                    <a:pt x="92" y="18"/>
                  </a:lnTo>
                  <a:lnTo>
                    <a:pt x="72" y="13"/>
                  </a:lnTo>
                  <a:lnTo>
                    <a:pt x="52" y="3"/>
                  </a:lnTo>
                  <a:lnTo>
                    <a:pt x="45" y="0"/>
                  </a:lnTo>
                  <a:lnTo>
                    <a:pt x="27" y="8"/>
                  </a:lnTo>
                  <a:lnTo>
                    <a:pt x="0" y="0"/>
                  </a:lnTo>
                  <a:lnTo>
                    <a:pt x="3" y="15"/>
                  </a:lnTo>
                  <a:lnTo>
                    <a:pt x="15" y="23"/>
                  </a:lnTo>
                  <a:lnTo>
                    <a:pt x="20" y="28"/>
                  </a:lnTo>
                  <a:lnTo>
                    <a:pt x="25" y="47"/>
                  </a:lnTo>
                  <a:lnTo>
                    <a:pt x="40" y="57"/>
                  </a:lnTo>
                  <a:lnTo>
                    <a:pt x="40" y="70"/>
                  </a:lnTo>
                  <a:lnTo>
                    <a:pt x="60" y="77"/>
                  </a:lnTo>
                  <a:lnTo>
                    <a:pt x="72" y="85"/>
                  </a:lnTo>
                  <a:lnTo>
                    <a:pt x="82" y="100"/>
                  </a:lnTo>
                  <a:lnTo>
                    <a:pt x="87" y="105"/>
                  </a:lnTo>
                  <a:lnTo>
                    <a:pt x="90" y="102"/>
                  </a:lnTo>
                  <a:lnTo>
                    <a:pt x="85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00" name="Freeform 322"/>
            <p:cNvSpPr>
              <a:spLocks/>
            </p:cNvSpPr>
            <p:nvPr/>
          </p:nvSpPr>
          <p:spPr bwMode="auto">
            <a:xfrm>
              <a:off x="4702173" y="3030966"/>
              <a:ext cx="53252" cy="64765"/>
            </a:xfrm>
            <a:custGeom>
              <a:avLst/>
              <a:gdLst>
                <a:gd name="T0" fmla="*/ 37 w 37"/>
                <a:gd name="T1" fmla="*/ 18 h 45"/>
                <a:gd name="T2" fmla="*/ 37 w 37"/>
                <a:gd name="T3" fmla="*/ 15 h 45"/>
                <a:gd name="T4" fmla="*/ 29 w 37"/>
                <a:gd name="T5" fmla="*/ 15 h 45"/>
                <a:gd name="T6" fmla="*/ 22 w 37"/>
                <a:gd name="T7" fmla="*/ 10 h 45"/>
                <a:gd name="T8" fmla="*/ 15 w 37"/>
                <a:gd name="T9" fmla="*/ 5 h 45"/>
                <a:gd name="T10" fmla="*/ 10 w 37"/>
                <a:gd name="T11" fmla="*/ 0 h 45"/>
                <a:gd name="T12" fmla="*/ 2 w 37"/>
                <a:gd name="T13" fmla="*/ 5 h 45"/>
                <a:gd name="T14" fmla="*/ 0 w 37"/>
                <a:gd name="T15" fmla="*/ 10 h 45"/>
                <a:gd name="T16" fmla="*/ 0 w 37"/>
                <a:gd name="T17" fmla="*/ 15 h 45"/>
                <a:gd name="T18" fmla="*/ 0 w 37"/>
                <a:gd name="T19" fmla="*/ 23 h 45"/>
                <a:gd name="T20" fmla="*/ 5 w 37"/>
                <a:gd name="T21" fmla="*/ 35 h 45"/>
                <a:gd name="T22" fmla="*/ 2 w 37"/>
                <a:gd name="T23" fmla="*/ 38 h 45"/>
                <a:gd name="T24" fmla="*/ 12 w 37"/>
                <a:gd name="T25" fmla="*/ 43 h 45"/>
                <a:gd name="T26" fmla="*/ 17 w 37"/>
                <a:gd name="T27" fmla="*/ 45 h 45"/>
                <a:gd name="T28" fmla="*/ 17 w 37"/>
                <a:gd name="T29" fmla="*/ 30 h 45"/>
                <a:gd name="T30" fmla="*/ 19 w 37"/>
                <a:gd name="T31" fmla="*/ 20 h 45"/>
                <a:gd name="T32" fmla="*/ 24 w 37"/>
                <a:gd name="T33" fmla="*/ 23 h 45"/>
                <a:gd name="T34" fmla="*/ 29 w 37"/>
                <a:gd name="T35" fmla="*/ 23 h 45"/>
                <a:gd name="T36" fmla="*/ 32 w 37"/>
                <a:gd name="T37" fmla="*/ 25 h 45"/>
                <a:gd name="T38" fmla="*/ 34 w 37"/>
                <a:gd name="T39" fmla="*/ 20 h 45"/>
                <a:gd name="T40" fmla="*/ 34 w 37"/>
                <a:gd name="T41" fmla="*/ 18 h 45"/>
                <a:gd name="T42" fmla="*/ 37 w 37"/>
                <a:gd name="T43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5">
                  <a:moveTo>
                    <a:pt x="37" y="18"/>
                  </a:moveTo>
                  <a:lnTo>
                    <a:pt x="37" y="15"/>
                  </a:lnTo>
                  <a:lnTo>
                    <a:pt x="29" y="15"/>
                  </a:lnTo>
                  <a:lnTo>
                    <a:pt x="22" y="10"/>
                  </a:lnTo>
                  <a:lnTo>
                    <a:pt x="15" y="5"/>
                  </a:lnTo>
                  <a:lnTo>
                    <a:pt x="10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5" y="35"/>
                  </a:lnTo>
                  <a:lnTo>
                    <a:pt x="2" y="38"/>
                  </a:lnTo>
                  <a:lnTo>
                    <a:pt x="12" y="43"/>
                  </a:lnTo>
                  <a:lnTo>
                    <a:pt x="17" y="45"/>
                  </a:lnTo>
                  <a:lnTo>
                    <a:pt x="17" y="30"/>
                  </a:lnTo>
                  <a:lnTo>
                    <a:pt x="19" y="20"/>
                  </a:lnTo>
                  <a:lnTo>
                    <a:pt x="24" y="23"/>
                  </a:lnTo>
                  <a:lnTo>
                    <a:pt x="29" y="23"/>
                  </a:lnTo>
                  <a:lnTo>
                    <a:pt x="32" y="25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7" y="1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  <p:sp>
          <p:nvSpPr>
            <p:cNvPr id="301" name="Freeform 324"/>
            <p:cNvSpPr>
              <a:spLocks/>
            </p:cNvSpPr>
            <p:nvPr/>
          </p:nvSpPr>
          <p:spPr bwMode="auto">
            <a:xfrm>
              <a:off x="4716565" y="2946051"/>
              <a:ext cx="103625" cy="128092"/>
            </a:xfrm>
            <a:custGeom>
              <a:avLst/>
              <a:gdLst>
                <a:gd name="T0" fmla="*/ 52 w 72"/>
                <a:gd name="T1" fmla="*/ 84 h 89"/>
                <a:gd name="T2" fmla="*/ 57 w 72"/>
                <a:gd name="T3" fmla="*/ 84 h 89"/>
                <a:gd name="T4" fmla="*/ 64 w 72"/>
                <a:gd name="T5" fmla="*/ 87 h 89"/>
                <a:gd name="T6" fmla="*/ 67 w 72"/>
                <a:gd name="T7" fmla="*/ 89 h 89"/>
                <a:gd name="T8" fmla="*/ 67 w 72"/>
                <a:gd name="T9" fmla="*/ 87 h 89"/>
                <a:gd name="T10" fmla="*/ 57 w 72"/>
                <a:gd name="T11" fmla="*/ 69 h 89"/>
                <a:gd name="T12" fmla="*/ 57 w 72"/>
                <a:gd name="T13" fmla="*/ 59 h 89"/>
                <a:gd name="T14" fmla="*/ 72 w 72"/>
                <a:gd name="T15" fmla="*/ 47 h 89"/>
                <a:gd name="T16" fmla="*/ 62 w 72"/>
                <a:gd name="T17" fmla="*/ 39 h 89"/>
                <a:gd name="T18" fmla="*/ 44 w 72"/>
                <a:gd name="T19" fmla="*/ 30 h 89"/>
                <a:gd name="T20" fmla="*/ 27 w 72"/>
                <a:gd name="T21" fmla="*/ 17 h 89"/>
                <a:gd name="T22" fmla="*/ 22 w 72"/>
                <a:gd name="T23" fmla="*/ 2 h 89"/>
                <a:gd name="T24" fmla="*/ 7 w 72"/>
                <a:gd name="T25" fmla="*/ 0 h 89"/>
                <a:gd name="T26" fmla="*/ 0 w 72"/>
                <a:gd name="T27" fmla="*/ 7 h 89"/>
                <a:gd name="T28" fmla="*/ 0 w 72"/>
                <a:gd name="T29" fmla="*/ 12 h 89"/>
                <a:gd name="T30" fmla="*/ 0 w 72"/>
                <a:gd name="T31" fmla="*/ 15 h 89"/>
                <a:gd name="T32" fmla="*/ 2 w 72"/>
                <a:gd name="T33" fmla="*/ 17 h 89"/>
                <a:gd name="T34" fmla="*/ 5 w 72"/>
                <a:gd name="T35" fmla="*/ 17 h 89"/>
                <a:gd name="T36" fmla="*/ 5 w 72"/>
                <a:gd name="T37" fmla="*/ 20 h 89"/>
                <a:gd name="T38" fmla="*/ 0 w 72"/>
                <a:gd name="T39" fmla="*/ 22 h 89"/>
                <a:gd name="T40" fmla="*/ 2 w 72"/>
                <a:gd name="T41" fmla="*/ 25 h 89"/>
                <a:gd name="T42" fmla="*/ 2 w 72"/>
                <a:gd name="T43" fmla="*/ 30 h 89"/>
                <a:gd name="T44" fmla="*/ 2 w 72"/>
                <a:gd name="T45" fmla="*/ 32 h 89"/>
                <a:gd name="T46" fmla="*/ 5 w 72"/>
                <a:gd name="T47" fmla="*/ 37 h 89"/>
                <a:gd name="T48" fmla="*/ 5 w 72"/>
                <a:gd name="T49" fmla="*/ 39 h 89"/>
                <a:gd name="T50" fmla="*/ 5 w 72"/>
                <a:gd name="T51" fmla="*/ 49 h 89"/>
                <a:gd name="T52" fmla="*/ 7 w 72"/>
                <a:gd name="T53" fmla="*/ 57 h 89"/>
                <a:gd name="T54" fmla="*/ 7 w 72"/>
                <a:gd name="T55" fmla="*/ 59 h 89"/>
                <a:gd name="T56" fmla="*/ 0 w 72"/>
                <a:gd name="T57" fmla="*/ 59 h 89"/>
                <a:gd name="T58" fmla="*/ 5 w 72"/>
                <a:gd name="T59" fmla="*/ 64 h 89"/>
                <a:gd name="T60" fmla="*/ 12 w 72"/>
                <a:gd name="T61" fmla="*/ 69 h 89"/>
                <a:gd name="T62" fmla="*/ 19 w 72"/>
                <a:gd name="T63" fmla="*/ 74 h 89"/>
                <a:gd name="T64" fmla="*/ 27 w 72"/>
                <a:gd name="T65" fmla="*/ 74 h 89"/>
                <a:gd name="T66" fmla="*/ 27 w 72"/>
                <a:gd name="T67" fmla="*/ 77 h 89"/>
                <a:gd name="T68" fmla="*/ 37 w 72"/>
                <a:gd name="T69" fmla="*/ 72 h 89"/>
                <a:gd name="T70" fmla="*/ 39 w 72"/>
                <a:gd name="T71" fmla="*/ 72 h 89"/>
                <a:gd name="T72" fmla="*/ 42 w 72"/>
                <a:gd name="T73" fmla="*/ 74 h 89"/>
                <a:gd name="T74" fmla="*/ 47 w 72"/>
                <a:gd name="T75" fmla="*/ 79 h 89"/>
                <a:gd name="T76" fmla="*/ 52 w 72"/>
                <a:gd name="T77" fmla="*/ 8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" h="89">
                  <a:moveTo>
                    <a:pt x="52" y="84"/>
                  </a:moveTo>
                  <a:lnTo>
                    <a:pt x="57" y="84"/>
                  </a:lnTo>
                  <a:lnTo>
                    <a:pt x="64" y="87"/>
                  </a:lnTo>
                  <a:lnTo>
                    <a:pt x="67" y="89"/>
                  </a:lnTo>
                  <a:lnTo>
                    <a:pt x="67" y="87"/>
                  </a:lnTo>
                  <a:lnTo>
                    <a:pt x="57" y="69"/>
                  </a:lnTo>
                  <a:lnTo>
                    <a:pt x="57" y="59"/>
                  </a:lnTo>
                  <a:lnTo>
                    <a:pt x="72" y="47"/>
                  </a:lnTo>
                  <a:lnTo>
                    <a:pt x="62" y="39"/>
                  </a:lnTo>
                  <a:lnTo>
                    <a:pt x="44" y="30"/>
                  </a:lnTo>
                  <a:lnTo>
                    <a:pt x="27" y="17"/>
                  </a:lnTo>
                  <a:lnTo>
                    <a:pt x="22" y="2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20"/>
                  </a:lnTo>
                  <a:lnTo>
                    <a:pt x="0" y="22"/>
                  </a:lnTo>
                  <a:lnTo>
                    <a:pt x="2" y="25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5" y="37"/>
                  </a:lnTo>
                  <a:lnTo>
                    <a:pt x="5" y="39"/>
                  </a:lnTo>
                  <a:lnTo>
                    <a:pt x="5" y="49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0" y="59"/>
                  </a:lnTo>
                  <a:lnTo>
                    <a:pt x="5" y="64"/>
                  </a:lnTo>
                  <a:lnTo>
                    <a:pt x="12" y="69"/>
                  </a:lnTo>
                  <a:lnTo>
                    <a:pt x="19" y="74"/>
                  </a:lnTo>
                  <a:lnTo>
                    <a:pt x="27" y="74"/>
                  </a:lnTo>
                  <a:lnTo>
                    <a:pt x="27" y="77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2" y="74"/>
                  </a:lnTo>
                  <a:lnTo>
                    <a:pt x="47" y="79"/>
                  </a:lnTo>
                  <a:lnTo>
                    <a:pt x="52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Calibri" panose="020F0502020204030204"/>
              </a:endParaRPr>
            </a:p>
          </p:txBody>
        </p:sp>
      </p:grpSp>
      <p:pic>
        <p:nvPicPr>
          <p:cNvPr id="302" name="Picture 3" descr="Upper Gastrointestinal Bleeding: Evidence-Based Treatme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249" y="2477301"/>
            <a:ext cx="1656524" cy="189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723747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 First Contact – The Supplier will receive an invitation from Faurecia</a:t>
            </a:r>
            <a:br>
              <a:rPr lang="pt-PT" sz="1800" dirty="0"/>
            </a:br>
            <a:r>
              <a:rPr lang="pt-PT" sz="1800" dirty="0"/>
              <a:t>        Registration from a Buyer Invitation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06516" y="309940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B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Espace réservé du contenu 5"/>
          <p:cNvSpPr>
            <a:spLocks noGrp="1"/>
          </p:cNvSpPr>
          <p:nvPr>
            <p:ph idx="1"/>
          </p:nvPr>
        </p:nvSpPr>
        <p:spPr>
          <a:xfrm>
            <a:off x="282575" y="1049338"/>
            <a:ext cx="11630025" cy="530701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   </a:t>
            </a:r>
            <a:endParaRPr lang="en-US" dirty="0"/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5A79C9D6-09E6-495D-9D2E-66863696F78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7994" y="1587953"/>
            <a:ext cx="6205928" cy="4636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ounded Rectangle 10">
            <a:extLst>
              <a:ext uri="{FF2B5EF4-FFF2-40B4-BE49-F238E27FC236}">
                <a16:creationId xmlns:a16="http://schemas.microsoft.com/office/drawing/2014/main" id="{45F4CB81-B751-4183-A5C4-1956FBCD6F7C}"/>
              </a:ext>
            </a:extLst>
          </p:cNvPr>
          <p:cNvSpPr/>
          <p:nvPr/>
        </p:nvSpPr>
        <p:spPr>
          <a:xfrm>
            <a:off x="2683241" y="5694194"/>
            <a:ext cx="2781722" cy="564565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DAEBD9F2-57B9-4519-B4E8-358CE9AA56CF}"/>
              </a:ext>
            </a:extLst>
          </p:cNvPr>
          <p:cNvSpPr txBox="1">
            <a:spLocks/>
          </p:cNvSpPr>
          <p:nvPr/>
        </p:nvSpPr>
        <p:spPr>
          <a:xfrm>
            <a:off x="2055021" y="1023389"/>
            <a:ext cx="8723057" cy="564564"/>
          </a:xfrm>
          <a:prstGeom prst="rect">
            <a:avLst/>
          </a:prstGeom>
        </p:spPr>
        <p:txBody>
          <a:bodyPr vert="horz" lIns="0" tIns="36000" rIns="0" bIns="36000" rtlCol="0">
            <a:normAutofit fontScale="925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lang="en-US" sz="1700" dirty="0">
                <a:solidFill>
                  <a:srgbClr val="003684"/>
                </a:solidFill>
              </a:rPr>
              <a:t>Click on the Link  “</a:t>
            </a:r>
            <a:r>
              <a:rPr lang="en-US" sz="1700" dirty="0"/>
              <a:t>Click here</a:t>
            </a:r>
            <a:r>
              <a:rPr lang="en-US" sz="1700" dirty="0">
                <a:solidFill>
                  <a:srgbClr val="003684"/>
                </a:solidFill>
              </a:rPr>
              <a:t>” </a:t>
            </a:r>
            <a:r>
              <a:rPr kumimoji="0" lang="en-US" sz="17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to be directed to the Ariba Network connection page</a:t>
            </a: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8321030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016134" y="15728"/>
            <a:ext cx="10556273" cy="875204"/>
          </a:xfrm>
        </p:spPr>
        <p:txBody>
          <a:bodyPr/>
          <a:lstStyle/>
          <a:p>
            <a:r>
              <a:rPr lang="pt-PT" dirty="0"/>
              <a:t>                 Registration - Step 1</a:t>
            </a: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4</a:t>
            </a:fld>
            <a:endParaRPr lang="fr-FR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238B44F6-3110-4052-AF06-47747BCFC58B}"/>
              </a:ext>
            </a:extLst>
          </p:cNvPr>
          <p:cNvSpPr txBox="1">
            <a:spLocks/>
          </p:cNvSpPr>
          <p:nvPr/>
        </p:nvSpPr>
        <p:spPr>
          <a:xfrm>
            <a:off x="1889933" y="1092108"/>
            <a:ext cx="9053944" cy="1098916"/>
          </a:xfrm>
          <a:prstGeom prst="rect">
            <a:avLst/>
          </a:prstGeom>
        </p:spPr>
        <p:txBody>
          <a:bodyPr vert="horz" lIns="0" tIns="36000" rIns="0" bIns="36000" rtlCol="0">
            <a:normAutofit fontScale="700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lang="en-US" sz="2300" dirty="0">
                <a:solidFill>
                  <a:srgbClr val="003684"/>
                </a:solidFill>
              </a:rPr>
              <a:t>The language displayed will be the one of your supplier PC / location </a:t>
            </a:r>
            <a:endParaRPr kumimoji="0" lang="en-US" sz="23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lick the “Sign up” button if you </a:t>
            </a:r>
            <a:r>
              <a:rPr kumimoji="0" lang="en-US" sz="2300" b="1" i="0" u="sng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on’t have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an Ariba Account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1)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lick “Log in” if you </a:t>
            </a:r>
            <a:r>
              <a:rPr kumimoji="0" lang="en-US" sz="2300" b="1" i="0" u="sng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already have</a:t>
            </a:r>
            <a:r>
              <a:rPr kumimoji="0" lang="en-US" sz="23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one </a:t>
            </a:r>
            <a:r>
              <a:rPr kumimoji="0" lang="en-US" sz="2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2)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3" name="Image 2">
            <a:extLst>
              <a:ext uri="{FF2B5EF4-FFF2-40B4-BE49-F238E27FC236}">
                <a16:creationId xmlns:a16="http://schemas.microsoft.com/office/drawing/2014/main" id="{6191FC88-EC89-41F6-A258-388074AA826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1651" y="2734836"/>
            <a:ext cx="11668698" cy="2809438"/>
          </a:xfrm>
          <a:prstGeom prst="rect">
            <a:avLst/>
          </a:prstGeom>
          <a:ln w="3175">
            <a:solidFill>
              <a:schemeClr val="tx1">
                <a:lumMod val="50000"/>
              </a:schemeClr>
            </a:solidFill>
          </a:ln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3106126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>
            <a:extLst>
              <a:ext uri="{FF2B5EF4-FFF2-40B4-BE49-F238E27FC236}">
                <a16:creationId xmlns:a16="http://schemas.microsoft.com/office/drawing/2014/main" id="{4FA627FF-B71C-4BCA-BB20-13C930AD3C94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48562" y="4388206"/>
            <a:ext cx="1617876" cy="1168632"/>
          </a:xfrm>
          <a:prstGeom prst="rect">
            <a:avLst/>
          </a:prstGeom>
        </p:spPr>
      </p:pic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70955" y="410941"/>
            <a:ext cx="10556273" cy="875204"/>
          </a:xfrm>
        </p:spPr>
        <p:txBody>
          <a:bodyPr/>
          <a:lstStyle/>
          <a:p>
            <a:r>
              <a:rPr lang="pt-PT" dirty="0"/>
              <a:t>                 Registration - Step 2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Once clicked on “Register” button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5</a:t>
            </a:fld>
            <a:endParaRPr lang="fr-FR" dirty="0"/>
          </a:p>
        </p:txBody>
      </p:sp>
      <p:sp>
        <p:nvSpPr>
          <p:cNvPr id="11" name="Espace réservé du contenu 2">
            <a:extLst>
              <a:ext uri="{FF2B5EF4-FFF2-40B4-BE49-F238E27FC236}">
                <a16:creationId xmlns:a16="http://schemas.microsoft.com/office/drawing/2014/main" id="{238B44F6-3110-4052-AF06-47747BCFC58B}"/>
              </a:ext>
            </a:extLst>
          </p:cNvPr>
          <p:cNvSpPr txBox="1">
            <a:spLocks/>
          </p:cNvSpPr>
          <p:nvPr/>
        </p:nvSpPr>
        <p:spPr>
          <a:xfrm>
            <a:off x="464772" y="960062"/>
            <a:ext cx="10556273" cy="492439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lang="fr-FR" sz="1800" dirty="0"/>
              <a:t>Once clicked on « register » ,  fill in all the required fields with your information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3FE0A7E0-1C95-4717-98EF-A97E4E4DB3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0000" y="2218073"/>
            <a:ext cx="3664744" cy="280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BD151C99-B50B-444F-AF3C-BCAE237324D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724227" y="1195925"/>
            <a:ext cx="10943483" cy="445506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fr-FR" sz="1800" dirty="0"/>
          </a:p>
          <a:p>
            <a:r>
              <a:rPr lang="fr-FR" sz="1600" i="1" dirty="0"/>
              <a:t>NB:</a:t>
            </a:r>
            <a:r>
              <a:rPr lang="fr-FR" sz="1600" dirty="0"/>
              <a:t> </a:t>
            </a:r>
            <a:r>
              <a:rPr lang="fr-FR" sz="1600" i="1" dirty="0"/>
              <a:t>All information with a * are mandatory</a:t>
            </a:r>
          </a:p>
          <a:p>
            <a:r>
              <a:rPr lang="fr-FR" sz="1400" dirty="0"/>
              <a:t>Mail and email Addresses</a:t>
            </a:r>
          </a:p>
          <a:p>
            <a:r>
              <a:rPr lang="fr-FR" sz="1400" dirty="0"/>
              <a:t>Delivery location (world, country, etc)</a:t>
            </a:r>
          </a:p>
          <a:p>
            <a:r>
              <a:rPr lang="fr-FR" sz="1400" dirty="0"/>
              <a:t>Contact name</a:t>
            </a:r>
          </a:p>
          <a:p>
            <a:r>
              <a:rPr lang="fr-FR" sz="1400" dirty="0"/>
              <a:t>Language</a:t>
            </a:r>
          </a:p>
          <a:p>
            <a:r>
              <a:rPr lang="fr-FR" sz="1400" dirty="0"/>
              <a:t>Password to access to Arina Network interface with Faurecia</a:t>
            </a:r>
          </a:p>
          <a:p>
            <a:r>
              <a:rPr lang="fr-FR" sz="1400" dirty="0"/>
              <a:t>All the Product/Service categories to be supplied for faurecia</a:t>
            </a:r>
          </a:p>
          <a:p>
            <a:r>
              <a:rPr lang="fr-FR" sz="1400" dirty="0"/>
              <a:t>Fiscal ID, DUNS</a:t>
            </a:r>
          </a:p>
          <a:p>
            <a:pPr marL="0" indent="0">
              <a:buNone/>
            </a:pPr>
            <a:endParaRPr lang="fr-FR" sz="1400" dirty="0"/>
          </a:p>
          <a:p>
            <a:r>
              <a:rPr lang="fr-FR" sz="1400" dirty="0"/>
              <a:t>Agree with the «  terms of use » and SAP Ariba Privacy Statement </a:t>
            </a:r>
          </a:p>
          <a:p>
            <a:pPr marL="0" indent="0">
              <a:buNone/>
            </a:pPr>
            <a:endParaRPr lang="fr-FR" sz="1400" dirty="0"/>
          </a:p>
          <a:p>
            <a:pPr marL="0" indent="0">
              <a:buNone/>
            </a:pPr>
            <a:endParaRPr lang="fr-FR" sz="1800" i="1" dirty="0"/>
          </a:p>
          <a:p>
            <a:endParaRPr lang="fr-FR" sz="1800" dirty="0"/>
          </a:p>
        </p:txBody>
      </p:sp>
      <p:sp>
        <p:nvSpPr>
          <p:cNvPr id="18" name="Espace réservé du contenu 2">
            <a:extLst>
              <a:ext uri="{FF2B5EF4-FFF2-40B4-BE49-F238E27FC236}">
                <a16:creationId xmlns:a16="http://schemas.microsoft.com/office/drawing/2014/main" id="{E5B8756C-88B3-45C0-BFF5-A3B2D7D868CD}"/>
              </a:ext>
            </a:extLst>
          </p:cNvPr>
          <p:cNvSpPr txBox="1">
            <a:spLocks/>
          </p:cNvSpPr>
          <p:nvPr/>
        </p:nvSpPr>
        <p:spPr>
          <a:xfrm>
            <a:off x="464772" y="5745138"/>
            <a:ext cx="10556273" cy="98900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lang="fr-FR" sz="1800" dirty="0"/>
              <a:t>Once completed, click at the bottom of the page : « create an account &amp; continue »</a:t>
            </a:r>
          </a:p>
          <a:p>
            <a:pPr marL="0" lvl="0" indent="0">
              <a:buClr>
                <a:srgbClr val="FA0057"/>
              </a:buClr>
              <a:buNone/>
            </a:pPr>
            <a:r>
              <a:rPr lang="fr-FR" dirty="0"/>
              <a:t> </a:t>
            </a: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20" name="Right Arrow 16">
            <a:extLst>
              <a:ext uri="{FF2B5EF4-FFF2-40B4-BE49-F238E27FC236}">
                <a16:creationId xmlns:a16="http://schemas.microsoft.com/office/drawing/2014/main" id="{5CABFD3D-9351-4FB9-BE02-5659A1216358}"/>
              </a:ext>
            </a:extLst>
          </p:cNvPr>
          <p:cNvSpPr/>
          <p:nvPr/>
        </p:nvSpPr>
        <p:spPr>
          <a:xfrm>
            <a:off x="7741448" y="2435938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ight Arrow 16">
            <a:extLst>
              <a:ext uri="{FF2B5EF4-FFF2-40B4-BE49-F238E27FC236}">
                <a16:creationId xmlns:a16="http://schemas.microsoft.com/office/drawing/2014/main" id="{7D8D7BCA-FD75-4361-A9C3-95470AC03A8F}"/>
              </a:ext>
            </a:extLst>
          </p:cNvPr>
          <p:cNvSpPr/>
          <p:nvPr/>
        </p:nvSpPr>
        <p:spPr>
          <a:xfrm>
            <a:off x="7739410" y="2773028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2" name="Right Arrow 16">
            <a:extLst>
              <a:ext uri="{FF2B5EF4-FFF2-40B4-BE49-F238E27FC236}">
                <a16:creationId xmlns:a16="http://schemas.microsoft.com/office/drawing/2014/main" id="{4FE43348-8EA4-4652-91C5-AE5FE8DD18A9}"/>
              </a:ext>
            </a:extLst>
          </p:cNvPr>
          <p:cNvSpPr/>
          <p:nvPr/>
        </p:nvSpPr>
        <p:spPr>
          <a:xfrm>
            <a:off x="7741448" y="3214348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ight Arrow 16">
            <a:extLst>
              <a:ext uri="{FF2B5EF4-FFF2-40B4-BE49-F238E27FC236}">
                <a16:creationId xmlns:a16="http://schemas.microsoft.com/office/drawing/2014/main" id="{3E4976FF-550C-4F04-A46E-F1FEB43AD792}"/>
              </a:ext>
            </a:extLst>
          </p:cNvPr>
          <p:cNvSpPr/>
          <p:nvPr/>
        </p:nvSpPr>
        <p:spPr>
          <a:xfrm>
            <a:off x="7739410" y="3565027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4" name="Right Arrow 16">
            <a:extLst>
              <a:ext uri="{FF2B5EF4-FFF2-40B4-BE49-F238E27FC236}">
                <a16:creationId xmlns:a16="http://schemas.microsoft.com/office/drawing/2014/main" id="{8C1D42D2-7760-4F65-81BC-ED692B826710}"/>
              </a:ext>
            </a:extLst>
          </p:cNvPr>
          <p:cNvSpPr/>
          <p:nvPr/>
        </p:nvSpPr>
        <p:spPr>
          <a:xfrm>
            <a:off x="7739410" y="3902320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5" name="Right Arrow 16">
            <a:extLst>
              <a:ext uri="{FF2B5EF4-FFF2-40B4-BE49-F238E27FC236}">
                <a16:creationId xmlns:a16="http://schemas.microsoft.com/office/drawing/2014/main" id="{7D4B1762-9B74-4E1F-A271-629197FBDE2E}"/>
              </a:ext>
            </a:extLst>
          </p:cNvPr>
          <p:cNvSpPr/>
          <p:nvPr/>
        </p:nvSpPr>
        <p:spPr>
          <a:xfrm>
            <a:off x="7739410" y="4325822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1444281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204210" y="503674"/>
            <a:ext cx="10556273" cy="875204"/>
          </a:xfrm>
        </p:spPr>
        <p:txBody>
          <a:bodyPr/>
          <a:lstStyle/>
          <a:p>
            <a:r>
              <a:rPr lang="pt-PT" dirty="0"/>
              <a:t>                 Registration - Step 3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6</a:t>
            </a:fld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8082F3F-4D13-42AE-A921-F028FA7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2002" y="1260699"/>
            <a:ext cx="10705788" cy="4351338"/>
          </a:xfrm>
        </p:spPr>
        <p:txBody>
          <a:bodyPr/>
          <a:lstStyle/>
          <a:p>
            <a:r>
              <a:rPr lang="fr-FR" sz="1800" b="0" dirty="0">
                <a:solidFill>
                  <a:srgbClr val="003684"/>
                </a:solidFill>
                <a:latin typeface="Calibri" panose="020F0502020204030204"/>
              </a:rPr>
              <a:t> </a:t>
            </a:r>
            <a:r>
              <a:rPr lang="fr-FR" dirty="0">
                <a:solidFill>
                  <a:srgbClr val="003684"/>
                </a:solidFill>
                <a:latin typeface="Calibri" panose="020F0502020204030204"/>
              </a:rPr>
              <a:t>You will be directed to an other form regarding General Information - Fill in all the required fields with your information</a:t>
            </a:r>
          </a:p>
          <a:p>
            <a:endParaRPr lang="fr-FR" dirty="0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B:  You </a:t>
            </a:r>
            <a:r>
              <a:rPr lang="fr-FR" sz="1800" dirty="0"/>
              <a:t>must specify address in local and latin language for deliveries</a:t>
            </a:r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6" name="Picture 3">
            <a:extLst>
              <a:ext uri="{FF2B5EF4-FFF2-40B4-BE49-F238E27FC236}">
                <a16:creationId xmlns:a16="http://schemas.microsoft.com/office/drawing/2014/main" id="{C583938B-D71A-4752-9025-0CC59D1577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1156" y="2608174"/>
            <a:ext cx="5627480" cy="34065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Right Arrow 16">
            <a:extLst>
              <a:ext uri="{FF2B5EF4-FFF2-40B4-BE49-F238E27FC236}">
                <a16:creationId xmlns:a16="http://schemas.microsoft.com/office/drawing/2014/main" id="{A57C9285-DC44-4EE5-8159-1545EE12F419}"/>
              </a:ext>
            </a:extLst>
          </p:cNvPr>
          <p:cNvSpPr/>
          <p:nvPr/>
        </p:nvSpPr>
        <p:spPr>
          <a:xfrm>
            <a:off x="2666639" y="3340639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8" name="Right Arrow 16">
            <a:extLst>
              <a:ext uri="{FF2B5EF4-FFF2-40B4-BE49-F238E27FC236}">
                <a16:creationId xmlns:a16="http://schemas.microsoft.com/office/drawing/2014/main" id="{D796519A-9CFC-4B7C-96CE-2BB24B8F4800}"/>
              </a:ext>
            </a:extLst>
          </p:cNvPr>
          <p:cNvSpPr/>
          <p:nvPr/>
        </p:nvSpPr>
        <p:spPr>
          <a:xfrm>
            <a:off x="2666639" y="3975579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Right Arrow 16">
            <a:extLst>
              <a:ext uri="{FF2B5EF4-FFF2-40B4-BE49-F238E27FC236}">
                <a16:creationId xmlns:a16="http://schemas.microsoft.com/office/drawing/2014/main" id="{361145F8-FBD6-4DAB-8B4B-9997632D2607}"/>
              </a:ext>
            </a:extLst>
          </p:cNvPr>
          <p:cNvSpPr/>
          <p:nvPr/>
        </p:nvSpPr>
        <p:spPr>
          <a:xfrm>
            <a:off x="2666639" y="4525958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Right Arrow 16">
            <a:extLst>
              <a:ext uri="{FF2B5EF4-FFF2-40B4-BE49-F238E27FC236}">
                <a16:creationId xmlns:a16="http://schemas.microsoft.com/office/drawing/2014/main" id="{56689FCB-E588-4F1E-8120-BA4227D914EB}"/>
              </a:ext>
            </a:extLst>
          </p:cNvPr>
          <p:cNvSpPr/>
          <p:nvPr/>
        </p:nvSpPr>
        <p:spPr>
          <a:xfrm>
            <a:off x="2666639" y="5214126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Right Arrow 16">
            <a:extLst>
              <a:ext uri="{FF2B5EF4-FFF2-40B4-BE49-F238E27FC236}">
                <a16:creationId xmlns:a16="http://schemas.microsoft.com/office/drawing/2014/main" id="{7AC9CA13-B6C3-40BD-898E-774CDB016427}"/>
              </a:ext>
            </a:extLst>
          </p:cNvPr>
          <p:cNvSpPr/>
          <p:nvPr/>
        </p:nvSpPr>
        <p:spPr>
          <a:xfrm>
            <a:off x="2666639" y="5869569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08150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155965" y="480187"/>
            <a:ext cx="10556273" cy="875204"/>
          </a:xfrm>
        </p:spPr>
        <p:txBody>
          <a:bodyPr/>
          <a:lstStyle/>
          <a:p>
            <a:r>
              <a:rPr lang="pt-PT" dirty="0"/>
              <a:t>                 Registration - Step 4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7</a:t>
            </a:fld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8082F3F-4D13-42AE-A921-F028FA7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06450" y="1231678"/>
            <a:ext cx="10705788" cy="4351338"/>
          </a:xfrm>
        </p:spPr>
        <p:txBody>
          <a:bodyPr/>
          <a:lstStyle/>
          <a:p>
            <a:r>
              <a:rPr lang="fr-FR" sz="1800" b="0" dirty="0">
                <a:solidFill>
                  <a:srgbClr val="003684"/>
                </a:solidFill>
                <a:latin typeface="Calibri" panose="020F0502020204030204"/>
              </a:rPr>
              <a:t> </a:t>
            </a:r>
            <a:r>
              <a:rPr lang="fr-FR" sz="1800" dirty="0"/>
              <a:t>Bank account information Form (1/3) : </a:t>
            </a:r>
            <a:r>
              <a:rPr lang="fr-FR" sz="1800" dirty="0">
                <a:solidFill>
                  <a:srgbClr val="003684"/>
                </a:solidFill>
              </a:rPr>
              <a:t>Fill in all the required fields with your information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endParaRPr lang="fr-FR" dirty="0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endParaRPr lang="fr-FR" sz="1800" dirty="0"/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4" name="Picture 2">
            <a:extLst>
              <a:ext uri="{FF2B5EF4-FFF2-40B4-BE49-F238E27FC236}">
                <a16:creationId xmlns:a16="http://schemas.microsoft.com/office/drawing/2014/main" id="{82CCAF34-B9A9-4ED5-BEFB-B651DBCC72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4222" y="1977759"/>
            <a:ext cx="8663621" cy="39175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2">
            <a:extLst>
              <a:ext uri="{FF2B5EF4-FFF2-40B4-BE49-F238E27FC236}">
                <a16:creationId xmlns:a16="http://schemas.microsoft.com/office/drawing/2014/main" id="{23A80399-9FC3-4662-822E-B34735BD07EF}"/>
              </a:ext>
            </a:extLst>
          </p:cNvPr>
          <p:cNvSpPr/>
          <p:nvPr/>
        </p:nvSpPr>
        <p:spPr>
          <a:xfrm>
            <a:off x="4267528" y="5283758"/>
            <a:ext cx="6060315" cy="584476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258718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59314" y="513918"/>
            <a:ext cx="10556273" cy="875204"/>
          </a:xfrm>
        </p:spPr>
        <p:txBody>
          <a:bodyPr/>
          <a:lstStyle/>
          <a:p>
            <a:r>
              <a:rPr lang="pt-PT" dirty="0"/>
              <a:t>Registration - Step 5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8</a:t>
            </a:fld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8082F3F-4D13-42AE-A921-F028FA7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9422" y="922892"/>
            <a:ext cx="10705788" cy="4351338"/>
          </a:xfrm>
        </p:spPr>
        <p:txBody>
          <a:bodyPr/>
          <a:lstStyle/>
          <a:p>
            <a:r>
              <a:rPr lang="fr-FR" sz="1800" b="0" dirty="0">
                <a:solidFill>
                  <a:srgbClr val="003684"/>
                </a:solidFill>
                <a:latin typeface="Calibri" panose="020F0502020204030204"/>
              </a:rPr>
              <a:t> </a:t>
            </a:r>
            <a:r>
              <a:rPr lang="fr-FR" sz="1800" dirty="0"/>
              <a:t>Bank account information Form (2/3): </a:t>
            </a:r>
            <a:r>
              <a:rPr lang="fr-FR" sz="1800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endParaRPr lang="fr-FR" sz="1800" dirty="0"/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5730C3B8-3326-47EE-8C4C-2FD810398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419" y="1885678"/>
            <a:ext cx="8871307" cy="4766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2">
            <a:extLst>
              <a:ext uri="{FF2B5EF4-FFF2-40B4-BE49-F238E27FC236}">
                <a16:creationId xmlns:a16="http://schemas.microsoft.com/office/drawing/2014/main" id="{23A80399-9FC3-4662-822E-B34735BD07EF}"/>
              </a:ext>
            </a:extLst>
          </p:cNvPr>
          <p:cNvSpPr/>
          <p:nvPr/>
        </p:nvSpPr>
        <p:spPr>
          <a:xfrm>
            <a:off x="8372844" y="1885678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unded Rectangle 2">
            <a:extLst>
              <a:ext uri="{FF2B5EF4-FFF2-40B4-BE49-F238E27FC236}">
                <a16:creationId xmlns:a16="http://schemas.microsoft.com/office/drawing/2014/main" id="{E86F517D-D80A-4AEC-8914-0901695917F1}"/>
              </a:ext>
            </a:extLst>
          </p:cNvPr>
          <p:cNvSpPr/>
          <p:nvPr/>
        </p:nvSpPr>
        <p:spPr>
          <a:xfrm>
            <a:off x="1019422" y="6065295"/>
            <a:ext cx="2827555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BE6588F2-0D11-42DC-8982-36FCD105EC89}"/>
              </a:ext>
            </a:extLst>
          </p:cNvPr>
          <p:cNvSpPr/>
          <p:nvPr/>
        </p:nvSpPr>
        <p:spPr>
          <a:xfrm>
            <a:off x="6931289" y="4581063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C7FCC356-5513-4215-BC5C-DF121087527A}"/>
              </a:ext>
            </a:extLst>
          </p:cNvPr>
          <p:cNvSpPr txBox="1">
            <a:spLocks/>
          </p:cNvSpPr>
          <p:nvPr/>
        </p:nvSpPr>
        <p:spPr>
          <a:xfrm>
            <a:off x="1795524" y="756098"/>
            <a:ext cx="9053944" cy="2057114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23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Click on “Add Bank Usage / </a:t>
            </a:r>
            <a:r>
              <a:rPr lang="en-US" sz="1600" dirty="0">
                <a:solidFill>
                  <a:srgbClr val="003684"/>
                </a:solidFill>
              </a:rPr>
              <a:t>Faurecia countries”button 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1)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Then fill required information 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2)</a:t>
            </a:r>
          </a:p>
          <a:p>
            <a:pPr lvl="0">
              <a:buClr>
                <a:srgbClr val="FA0057"/>
              </a:buClr>
            </a:pPr>
            <a:r>
              <a:rPr lang="en-US" sz="1600" dirty="0">
                <a:solidFill>
                  <a:schemeClr val="bg2"/>
                </a:solidFill>
              </a:rPr>
              <a:t> </a:t>
            </a:r>
            <a:r>
              <a:rPr lang="en-US" sz="1600" dirty="0">
                <a:solidFill>
                  <a:srgbClr val="003684"/>
                </a:solidFill>
              </a:rPr>
              <a:t>Then click on “OK” button when completed  </a:t>
            </a:r>
            <a:r>
              <a:rPr lang="en-US" sz="1600" dirty="0">
                <a:solidFill>
                  <a:schemeClr val="bg2"/>
                </a:solidFill>
              </a:rPr>
              <a:t>(3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286A5523-09E3-438B-A214-57BF5D9D51B4}"/>
              </a:ext>
            </a:extLst>
          </p:cNvPr>
          <p:cNvSpPr txBox="1"/>
          <p:nvPr/>
        </p:nvSpPr>
        <p:spPr>
          <a:xfrm>
            <a:off x="3952865" y="6094755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BDA068C5-2804-45E7-8122-A45B0B2B5650}"/>
              </a:ext>
            </a:extLst>
          </p:cNvPr>
          <p:cNvSpPr txBox="1"/>
          <p:nvPr/>
        </p:nvSpPr>
        <p:spPr>
          <a:xfrm>
            <a:off x="10952350" y="1948377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b="1" dirty="0">
                <a:solidFill>
                  <a:srgbClr val="FF0000"/>
                </a:solidFill>
                <a:latin typeface="Calibri" panose="020F0502020204030204"/>
              </a:rPr>
              <a:t>3</a:t>
            </a:r>
            <a:endParaRPr kumimoji="0" lang="pt-PT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27739B4C-3F67-46C2-AB6C-1EFBD43BBC2B}"/>
              </a:ext>
            </a:extLst>
          </p:cNvPr>
          <p:cNvSpPr txBox="1"/>
          <p:nvPr/>
        </p:nvSpPr>
        <p:spPr>
          <a:xfrm>
            <a:off x="9527949" y="4708692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764552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59314" y="513918"/>
            <a:ext cx="10556273" cy="875204"/>
          </a:xfrm>
        </p:spPr>
        <p:txBody>
          <a:bodyPr/>
          <a:lstStyle/>
          <a:p>
            <a:r>
              <a:rPr lang="pt-PT" dirty="0"/>
              <a:t>Registration - Step 5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19</a:t>
            </a:fld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8082F3F-4D13-42AE-A921-F028FA7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9422" y="922892"/>
            <a:ext cx="10705788" cy="4351338"/>
          </a:xfrm>
        </p:spPr>
        <p:txBody>
          <a:bodyPr/>
          <a:lstStyle/>
          <a:p>
            <a:r>
              <a:rPr lang="fr-FR" sz="1800" b="0" dirty="0">
                <a:solidFill>
                  <a:srgbClr val="003684"/>
                </a:solidFill>
                <a:latin typeface="Calibri" panose="020F0502020204030204"/>
              </a:rPr>
              <a:t> </a:t>
            </a:r>
            <a:r>
              <a:rPr lang="fr-FR" sz="1800" dirty="0"/>
              <a:t>Bank account information Form (2/3): </a:t>
            </a:r>
            <a:r>
              <a:rPr lang="fr-FR" sz="1800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endParaRPr lang="fr-FR" sz="1800" dirty="0"/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0" name="Picture 3">
            <a:extLst>
              <a:ext uri="{FF2B5EF4-FFF2-40B4-BE49-F238E27FC236}">
                <a16:creationId xmlns:a16="http://schemas.microsoft.com/office/drawing/2014/main" id="{5730C3B8-3326-47EE-8C4C-2FD81039850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2419" y="1885678"/>
            <a:ext cx="8871307" cy="4766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Rounded Rectangle 2">
            <a:extLst>
              <a:ext uri="{FF2B5EF4-FFF2-40B4-BE49-F238E27FC236}">
                <a16:creationId xmlns:a16="http://schemas.microsoft.com/office/drawing/2014/main" id="{23A80399-9FC3-4662-822E-B34735BD07EF}"/>
              </a:ext>
            </a:extLst>
          </p:cNvPr>
          <p:cNvSpPr/>
          <p:nvPr/>
        </p:nvSpPr>
        <p:spPr>
          <a:xfrm>
            <a:off x="8372844" y="1885678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ounded Rectangle 2">
            <a:extLst>
              <a:ext uri="{FF2B5EF4-FFF2-40B4-BE49-F238E27FC236}">
                <a16:creationId xmlns:a16="http://schemas.microsoft.com/office/drawing/2014/main" id="{E86F517D-D80A-4AEC-8914-0901695917F1}"/>
              </a:ext>
            </a:extLst>
          </p:cNvPr>
          <p:cNvSpPr/>
          <p:nvPr/>
        </p:nvSpPr>
        <p:spPr>
          <a:xfrm>
            <a:off x="1019422" y="6065295"/>
            <a:ext cx="2827555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" name="Rounded Rectangle 2">
            <a:extLst>
              <a:ext uri="{FF2B5EF4-FFF2-40B4-BE49-F238E27FC236}">
                <a16:creationId xmlns:a16="http://schemas.microsoft.com/office/drawing/2014/main" id="{BE6588F2-0D11-42DC-8982-36FCD105EC89}"/>
              </a:ext>
            </a:extLst>
          </p:cNvPr>
          <p:cNvSpPr/>
          <p:nvPr/>
        </p:nvSpPr>
        <p:spPr>
          <a:xfrm>
            <a:off x="6931289" y="4581063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C7FCC356-5513-4215-BC5C-DF121087527A}"/>
              </a:ext>
            </a:extLst>
          </p:cNvPr>
          <p:cNvSpPr txBox="1">
            <a:spLocks/>
          </p:cNvSpPr>
          <p:nvPr/>
        </p:nvSpPr>
        <p:spPr>
          <a:xfrm>
            <a:off x="1795524" y="756098"/>
            <a:ext cx="9053944" cy="2057114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23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Click on “Add Bank Usage / </a:t>
            </a:r>
            <a:r>
              <a:rPr lang="en-US" sz="1600" dirty="0">
                <a:solidFill>
                  <a:srgbClr val="003684"/>
                </a:solidFill>
              </a:rPr>
              <a:t>Faurecia countries”button 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1)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Then fill required information 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(2)</a:t>
            </a:r>
          </a:p>
          <a:p>
            <a:pPr lvl="0">
              <a:buClr>
                <a:srgbClr val="FA0057"/>
              </a:buClr>
            </a:pPr>
            <a:r>
              <a:rPr lang="en-US" sz="1600" dirty="0">
                <a:solidFill>
                  <a:schemeClr val="bg2"/>
                </a:solidFill>
              </a:rPr>
              <a:t> </a:t>
            </a:r>
            <a:r>
              <a:rPr lang="en-US" sz="1600" dirty="0">
                <a:solidFill>
                  <a:srgbClr val="003684"/>
                </a:solidFill>
              </a:rPr>
              <a:t>Then click on “OK” button when completed  </a:t>
            </a:r>
            <a:r>
              <a:rPr lang="en-US" sz="1600" dirty="0">
                <a:solidFill>
                  <a:schemeClr val="bg2"/>
                </a:solidFill>
              </a:rPr>
              <a:t>(3)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6" name="TextBox 5">
            <a:extLst>
              <a:ext uri="{FF2B5EF4-FFF2-40B4-BE49-F238E27FC236}">
                <a16:creationId xmlns:a16="http://schemas.microsoft.com/office/drawing/2014/main" id="{286A5523-09E3-438B-A214-57BF5D9D51B4}"/>
              </a:ext>
            </a:extLst>
          </p:cNvPr>
          <p:cNvSpPr txBox="1"/>
          <p:nvPr/>
        </p:nvSpPr>
        <p:spPr>
          <a:xfrm>
            <a:off x="3952865" y="6094755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</a:p>
        </p:txBody>
      </p:sp>
      <p:sp>
        <p:nvSpPr>
          <p:cNvPr id="17" name="TextBox 5">
            <a:extLst>
              <a:ext uri="{FF2B5EF4-FFF2-40B4-BE49-F238E27FC236}">
                <a16:creationId xmlns:a16="http://schemas.microsoft.com/office/drawing/2014/main" id="{BDA068C5-2804-45E7-8122-A45B0B2B5650}"/>
              </a:ext>
            </a:extLst>
          </p:cNvPr>
          <p:cNvSpPr txBox="1"/>
          <p:nvPr/>
        </p:nvSpPr>
        <p:spPr>
          <a:xfrm>
            <a:off x="10952350" y="1948377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 sz="2000" b="1" dirty="0">
                <a:solidFill>
                  <a:srgbClr val="FF0000"/>
                </a:solidFill>
                <a:latin typeface="Calibri" panose="020F0502020204030204"/>
              </a:rPr>
              <a:t>3</a:t>
            </a:r>
            <a:endParaRPr kumimoji="0" lang="pt-PT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8" name="TextBox 5">
            <a:extLst>
              <a:ext uri="{FF2B5EF4-FFF2-40B4-BE49-F238E27FC236}">
                <a16:creationId xmlns:a16="http://schemas.microsoft.com/office/drawing/2014/main" id="{27739B4C-3F67-46C2-AB6C-1EFBD43BBC2B}"/>
              </a:ext>
            </a:extLst>
          </p:cNvPr>
          <p:cNvSpPr txBox="1"/>
          <p:nvPr/>
        </p:nvSpPr>
        <p:spPr>
          <a:xfrm>
            <a:off x="9527949" y="4708692"/>
            <a:ext cx="4646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7560420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2003" y="0"/>
            <a:ext cx="11635679" cy="875204"/>
          </a:xfrm>
        </p:spPr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>
                <a:solidFill>
                  <a:srgbClr val="003684"/>
                </a:solidFill>
              </a:rPr>
              <a:pPr/>
              <a:t>2</a:t>
            </a:fld>
            <a:endParaRPr lang="en-US" dirty="0">
              <a:solidFill>
                <a:srgbClr val="003684"/>
              </a:solidFill>
            </a:endParaRPr>
          </a:p>
        </p:txBody>
      </p:sp>
      <p:grpSp>
        <p:nvGrpSpPr>
          <p:cNvPr id="9" name="Groupe 12"/>
          <p:cNvGrpSpPr/>
          <p:nvPr/>
        </p:nvGrpSpPr>
        <p:grpSpPr>
          <a:xfrm>
            <a:off x="2089144" y="2708026"/>
            <a:ext cx="8013703" cy="1167639"/>
            <a:chOff x="1031078" y="2541748"/>
            <a:chExt cx="10090575" cy="659625"/>
          </a:xfrm>
        </p:grpSpPr>
        <p:sp>
          <p:nvSpPr>
            <p:cNvPr id="10" name="Rectangle 9"/>
            <p:cNvSpPr/>
            <p:nvPr/>
          </p:nvSpPr>
          <p:spPr>
            <a:xfrm>
              <a:off x="2014777" y="2548101"/>
              <a:ext cx="9106876" cy="653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>
                <a:tabLst>
                  <a:tab pos="4394200" algn="l"/>
                </a:tabLst>
              </a:pPr>
              <a:r>
                <a:rPr lang="en-US" b="1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How to use interactive email</a:t>
              </a:r>
            </a:p>
            <a:p>
              <a:pPr>
                <a:tabLst>
                  <a:tab pos="4394200" algn="l"/>
                </a:tabLst>
              </a:pPr>
              <a:r>
                <a:rPr lang="en-US" b="1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</a:t>
              </a: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- Send order confirmation</a:t>
              </a:r>
            </a:p>
            <a:p>
              <a:pPr>
                <a:tabLst>
                  <a:tab pos="4394200" algn="l"/>
                </a:tabLst>
              </a:pP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 - Create shipment notice</a:t>
              </a:r>
            </a:p>
            <a:p>
              <a:pPr>
                <a:tabLst>
                  <a:tab pos="4394200" algn="l"/>
                </a:tabLst>
              </a:pP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 - Create invoice</a:t>
              </a:r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031078" y="2541748"/>
              <a:ext cx="800692" cy="36590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algn="ctr"/>
              <a:r>
                <a:rPr lang="fr-FR" sz="24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2</a:t>
              </a:r>
              <a:endParaRPr lang="en-US" sz="24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2" name="Groupe 15"/>
          <p:cNvGrpSpPr/>
          <p:nvPr/>
        </p:nvGrpSpPr>
        <p:grpSpPr>
          <a:xfrm>
            <a:off x="2089151" y="4190753"/>
            <a:ext cx="8013698" cy="653272"/>
            <a:chOff x="1031086" y="4434551"/>
            <a:chExt cx="10090568" cy="653272"/>
          </a:xfrm>
        </p:grpSpPr>
        <p:sp>
          <p:nvSpPr>
            <p:cNvPr id="13" name="Rectangle 12"/>
            <p:cNvSpPr/>
            <p:nvPr/>
          </p:nvSpPr>
          <p:spPr>
            <a:xfrm>
              <a:off x="2014778" y="4434551"/>
              <a:ext cx="9106876" cy="653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>
                <a:tabLst>
                  <a:tab pos="4394200" algn="l"/>
                </a:tabLst>
              </a:pPr>
              <a:r>
                <a:rPr lang="en-US" b="1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How to get support</a:t>
              </a:r>
              <a:endParaRPr lang="en-US" dirty="0">
                <a:solidFill>
                  <a:srgbClr val="003684"/>
                </a:solidFill>
                <a:latin typeface="Calibri" panose="020F0502020204030204"/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031086" y="4434551"/>
              <a:ext cx="800692" cy="653272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algn="ctr"/>
              <a:r>
                <a:rPr lang="fr-FR" sz="24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3</a:t>
              </a:r>
              <a:endParaRPr lang="en-US" sz="24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5" name="Groupe 12">
            <a:extLst>
              <a:ext uri="{FF2B5EF4-FFF2-40B4-BE49-F238E27FC236}">
                <a16:creationId xmlns:a16="http://schemas.microsoft.com/office/drawing/2014/main" id="{8CF5092D-D80D-4551-BBAC-68BE4E30D40E}"/>
              </a:ext>
            </a:extLst>
          </p:cNvPr>
          <p:cNvGrpSpPr/>
          <p:nvPr/>
        </p:nvGrpSpPr>
        <p:grpSpPr>
          <a:xfrm>
            <a:off x="2089144" y="1190291"/>
            <a:ext cx="8013703" cy="1156393"/>
            <a:chOff x="1031078" y="2548101"/>
            <a:chExt cx="10090575" cy="653272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0A96799-35B0-44DC-BE18-B0F57078AB3C}"/>
                </a:ext>
              </a:extLst>
            </p:cNvPr>
            <p:cNvSpPr/>
            <p:nvPr/>
          </p:nvSpPr>
          <p:spPr>
            <a:xfrm>
              <a:off x="2014777" y="2548101"/>
              <a:ext cx="9106876" cy="653272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88000" tIns="72000" bIns="72000" rtlCol="0" anchor="ctr"/>
            <a:lstStyle/>
            <a:p>
              <a:pPr>
                <a:tabLst>
                  <a:tab pos="4394200" algn="l"/>
                </a:tabLst>
              </a:pPr>
              <a:r>
                <a:rPr lang="en-US" b="1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How to register</a:t>
              </a:r>
            </a:p>
            <a:p>
              <a:pPr>
                <a:tabLst>
                  <a:tab pos="4394200" algn="l"/>
                </a:tabLst>
              </a:pPr>
              <a:r>
                <a:rPr lang="en-US" b="1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</a:t>
              </a: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- Registration from a PO</a:t>
              </a:r>
            </a:p>
            <a:p>
              <a:pPr>
                <a:tabLst>
                  <a:tab pos="4394200" algn="l"/>
                </a:tabLst>
              </a:pP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 - Registration from a Buyer Invitation</a:t>
              </a:r>
            </a:p>
            <a:p>
              <a:pPr>
                <a:tabLst>
                  <a:tab pos="4394200" algn="l"/>
                </a:tabLst>
              </a:pPr>
              <a:r>
                <a:rPr lang="en-US" sz="1600" dirty="0">
                  <a:solidFill>
                    <a:srgbClr val="003684"/>
                  </a:solidFill>
                  <a:latin typeface="Century Gothic" panose="020B0502020202020204" pitchFamily="34" charset="0"/>
                </a:rPr>
                <a:t>         - Qualification questionnaire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FF8172F9-D1BC-46A8-ACC4-258320827A6C}"/>
                </a:ext>
              </a:extLst>
            </p:cNvPr>
            <p:cNvSpPr/>
            <p:nvPr/>
          </p:nvSpPr>
          <p:spPr>
            <a:xfrm>
              <a:off x="1031078" y="2548101"/>
              <a:ext cx="800692" cy="365901"/>
            </a:xfrm>
            <a:prstGeom prst="rect">
              <a:avLst/>
            </a:prstGeom>
            <a:solidFill>
              <a:schemeClr val="bg2"/>
            </a:solidFill>
            <a:ln w="9525">
              <a:solidFill>
                <a:schemeClr val="bg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72000" bIns="72000" rtlCol="0" anchor="ctr"/>
            <a:lstStyle/>
            <a:p>
              <a:pPr algn="ctr"/>
              <a:r>
                <a:rPr lang="fr-FR" sz="2400" dirty="0">
                  <a:solidFill>
                    <a:srgbClr val="FFFFFF"/>
                  </a:solidFill>
                  <a:latin typeface="Century Gothic" panose="020B0502020202020204" pitchFamily="34" charset="0"/>
                </a:rPr>
                <a:t>1</a:t>
              </a:r>
              <a:endParaRPr lang="en-US" sz="2400" dirty="0">
                <a:solidFill>
                  <a:srgbClr val="FFFFFF"/>
                </a:solidFill>
                <a:latin typeface="Century Gothic" panose="020B0502020202020204" pitchFamily="34" charset="0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08147714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659314" y="513918"/>
            <a:ext cx="10556273" cy="875204"/>
          </a:xfrm>
        </p:spPr>
        <p:txBody>
          <a:bodyPr/>
          <a:lstStyle/>
          <a:p>
            <a:r>
              <a:rPr lang="pt-PT" dirty="0"/>
              <a:t>Registration - Step 6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fld id="{233B3670-7CFA-4AE8-BD91-982E0BBFB5F8}" type="slidenum">
              <a:rPr lang="fr-FR" smtClean="0"/>
              <a:pPr/>
              <a:t>20</a:t>
            </a:fld>
            <a:endParaRPr lang="fr-FR" dirty="0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8082F3F-4D13-42AE-A921-F028FA725B0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019422" y="922892"/>
            <a:ext cx="10705788" cy="4351338"/>
          </a:xfrm>
        </p:spPr>
        <p:txBody>
          <a:bodyPr/>
          <a:lstStyle/>
          <a:p>
            <a:r>
              <a:rPr lang="fr-FR" sz="1800" b="0" dirty="0">
                <a:solidFill>
                  <a:srgbClr val="003684"/>
                </a:solidFill>
                <a:latin typeface="Calibri" panose="020F0502020204030204"/>
              </a:rPr>
              <a:t> </a:t>
            </a:r>
            <a:r>
              <a:rPr lang="fr-FR" sz="1800" dirty="0"/>
              <a:t>Bank account information Form (3/3): </a:t>
            </a:r>
            <a:r>
              <a:rPr lang="fr-FR" sz="1800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>
                <a:solidFill>
                  <a:srgbClr val="003684"/>
                </a:solidFill>
              </a:rPr>
              <a:t> </a:t>
            </a:r>
          </a:p>
          <a:p>
            <a:pPr marL="0" indent="0">
              <a:buNone/>
            </a:pPr>
            <a:r>
              <a:rPr lang="fr-FR" dirty="0"/>
              <a:t> </a:t>
            </a:r>
          </a:p>
          <a:p>
            <a:pPr marL="0" indent="0">
              <a:buNone/>
            </a:pPr>
            <a:endParaRPr lang="fr-FR" dirty="0"/>
          </a:p>
          <a:p>
            <a:pPr marL="0" indent="0">
              <a:buNone/>
            </a:pPr>
            <a:endParaRPr lang="fr-FR" dirty="0"/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endParaRPr lang="fr-FR" sz="1800" dirty="0"/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3" name="Espace réservé du contenu 2">
            <a:extLst>
              <a:ext uri="{FF2B5EF4-FFF2-40B4-BE49-F238E27FC236}">
                <a16:creationId xmlns:a16="http://schemas.microsoft.com/office/drawing/2014/main" id="{C7FCC356-5513-4215-BC5C-DF121087527A}"/>
              </a:ext>
            </a:extLst>
          </p:cNvPr>
          <p:cNvSpPr txBox="1">
            <a:spLocks/>
          </p:cNvSpPr>
          <p:nvPr/>
        </p:nvSpPr>
        <p:spPr>
          <a:xfrm>
            <a:off x="1447366" y="613003"/>
            <a:ext cx="9053944" cy="2057114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lvl="0">
              <a:buClr>
                <a:srgbClr val="FA0057"/>
              </a:buClr>
            </a:pPr>
            <a:r>
              <a:rPr lang="en-US" sz="1600" dirty="0">
                <a:solidFill>
                  <a:schemeClr val="bg2"/>
                </a:solidFill>
              </a:rPr>
              <a:t> </a:t>
            </a:r>
            <a:r>
              <a:rPr lang="en-US" sz="1600" dirty="0">
                <a:solidFill>
                  <a:srgbClr val="003684"/>
                </a:solidFill>
              </a:rPr>
              <a:t>Click on “OK” button when completed  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26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20" name="Picture 2">
            <a:extLst>
              <a:ext uri="{FF2B5EF4-FFF2-40B4-BE49-F238E27FC236}">
                <a16:creationId xmlns:a16="http://schemas.microsoft.com/office/drawing/2014/main" id="{80EF2A49-D752-4726-8D86-F9E56CC258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30238" y="1791598"/>
            <a:ext cx="8665369" cy="5038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ounded Rectangle 2">
            <a:extLst>
              <a:ext uri="{FF2B5EF4-FFF2-40B4-BE49-F238E27FC236}">
                <a16:creationId xmlns:a16="http://schemas.microsoft.com/office/drawing/2014/main" id="{575C37C8-703C-4A51-8A84-7D551CCC2898}"/>
              </a:ext>
            </a:extLst>
          </p:cNvPr>
          <p:cNvSpPr/>
          <p:nvPr/>
        </p:nvSpPr>
        <p:spPr>
          <a:xfrm>
            <a:off x="8498635" y="1735570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8077557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>
            <a:extLst>
              <a:ext uri="{FF2B5EF4-FFF2-40B4-BE49-F238E27FC236}">
                <a16:creationId xmlns:a16="http://schemas.microsoft.com/office/drawing/2014/main" id="{D36395DB-DDC7-40C0-99AD-B33DF97D4FA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530238" y="147474"/>
            <a:ext cx="719390" cy="646232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434462" y="498216"/>
            <a:ext cx="10556273" cy="875204"/>
          </a:xfrm>
        </p:spPr>
        <p:txBody>
          <a:bodyPr/>
          <a:lstStyle/>
          <a:p>
            <a:r>
              <a:rPr lang="pt-PT" dirty="0"/>
              <a:t>Registration - Step 7</a:t>
            </a:r>
            <a:br>
              <a:rPr lang="pt-PT" dirty="0"/>
            </a:br>
            <a:r>
              <a:rPr lang="pt-PT" dirty="0"/>
              <a:t>                 </a:t>
            </a:r>
            <a:r>
              <a:rPr lang="pt-PT" sz="2200" dirty="0"/>
              <a:t>   </a:t>
            </a:r>
            <a:br>
              <a:rPr lang="pt-PT" dirty="0"/>
            </a:br>
            <a:br>
              <a:rPr lang="pt-PT" dirty="0"/>
            </a:br>
            <a:endParaRPr lang="fr-FR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 </a:t>
            </a: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5996034" y="6425619"/>
            <a:ext cx="199935" cy="226591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fr-FR" sz="1000" b="0" i="0" u="none" strike="noStrike" kern="1200" cap="none" spc="0" normalizeH="0" baseline="0" noProof="0" smtClean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fr-FR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9" name="Espace réservé du contenu 2">
            <a:extLst>
              <a:ext uri="{FF2B5EF4-FFF2-40B4-BE49-F238E27FC236}">
                <a16:creationId xmlns:a16="http://schemas.microsoft.com/office/drawing/2014/main" id="{3A44247D-B66D-4FCA-8680-1F8362FAABC7}"/>
              </a:ext>
            </a:extLst>
          </p:cNvPr>
          <p:cNvSpPr txBox="1">
            <a:spLocks/>
          </p:cNvSpPr>
          <p:nvPr/>
        </p:nvSpPr>
        <p:spPr>
          <a:xfrm>
            <a:off x="717897" y="1954931"/>
            <a:ext cx="10556273" cy="787112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endParaRPr kumimoji="0" lang="fr-FR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fr-FR" sz="18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A0057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FA0057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Espace réservé du contenu 6">
            <a:extLst>
              <a:ext uri="{FF2B5EF4-FFF2-40B4-BE49-F238E27FC236}">
                <a16:creationId xmlns:a16="http://schemas.microsoft.com/office/drawing/2014/main" id="{8EDCB7F3-FC89-4D6A-9CC4-D8DB4998B86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1923" y="2231619"/>
            <a:ext cx="9326693" cy="4351338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82503BEB-FF07-416E-BD8E-E796B11225D0}"/>
              </a:ext>
            </a:extLst>
          </p:cNvPr>
          <p:cNvSpPr txBox="1">
            <a:spLocks/>
          </p:cNvSpPr>
          <p:nvPr/>
        </p:nvSpPr>
        <p:spPr>
          <a:xfrm>
            <a:off x="401923" y="1077929"/>
            <a:ext cx="10556273" cy="875204"/>
          </a:xfrm>
          <a:prstGeom prst="rect">
            <a:avLst/>
          </a:prstGeom>
        </p:spPr>
        <p:txBody>
          <a:bodyPr vert="horz" lIns="0" tIns="36000" rIns="0" bIns="36000" rtlCol="0">
            <a:no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>
                <a:srgbClr val="FA0057"/>
              </a:buClr>
            </a:pPr>
            <a:r>
              <a:rPr lang="fr-FR" sz="1800" dirty="0"/>
              <a:t>  Fill in all the required fields with your information</a:t>
            </a:r>
          </a:p>
          <a:p>
            <a:pPr lvl="0">
              <a:buClr>
                <a:srgbClr val="FA0057"/>
              </a:buClr>
            </a:pPr>
            <a:r>
              <a:rPr lang="fr-FR" sz="1800" dirty="0"/>
              <a:t>  Verify and click on « Submit » Button  </a:t>
            </a:r>
          </a:p>
          <a:p>
            <a:pPr marL="0" lvl="0" indent="0">
              <a:buClr>
                <a:srgbClr val="FA0057"/>
              </a:buClr>
              <a:buNone/>
            </a:pPr>
            <a:r>
              <a:rPr lang="fr-FR" sz="1800" dirty="0"/>
              <a:t>  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         </a:t>
            </a: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4CACE51F-4A3A-4F67-9C03-B35DBA3C85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1923" y="2136168"/>
            <a:ext cx="10178709" cy="40363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7" name="Rounded Rectangle 2">
            <a:extLst>
              <a:ext uri="{FF2B5EF4-FFF2-40B4-BE49-F238E27FC236}">
                <a16:creationId xmlns:a16="http://schemas.microsoft.com/office/drawing/2014/main" id="{842F662B-90F4-4B6E-B1FA-1364BE1D05FE}"/>
              </a:ext>
            </a:extLst>
          </p:cNvPr>
          <p:cNvSpPr/>
          <p:nvPr/>
        </p:nvSpPr>
        <p:spPr>
          <a:xfrm>
            <a:off x="263525" y="5644730"/>
            <a:ext cx="3064291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173251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 Registration Complete!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 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5996034" y="6431656"/>
            <a:ext cx="259188" cy="21120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2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1731298" y="1606378"/>
            <a:ext cx="8710220" cy="4305094"/>
            <a:chOff x="397420" y="1374406"/>
            <a:chExt cx="8279921" cy="4759552"/>
          </a:xfrm>
          <a:solidFill>
            <a:srgbClr val="AEC9E8"/>
          </a:solidFill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3857342" y="3536138"/>
              <a:ext cx="204371" cy="218764"/>
            </a:xfrm>
            <a:custGeom>
              <a:avLst/>
              <a:gdLst>
                <a:gd name="T0" fmla="*/ 139 w 142"/>
                <a:gd name="T1" fmla="*/ 7 h 152"/>
                <a:gd name="T2" fmla="*/ 142 w 142"/>
                <a:gd name="T3" fmla="*/ 0 h 152"/>
                <a:gd name="T4" fmla="*/ 129 w 142"/>
                <a:gd name="T5" fmla="*/ 0 h 152"/>
                <a:gd name="T6" fmla="*/ 82 w 142"/>
                <a:gd name="T7" fmla="*/ 0 h 152"/>
                <a:gd name="T8" fmla="*/ 77 w 142"/>
                <a:gd name="T9" fmla="*/ 10 h 152"/>
                <a:gd name="T10" fmla="*/ 55 w 142"/>
                <a:gd name="T11" fmla="*/ 7 h 152"/>
                <a:gd name="T12" fmla="*/ 52 w 142"/>
                <a:gd name="T13" fmla="*/ 30 h 152"/>
                <a:gd name="T14" fmla="*/ 45 w 142"/>
                <a:gd name="T15" fmla="*/ 42 h 152"/>
                <a:gd name="T16" fmla="*/ 30 w 142"/>
                <a:gd name="T17" fmla="*/ 50 h 152"/>
                <a:gd name="T18" fmla="*/ 22 w 142"/>
                <a:gd name="T19" fmla="*/ 57 h 152"/>
                <a:gd name="T20" fmla="*/ 22 w 142"/>
                <a:gd name="T21" fmla="*/ 82 h 152"/>
                <a:gd name="T22" fmla="*/ 12 w 142"/>
                <a:gd name="T23" fmla="*/ 84 h 152"/>
                <a:gd name="T24" fmla="*/ 15 w 142"/>
                <a:gd name="T25" fmla="*/ 97 h 152"/>
                <a:gd name="T26" fmla="*/ 7 w 142"/>
                <a:gd name="T27" fmla="*/ 104 h 152"/>
                <a:gd name="T28" fmla="*/ 0 w 142"/>
                <a:gd name="T29" fmla="*/ 122 h 152"/>
                <a:gd name="T30" fmla="*/ 2 w 142"/>
                <a:gd name="T31" fmla="*/ 147 h 152"/>
                <a:gd name="T32" fmla="*/ 10 w 142"/>
                <a:gd name="T33" fmla="*/ 149 h 152"/>
                <a:gd name="T34" fmla="*/ 35 w 142"/>
                <a:gd name="T35" fmla="*/ 152 h 152"/>
                <a:gd name="T36" fmla="*/ 50 w 142"/>
                <a:gd name="T37" fmla="*/ 152 h 152"/>
                <a:gd name="T38" fmla="*/ 52 w 142"/>
                <a:gd name="T39" fmla="*/ 127 h 152"/>
                <a:gd name="T40" fmla="*/ 57 w 142"/>
                <a:gd name="T41" fmla="*/ 112 h 152"/>
                <a:gd name="T42" fmla="*/ 67 w 142"/>
                <a:gd name="T43" fmla="*/ 102 h 152"/>
                <a:gd name="T44" fmla="*/ 82 w 142"/>
                <a:gd name="T45" fmla="*/ 107 h 152"/>
                <a:gd name="T46" fmla="*/ 82 w 142"/>
                <a:gd name="T47" fmla="*/ 47 h 152"/>
                <a:gd name="T48" fmla="*/ 124 w 142"/>
                <a:gd name="T49" fmla="*/ 42 h 152"/>
                <a:gd name="T50" fmla="*/ 134 w 142"/>
                <a:gd name="T51" fmla="*/ 32 h 152"/>
                <a:gd name="T52" fmla="*/ 139 w 142"/>
                <a:gd name="T53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2" h="152">
                  <a:moveTo>
                    <a:pt x="139" y="7"/>
                  </a:moveTo>
                  <a:lnTo>
                    <a:pt x="142" y="0"/>
                  </a:lnTo>
                  <a:lnTo>
                    <a:pt x="129" y="0"/>
                  </a:lnTo>
                  <a:lnTo>
                    <a:pt x="82" y="0"/>
                  </a:lnTo>
                  <a:lnTo>
                    <a:pt x="77" y="10"/>
                  </a:lnTo>
                  <a:lnTo>
                    <a:pt x="55" y="7"/>
                  </a:lnTo>
                  <a:lnTo>
                    <a:pt x="52" y="30"/>
                  </a:lnTo>
                  <a:lnTo>
                    <a:pt x="45" y="42"/>
                  </a:lnTo>
                  <a:lnTo>
                    <a:pt x="30" y="50"/>
                  </a:lnTo>
                  <a:lnTo>
                    <a:pt x="22" y="57"/>
                  </a:lnTo>
                  <a:lnTo>
                    <a:pt x="22" y="82"/>
                  </a:lnTo>
                  <a:lnTo>
                    <a:pt x="12" y="84"/>
                  </a:lnTo>
                  <a:lnTo>
                    <a:pt x="15" y="97"/>
                  </a:lnTo>
                  <a:lnTo>
                    <a:pt x="7" y="104"/>
                  </a:lnTo>
                  <a:lnTo>
                    <a:pt x="0" y="122"/>
                  </a:lnTo>
                  <a:lnTo>
                    <a:pt x="2" y="147"/>
                  </a:lnTo>
                  <a:lnTo>
                    <a:pt x="10" y="149"/>
                  </a:lnTo>
                  <a:lnTo>
                    <a:pt x="35" y="152"/>
                  </a:lnTo>
                  <a:lnTo>
                    <a:pt x="50" y="152"/>
                  </a:lnTo>
                  <a:lnTo>
                    <a:pt x="52" y="127"/>
                  </a:lnTo>
                  <a:lnTo>
                    <a:pt x="57" y="112"/>
                  </a:lnTo>
                  <a:lnTo>
                    <a:pt x="67" y="102"/>
                  </a:lnTo>
                  <a:lnTo>
                    <a:pt x="82" y="107"/>
                  </a:lnTo>
                  <a:lnTo>
                    <a:pt x="82" y="47"/>
                  </a:lnTo>
                  <a:lnTo>
                    <a:pt x="124" y="42"/>
                  </a:lnTo>
                  <a:lnTo>
                    <a:pt x="134" y="32"/>
                  </a:lnTo>
                  <a:lnTo>
                    <a:pt x="139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7030856" y="4165084"/>
              <a:ext cx="286408" cy="322389"/>
            </a:xfrm>
            <a:custGeom>
              <a:avLst/>
              <a:gdLst>
                <a:gd name="T0" fmla="*/ 42 w 199"/>
                <a:gd name="T1" fmla="*/ 110 h 224"/>
                <a:gd name="T2" fmla="*/ 5 w 199"/>
                <a:gd name="T3" fmla="*/ 110 h 224"/>
                <a:gd name="T4" fmla="*/ 0 w 199"/>
                <a:gd name="T5" fmla="*/ 137 h 224"/>
                <a:gd name="T6" fmla="*/ 12 w 199"/>
                <a:gd name="T7" fmla="*/ 147 h 224"/>
                <a:gd name="T8" fmla="*/ 12 w 199"/>
                <a:gd name="T9" fmla="*/ 167 h 224"/>
                <a:gd name="T10" fmla="*/ 30 w 199"/>
                <a:gd name="T11" fmla="*/ 169 h 224"/>
                <a:gd name="T12" fmla="*/ 32 w 199"/>
                <a:gd name="T13" fmla="*/ 197 h 224"/>
                <a:gd name="T14" fmla="*/ 40 w 199"/>
                <a:gd name="T15" fmla="*/ 199 h 224"/>
                <a:gd name="T16" fmla="*/ 47 w 199"/>
                <a:gd name="T17" fmla="*/ 209 h 224"/>
                <a:gd name="T18" fmla="*/ 75 w 199"/>
                <a:gd name="T19" fmla="*/ 214 h 224"/>
                <a:gd name="T20" fmla="*/ 84 w 199"/>
                <a:gd name="T21" fmla="*/ 202 h 224"/>
                <a:gd name="T22" fmla="*/ 99 w 199"/>
                <a:gd name="T23" fmla="*/ 207 h 224"/>
                <a:gd name="T24" fmla="*/ 109 w 199"/>
                <a:gd name="T25" fmla="*/ 224 h 224"/>
                <a:gd name="T26" fmla="*/ 132 w 199"/>
                <a:gd name="T27" fmla="*/ 224 h 224"/>
                <a:gd name="T28" fmla="*/ 137 w 199"/>
                <a:gd name="T29" fmla="*/ 207 h 224"/>
                <a:gd name="T30" fmla="*/ 147 w 199"/>
                <a:gd name="T31" fmla="*/ 192 h 224"/>
                <a:gd name="T32" fmla="*/ 147 w 199"/>
                <a:gd name="T33" fmla="*/ 174 h 224"/>
                <a:gd name="T34" fmla="*/ 162 w 199"/>
                <a:gd name="T35" fmla="*/ 162 h 224"/>
                <a:gd name="T36" fmla="*/ 169 w 199"/>
                <a:gd name="T37" fmla="*/ 132 h 224"/>
                <a:gd name="T38" fmla="*/ 184 w 199"/>
                <a:gd name="T39" fmla="*/ 127 h 224"/>
                <a:gd name="T40" fmla="*/ 184 w 199"/>
                <a:gd name="T41" fmla="*/ 107 h 224"/>
                <a:gd name="T42" fmla="*/ 167 w 199"/>
                <a:gd name="T43" fmla="*/ 95 h 224"/>
                <a:gd name="T44" fmla="*/ 167 w 199"/>
                <a:gd name="T45" fmla="*/ 65 h 224"/>
                <a:gd name="T46" fmla="*/ 181 w 199"/>
                <a:gd name="T47" fmla="*/ 53 h 224"/>
                <a:gd name="T48" fmla="*/ 199 w 199"/>
                <a:gd name="T49" fmla="*/ 40 h 224"/>
                <a:gd name="T50" fmla="*/ 194 w 199"/>
                <a:gd name="T51" fmla="*/ 20 h 224"/>
                <a:gd name="T52" fmla="*/ 171 w 199"/>
                <a:gd name="T53" fmla="*/ 15 h 224"/>
                <a:gd name="T54" fmla="*/ 159 w 199"/>
                <a:gd name="T55" fmla="*/ 13 h 224"/>
                <a:gd name="T56" fmla="*/ 137 w 199"/>
                <a:gd name="T57" fmla="*/ 0 h 224"/>
                <a:gd name="T58" fmla="*/ 134 w 199"/>
                <a:gd name="T59" fmla="*/ 18 h 224"/>
                <a:gd name="T60" fmla="*/ 122 w 199"/>
                <a:gd name="T61" fmla="*/ 25 h 224"/>
                <a:gd name="T62" fmla="*/ 117 w 199"/>
                <a:gd name="T63" fmla="*/ 45 h 224"/>
                <a:gd name="T64" fmla="*/ 102 w 199"/>
                <a:gd name="T65" fmla="*/ 53 h 224"/>
                <a:gd name="T66" fmla="*/ 84 w 199"/>
                <a:gd name="T67" fmla="*/ 65 h 224"/>
                <a:gd name="T68" fmla="*/ 75 w 199"/>
                <a:gd name="T69" fmla="*/ 85 h 224"/>
                <a:gd name="T70" fmla="*/ 52 w 199"/>
                <a:gd name="T71" fmla="*/ 82 h 224"/>
                <a:gd name="T72" fmla="*/ 50 w 199"/>
                <a:gd name="T73" fmla="*/ 100 h 224"/>
                <a:gd name="T74" fmla="*/ 42 w 199"/>
                <a:gd name="T75" fmla="*/ 1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224">
                  <a:moveTo>
                    <a:pt x="42" y="110"/>
                  </a:moveTo>
                  <a:lnTo>
                    <a:pt x="5" y="110"/>
                  </a:lnTo>
                  <a:lnTo>
                    <a:pt x="0" y="137"/>
                  </a:lnTo>
                  <a:lnTo>
                    <a:pt x="12" y="147"/>
                  </a:lnTo>
                  <a:lnTo>
                    <a:pt x="12" y="167"/>
                  </a:lnTo>
                  <a:lnTo>
                    <a:pt x="30" y="169"/>
                  </a:lnTo>
                  <a:lnTo>
                    <a:pt x="32" y="197"/>
                  </a:lnTo>
                  <a:lnTo>
                    <a:pt x="40" y="199"/>
                  </a:lnTo>
                  <a:lnTo>
                    <a:pt x="47" y="209"/>
                  </a:lnTo>
                  <a:lnTo>
                    <a:pt x="75" y="214"/>
                  </a:lnTo>
                  <a:lnTo>
                    <a:pt x="84" y="202"/>
                  </a:lnTo>
                  <a:lnTo>
                    <a:pt x="99" y="207"/>
                  </a:lnTo>
                  <a:lnTo>
                    <a:pt x="109" y="224"/>
                  </a:lnTo>
                  <a:lnTo>
                    <a:pt x="132" y="224"/>
                  </a:lnTo>
                  <a:lnTo>
                    <a:pt x="137" y="207"/>
                  </a:lnTo>
                  <a:lnTo>
                    <a:pt x="147" y="192"/>
                  </a:lnTo>
                  <a:lnTo>
                    <a:pt x="147" y="174"/>
                  </a:lnTo>
                  <a:lnTo>
                    <a:pt x="162" y="162"/>
                  </a:lnTo>
                  <a:lnTo>
                    <a:pt x="169" y="132"/>
                  </a:lnTo>
                  <a:lnTo>
                    <a:pt x="184" y="127"/>
                  </a:lnTo>
                  <a:lnTo>
                    <a:pt x="184" y="107"/>
                  </a:lnTo>
                  <a:lnTo>
                    <a:pt x="167" y="95"/>
                  </a:lnTo>
                  <a:lnTo>
                    <a:pt x="167" y="65"/>
                  </a:lnTo>
                  <a:lnTo>
                    <a:pt x="181" y="53"/>
                  </a:lnTo>
                  <a:lnTo>
                    <a:pt x="199" y="40"/>
                  </a:lnTo>
                  <a:lnTo>
                    <a:pt x="194" y="20"/>
                  </a:lnTo>
                  <a:lnTo>
                    <a:pt x="171" y="15"/>
                  </a:lnTo>
                  <a:lnTo>
                    <a:pt x="159" y="13"/>
                  </a:lnTo>
                  <a:lnTo>
                    <a:pt x="137" y="0"/>
                  </a:lnTo>
                  <a:lnTo>
                    <a:pt x="134" y="18"/>
                  </a:lnTo>
                  <a:lnTo>
                    <a:pt x="122" y="25"/>
                  </a:lnTo>
                  <a:lnTo>
                    <a:pt x="117" y="45"/>
                  </a:lnTo>
                  <a:lnTo>
                    <a:pt x="102" y="53"/>
                  </a:lnTo>
                  <a:lnTo>
                    <a:pt x="84" y="65"/>
                  </a:lnTo>
                  <a:lnTo>
                    <a:pt x="75" y="85"/>
                  </a:lnTo>
                  <a:lnTo>
                    <a:pt x="52" y="82"/>
                  </a:lnTo>
                  <a:lnTo>
                    <a:pt x="50" y="100"/>
                  </a:lnTo>
                  <a:lnTo>
                    <a:pt x="42" y="1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015121" y="3972226"/>
              <a:ext cx="48934" cy="33102"/>
            </a:xfrm>
            <a:custGeom>
              <a:avLst/>
              <a:gdLst>
                <a:gd name="T0" fmla="*/ 34 w 34"/>
                <a:gd name="T1" fmla="*/ 23 h 23"/>
                <a:gd name="T2" fmla="*/ 32 w 34"/>
                <a:gd name="T3" fmla="*/ 0 h 23"/>
                <a:gd name="T4" fmla="*/ 12 w 34"/>
                <a:gd name="T5" fmla="*/ 0 h 23"/>
                <a:gd name="T6" fmla="*/ 0 w 34"/>
                <a:gd name="T7" fmla="*/ 5 h 23"/>
                <a:gd name="T8" fmla="*/ 34 w 3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23"/>
                  </a:moveTo>
                  <a:lnTo>
                    <a:pt x="3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34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2412350" y="3793761"/>
              <a:ext cx="70522" cy="71962"/>
            </a:xfrm>
            <a:custGeom>
              <a:avLst/>
              <a:gdLst>
                <a:gd name="T0" fmla="*/ 37 w 49"/>
                <a:gd name="T1" fmla="*/ 2 h 50"/>
                <a:gd name="T2" fmla="*/ 29 w 49"/>
                <a:gd name="T3" fmla="*/ 17 h 50"/>
                <a:gd name="T4" fmla="*/ 37 w 49"/>
                <a:gd name="T5" fmla="*/ 27 h 50"/>
                <a:gd name="T6" fmla="*/ 27 w 49"/>
                <a:gd name="T7" fmla="*/ 32 h 50"/>
                <a:gd name="T8" fmla="*/ 0 w 49"/>
                <a:gd name="T9" fmla="*/ 32 h 50"/>
                <a:gd name="T10" fmla="*/ 5 w 49"/>
                <a:gd name="T11" fmla="*/ 45 h 50"/>
                <a:gd name="T12" fmla="*/ 24 w 49"/>
                <a:gd name="T13" fmla="*/ 47 h 50"/>
                <a:gd name="T14" fmla="*/ 44 w 49"/>
                <a:gd name="T15" fmla="*/ 50 h 50"/>
                <a:gd name="T16" fmla="*/ 49 w 49"/>
                <a:gd name="T17" fmla="*/ 35 h 50"/>
                <a:gd name="T18" fmla="*/ 49 w 49"/>
                <a:gd name="T19" fmla="*/ 10 h 50"/>
                <a:gd name="T20" fmla="*/ 49 w 49"/>
                <a:gd name="T21" fmla="*/ 0 h 50"/>
                <a:gd name="T22" fmla="*/ 37 w 49"/>
                <a:gd name="T23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50">
                  <a:moveTo>
                    <a:pt x="37" y="2"/>
                  </a:moveTo>
                  <a:lnTo>
                    <a:pt x="29" y="17"/>
                  </a:lnTo>
                  <a:lnTo>
                    <a:pt x="37" y="27"/>
                  </a:lnTo>
                  <a:lnTo>
                    <a:pt x="27" y="32"/>
                  </a:lnTo>
                  <a:lnTo>
                    <a:pt x="0" y="32"/>
                  </a:lnTo>
                  <a:lnTo>
                    <a:pt x="5" y="45"/>
                  </a:lnTo>
                  <a:lnTo>
                    <a:pt x="24" y="47"/>
                  </a:lnTo>
                  <a:lnTo>
                    <a:pt x="44" y="50"/>
                  </a:lnTo>
                  <a:lnTo>
                    <a:pt x="49" y="35"/>
                  </a:lnTo>
                  <a:lnTo>
                    <a:pt x="49" y="10"/>
                  </a:lnTo>
                  <a:lnTo>
                    <a:pt x="49" y="0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271842" y="4015403"/>
              <a:ext cx="82036" cy="182782"/>
            </a:xfrm>
            <a:custGeom>
              <a:avLst/>
              <a:gdLst>
                <a:gd name="T0" fmla="*/ 0 w 57"/>
                <a:gd name="T1" fmla="*/ 45 h 127"/>
                <a:gd name="T2" fmla="*/ 8 w 57"/>
                <a:gd name="T3" fmla="*/ 57 h 127"/>
                <a:gd name="T4" fmla="*/ 13 w 57"/>
                <a:gd name="T5" fmla="*/ 80 h 127"/>
                <a:gd name="T6" fmla="*/ 13 w 57"/>
                <a:gd name="T7" fmla="*/ 104 h 127"/>
                <a:gd name="T8" fmla="*/ 20 w 57"/>
                <a:gd name="T9" fmla="*/ 127 h 127"/>
                <a:gd name="T10" fmla="*/ 43 w 57"/>
                <a:gd name="T11" fmla="*/ 117 h 127"/>
                <a:gd name="T12" fmla="*/ 38 w 57"/>
                <a:gd name="T13" fmla="*/ 77 h 127"/>
                <a:gd name="T14" fmla="*/ 50 w 57"/>
                <a:gd name="T15" fmla="*/ 62 h 127"/>
                <a:gd name="T16" fmla="*/ 57 w 57"/>
                <a:gd name="T17" fmla="*/ 22 h 127"/>
                <a:gd name="T18" fmla="*/ 55 w 57"/>
                <a:gd name="T19" fmla="*/ 0 h 127"/>
                <a:gd name="T20" fmla="*/ 38 w 57"/>
                <a:gd name="T21" fmla="*/ 0 h 127"/>
                <a:gd name="T22" fmla="*/ 33 w 57"/>
                <a:gd name="T23" fmla="*/ 20 h 127"/>
                <a:gd name="T24" fmla="*/ 13 w 57"/>
                <a:gd name="T25" fmla="*/ 25 h 127"/>
                <a:gd name="T26" fmla="*/ 0 w 57"/>
                <a:gd name="T27" fmla="*/ 4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127">
                  <a:moveTo>
                    <a:pt x="0" y="45"/>
                  </a:moveTo>
                  <a:lnTo>
                    <a:pt x="8" y="57"/>
                  </a:lnTo>
                  <a:lnTo>
                    <a:pt x="13" y="80"/>
                  </a:lnTo>
                  <a:lnTo>
                    <a:pt x="13" y="104"/>
                  </a:lnTo>
                  <a:lnTo>
                    <a:pt x="20" y="127"/>
                  </a:lnTo>
                  <a:lnTo>
                    <a:pt x="43" y="117"/>
                  </a:lnTo>
                  <a:lnTo>
                    <a:pt x="38" y="77"/>
                  </a:lnTo>
                  <a:lnTo>
                    <a:pt x="50" y="62"/>
                  </a:lnTo>
                  <a:lnTo>
                    <a:pt x="57" y="22"/>
                  </a:lnTo>
                  <a:lnTo>
                    <a:pt x="55" y="0"/>
                  </a:lnTo>
                  <a:lnTo>
                    <a:pt x="38" y="0"/>
                  </a:lnTo>
                  <a:lnTo>
                    <a:pt x="33" y="20"/>
                  </a:lnTo>
                  <a:lnTo>
                    <a:pt x="13" y="2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4558249" y="4867431"/>
              <a:ext cx="247548" cy="371323"/>
            </a:xfrm>
            <a:custGeom>
              <a:avLst/>
              <a:gdLst>
                <a:gd name="T0" fmla="*/ 0 w 172"/>
                <a:gd name="T1" fmla="*/ 5 h 258"/>
                <a:gd name="T2" fmla="*/ 18 w 172"/>
                <a:gd name="T3" fmla="*/ 0 h 258"/>
                <a:gd name="T4" fmla="*/ 37 w 172"/>
                <a:gd name="T5" fmla="*/ 7 h 258"/>
                <a:gd name="T6" fmla="*/ 67 w 172"/>
                <a:gd name="T7" fmla="*/ 10 h 258"/>
                <a:gd name="T8" fmla="*/ 115 w 172"/>
                <a:gd name="T9" fmla="*/ 7 h 258"/>
                <a:gd name="T10" fmla="*/ 119 w 172"/>
                <a:gd name="T11" fmla="*/ 17 h 258"/>
                <a:gd name="T12" fmla="*/ 157 w 172"/>
                <a:gd name="T13" fmla="*/ 22 h 258"/>
                <a:gd name="T14" fmla="*/ 172 w 172"/>
                <a:gd name="T15" fmla="*/ 24 h 258"/>
                <a:gd name="T16" fmla="*/ 162 w 172"/>
                <a:gd name="T17" fmla="*/ 42 h 258"/>
                <a:gd name="T18" fmla="*/ 162 w 172"/>
                <a:gd name="T19" fmla="*/ 104 h 258"/>
                <a:gd name="T20" fmla="*/ 152 w 172"/>
                <a:gd name="T21" fmla="*/ 111 h 258"/>
                <a:gd name="T22" fmla="*/ 144 w 172"/>
                <a:gd name="T23" fmla="*/ 116 h 258"/>
                <a:gd name="T24" fmla="*/ 144 w 172"/>
                <a:gd name="T25" fmla="*/ 179 h 258"/>
                <a:gd name="T26" fmla="*/ 139 w 172"/>
                <a:gd name="T27" fmla="*/ 248 h 258"/>
                <a:gd name="T28" fmla="*/ 129 w 172"/>
                <a:gd name="T29" fmla="*/ 258 h 258"/>
                <a:gd name="T30" fmla="*/ 107 w 172"/>
                <a:gd name="T31" fmla="*/ 256 h 258"/>
                <a:gd name="T32" fmla="*/ 97 w 172"/>
                <a:gd name="T33" fmla="*/ 241 h 258"/>
                <a:gd name="T34" fmla="*/ 95 w 172"/>
                <a:gd name="T35" fmla="*/ 248 h 258"/>
                <a:gd name="T36" fmla="*/ 82 w 172"/>
                <a:gd name="T37" fmla="*/ 248 h 258"/>
                <a:gd name="T38" fmla="*/ 77 w 172"/>
                <a:gd name="T39" fmla="*/ 233 h 258"/>
                <a:gd name="T40" fmla="*/ 67 w 172"/>
                <a:gd name="T41" fmla="*/ 221 h 258"/>
                <a:gd name="T42" fmla="*/ 55 w 172"/>
                <a:gd name="T43" fmla="*/ 218 h 258"/>
                <a:gd name="T44" fmla="*/ 55 w 172"/>
                <a:gd name="T45" fmla="*/ 196 h 258"/>
                <a:gd name="T46" fmla="*/ 50 w 172"/>
                <a:gd name="T47" fmla="*/ 169 h 258"/>
                <a:gd name="T48" fmla="*/ 50 w 172"/>
                <a:gd name="T49" fmla="*/ 151 h 258"/>
                <a:gd name="T50" fmla="*/ 47 w 172"/>
                <a:gd name="T51" fmla="*/ 126 h 258"/>
                <a:gd name="T52" fmla="*/ 42 w 172"/>
                <a:gd name="T53" fmla="*/ 106 h 258"/>
                <a:gd name="T54" fmla="*/ 35 w 172"/>
                <a:gd name="T55" fmla="*/ 94 h 258"/>
                <a:gd name="T56" fmla="*/ 30 w 172"/>
                <a:gd name="T57" fmla="*/ 82 h 258"/>
                <a:gd name="T58" fmla="*/ 18 w 172"/>
                <a:gd name="T59" fmla="*/ 59 h 258"/>
                <a:gd name="T60" fmla="*/ 13 w 172"/>
                <a:gd name="T61" fmla="*/ 47 h 258"/>
                <a:gd name="T62" fmla="*/ 0 w 172"/>
                <a:gd name="T63" fmla="*/ 29 h 258"/>
                <a:gd name="T64" fmla="*/ 0 w 172"/>
                <a:gd name="T65" fmla="*/ 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2" h="258">
                  <a:moveTo>
                    <a:pt x="0" y="5"/>
                  </a:moveTo>
                  <a:lnTo>
                    <a:pt x="18" y="0"/>
                  </a:lnTo>
                  <a:lnTo>
                    <a:pt x="37" y="7"/>
                  </a:lnTo>
                  <a:lnTo>
                    <a:pt x="67" y="10"/>
                  </a:lnTo>
                  <a:lnTo>
                    <a:pt x="115" y="7"/>
                  </a:lnTo>
                  <a:lnTo>
                    <a:pt x="119" y="17"/>
                  </a:lnTo>
                  <a:lnTo>
                    <a:pt x="157" y="22"/>
                  </a:lnTo>
                  <a:lnTo>
                    <a:pt x="172" y="24"/>
                  </a:lnTo>
                  <a:lnTo>
                    <a:pt x="162" y="42"/>
                  </a:lnTo>
                  <a:lnTo>
                    <a:pt x="162" y="104"/>
                  </a:lnTo>
                  <a:lnTo>
                    <a:pt x="152" y="111"/>
                  </a:lnTo>
                  <a:lnTo>
                    <a:pt x="144" y="116"/>
                  </a:lnTo>
                  <a:lnTo>
                    <a:pt x="144" y="179"/>
                  </a:lnTo>
                  <a:lnTo>
                    <a:pt x="139" y="248"/>
                  </a:lnTo>
                  <a:lnTo>
                    <a:pt x="129" y="258"/>
                  </a:lnTo>
                  <a:lnTo>
                    <a:pt x="107" y="256"/>
                  </a:lnTo>
                  <a:lnTo>
                    <a:pt x="97" y="241"/>
                  </a:lnTo>
                  <a:lnTo>
                    <a:pt x="95" y="248"/>
                  </a:lnTo>
                  <a:lnTo>
                    <a:pt x="82" y="248"/>
                  </a:lnTo>
                  <a:lnTo>
                    <a:pt x="77" y="233"/>
                  </a:lnTo>
                  <a:lnTo>
                    <a:pt x="67" y="221"/>
                  </a:lnTo>
                  <a:lnTo>
                    <a:pt x="55" y="218"/>
                  </a:lnTo>
                  <a:lnTo>
                    <a:pt x="55" y="196"/>
                  </a:lnTo>
                  <a:lnTo>
                    <a:pt x="50" y="169"/>
                  </a:lnTo>
                  <a:lnTo>
                    <a:pt x="50" y="151"/>
                  </a:lnTo>
                  <a:lnTo>
                    <a:pt x="47" y="126"/>
                  </a:lnTo>
                  <a:lnTo>
                    <a:pt x="42" y="106"/>
                  </a:lnTo>
                  <a:lnTo>
                    <a:pt x="35" y="94"/>
                  </a:lnTo>
                  <a:lnTo>
                    <a:pt x="30" y="82"/>
                  </a:lnTo>
                  <a:lnTo>
                    <a:pt x="18" y="59"/>
                  </a:lnTo>
                  <a:lnTo>
                    <a:pt x="13" y="47"/>
                  </a:lnTo>
                  <a:lnTo>
                    <a:pt x="0" y="29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8126114" y="4408314"/>
              <a:ext cx="48934" cy="71962"/>
            </a:xfrm>
            <a:custGeom>
              <a:avLst/>
              <a:gdLst>
                <a:gd name="T0" fmla="*/ 0 w 34"/>
                <a:gd name="T1" fmla="*/ 0 h 50"/>
                <a:gd name="T2" fmla="*/ 12 w 34"/>
                <a:gd name="T3" fmla="*/ 25 h 50"/>
                <a:gd name="T4" fmla="*/ 30 w 34"/>
                <a:gd name="T5" fmla="*/ 50 h 50"/>
                <a:gd name="T6" fmla="*/ 34 w 34"/>
                <a:gd name="T7" fmla="*/ 20 h 50"/>
                <a:gd name="T8" fmla="*/ 0 w 34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0">
                  <a:moveTo>
                    <a:pt x="0" y="0"/>
                  </a:moveTo>
                  <a:lnTo>
                    <a:pt x="12" y="25"/>
                  </a:lnTo>
                  <a:lnTo>
                    <a:pt x="30" y="50"/>
                  </a:lnTo>
                  <a:lnTo>
                    <a:pt x="34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1374660" y="3406606"/>
              <a:ext cx="725375" cy="551228"/>
            </a:xfrm>
            <a:custGeom>
              <a:avLst/>
              <a:gdLst>
                <a:gd name="T0" fmla="*/ 300 w 504"/>
                <a:gd name="T1" fmla="*/ 147 h 383"/>
                <a:gd name="T2" fmla="*/ 281 w 504"/>
                <a:gd name="T3" fmla="*/ 115 h 383"/>
                <a:gd name="T4" fmla="*/ 266 w 504"/>
                <a:gd name="T5" fmla="*/ 75 h 383"/>
                <a:gd name="T6" fmla="*/ 241 w 504"/>
                <a:gd name="T7" fmla="*/ 85 h 383"/>
                <a:gd name="T8" fmla="*/ 213 w 504"/>
                <a:gd name="T9" fmla="*/ 55 h 383"/>
                <a:gd name="T10" fmla="*/ 201 w 504"/>
                <a:gd name="T11" fmla="*/ 38 h 383"/>
                <a:gd name="T12" fmla="*/ 181 w 504"/>
                <a:gd name="T13" fmla="*/ 15 h 383"/>
                <a:gd name="T14" fmla="*/ 154 w 504"/>
                <a:gd name="T15" fmla="*/ 25 h 383"/>
                <a:gd name="T16" fmla="*/ 124 w 504"/>
                <a:gd name="T17" fmla="*/ 38 h 383"/>
                <a:gd name="T18" fmla="*/ 77 w 504"/>
                <a:gd name="T19" fmla="*/ 38 h 383"/>
                <a:gd name="T20" fmla="*/ 42 w 504"/>
                <a:gd name="T21" fmla="*/ 13 h 383"/>
                <a:gd name="T22" fmla="*/ 0 w 504"/>
                <a:gd name="T23" fmla="*/ 0 h 383"/>
                <a:gd name="T24" fmla="*/ 20 w 504"/>
                <a:gd name="T25" fmla="*/ 65 h 383"/>
                <a:gd name="T26" fmla="*/ 29 w 504"/>
                <a:gd name="T27" fmla="*/ 107 h 383"/>
                <a:gd name="T28" fmla="*/ 49 w 504"/>
                <a:gd name="T29" fmla="*/ 137 h 383"/>
                <a:gd name="T30" fmla="*/ 74 w 504"/>
                <a:gd name="T31" fmla="*/ 182 h 383"/>
                <a:gd name="T32" fmla="*/ 121 w 504"/>
                <a:gd name="T33" fmla="*/ 219 h 383"/>
                <a:gd name="T34" fmla="*/ 97 w 504"/>
                <a:gd name="T35" fmla="*/ 159 h 383"/>
                <a:gd name="T36" fmla="*/ 62 w 504"/>
                <a:gd name="T37" fmla="*/ 102 h 383"/>
                <a:gd name="T38" fmla="*/ 37 w 504"/>
                <a:gd name="T39" fmla="*/ 55 h 383"/>
                <a:gd name="T40" fmla="*/ 49 w 504"/>
                <a:gd name="T41" fmla="*/ 35 h 383"/>
                <a:gd name="T42" fmla="*/ 79 w 504"/>
                <a:gd name="T43" fmla="*/ 63 h 383"/>
                <a:gd name="T44" fmla="*/ 94 w 504"/>
                <a:gd name="T45" fmla="*/ 110 h 383"/>
                <a:gd name="T46" fmla="*/ 119 w 504"/>
                <a:gd name="T47" fmla="*/ 140 h 383"/>
                <a:gd name="T48" fmla="*/ 134 w 504"/>
                <a:gd name="T49" fmla="*/ 162 h 383"/>
                <a:gd name="T50" fmla="*/ 159 w 504"/>
                <a:gd name="T51" fmla="*/ 194 h 383"/>
                <a:gd name="T52" fmla="*/ 171 w 504"/>
                <a:gd name="T53" fmla="*/ 212 h 383"/>
                <a:gd name="T54" fmla="*/ 181 w 504"/>
                <a:gd name="T55" fmla="*/ 256 h 383"/>
                <a:gd name="T56" fmla="*/ 191 w 504"/>
                <a:gd name="T57" fmla="*/ 284 h 383"/>
                <a:gd name="T58" fmla="*/ 338 w 504"/>
                <a:gd name="T59" fmla="*/ 363 h 383"/>
                <a:gd name="T60" fmla="*/ 368 w 504"/>
                <a:gd name="T61" fmla="*/ 358 h 383"/>
                <a:gd name="T62" fmla="*/ 402 w 504"/>
                <a:gd name="T63" fmla="*/ 383 h 383"/>
                <a:gd name="T64" fmla="*/ 425 w 504"/>
                <a:gd name="T65" fmla="*/ 356 h 383"/>
                <a:gd name="T66" fmla="*/ 455 w 504"/>
                <a:gd name="T67" fmla="*/ 324 h 383"/>
                <a:gd name="T68" fmla="*/ 487 w 504"/>
                <a:gd name="T69" fmla="*/ 309 h 383"/>
                <a:gd name="T70" fmla="*/ 497 w 504"/>
                <a:gd name="T71" fmla="*/ 269 h 383"/>
                <a:gd name="T72" fmla="*/ 502 w 504"/>
                <a:gd name="T73" fmla="*/ 246 h 383"/>
                <a:gd name="T74" fmla="*/ 445 w 504"/>
                <a:gd name="T75" fmla="*/ 256 h 383"/>
                <a:gd name="T76" fmla="*/ 400 w 504"/>
                <a:gd name="T77" fmla="*/ 301 h 383"/>
                <a:gd name="T78" fmla="*/ 333 w 504"/>
                <a:gd name="T79" fmla="*/ 281 h 383"/>
                <a:gd name="T80" fmla="*/ 313 w 504"/>
                <a:gd name="T81" fmla="*/ 197 h 383"/>
                <a:gd name="T82" fmla="*/ 325 w 504"/>
                <a:gd name="T83" fmla="*/ 14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4" h="383">
                  <a:moveTo>
                    <a:pt x="325" y="147"/>
                  </a:moveTo>
                  <a:lnTo>
                    <a:pt x="300" y="147"/>
                  </a:lnTo>
                  <a:lnTo>
                    <a:pt x="295" y="122"/>
                  </a:lnTo>
                  <a:lnTo>
                    <a:pt x="281" y="115"/>
                  </a:lnTo>
                  <a:lnTo>
                    <a:pt x="276" y="90"/>
                  </a:lnTo>
                  <a:lnTo>
                    <a:pt x="266" y="75"/>
                  </a:lnTo>
                  <a:lnTo>
                    <a:pt x="246" y="63"/>
                  </a:lnTo>
                  <a:lnTo>
                    <a:pt x="241" y="85"/>
                  </a:lnTo>
                  <a:lnTo>
                    <a:pt x="223" y="85"/>
                  </a:lnTo>
                  <a:lnTo>
                    <a:pt x="213" y="55"/>
                  </a:lnTo>
                  <a:lnTo>
                    <a:pt x="203" y="53"/>
                  </a:lnTo>
                  <a:lnTo>
                    <a:pt x="201" y="38"/>
                  </a:lnTo>
                  <a:lnTo>
                    <a:pt x="186" y="33"/>
                  </a:lnTo>
                  <a:lnTo>
                    <a:pt x="181" y="15"/>
                  </a:lnTo>
                  <a:lnTo>
                    <a:pt x="169" y="25"/>
                  </a:lnTo>
                  <a:lnTo>
                    <a:pt x="154" y="25"/>
                  </a:lnTo>
                  <a:lnTo>
                    <a:pt x="151" y="38"/>
                  </a:lnTo>
                  <a:lnTo>
                    <a:pt x="124" y="38"/>
                  </a:lnTo>
                  <a:lnTo>
                    <a:pt x="104" y="45"/>
                  </a:lnTo>
                  <a:lnTo>
                    <a:pt x="77" y="38"/>
                  </a:lnTo>
                  <a:lnTo>
                    <a:pt x="57" y="20"/>
                  </a:lnTo>
                  <a:lnTo>
                    <a:pt x="42" y="13"/>
                  </a:lnTo>
                  <a:lnTo>
                    <a:pt x="37" y="3"/>
                  </a:lnTo>
                  <a:lnTo>
                    <a:pt x="0" y="0"/>
                  </a:lnTo>
                  <a:lnTo>
                    <a:pt x="2" y="45"/>
                  </a:lnTo>
                  <a:lnTo>
                    <a:pt x="20" y="65"/>
                  </a:lnTo>
                  <a:lnTo>
                    <a:pt x="34" y="90"/>
                  </a:lnTo>
                  <a:lnTo>
                    <a:pt x="29" y="107"/>
                  </a:lnTo>
                  <a:lnTo>
                    <a:pt x="20" y="115"/>
                  </a:lnTo>
                  <a:lnTo>
                    <a:pt x="49" y="137"/>
                  </a:lnTo>
                  <a:lnTo>
                    <a:pt x="69" y="152"/>
                  </a:lnTo>
                  <a:lnTo>
                    <a:pt x="74" y="182"/>
                  </a:lnTo>
                  <a:lnTo>
                    <a:pt x="107" y="219"/>
                  </a:lnTo>
                  <a:lnTo>
                    <a:pt x="121" y="219"/>
                  </a:lnTo>
                  <a:lnTo>
                    <a:pt x="112" y="189"/>
                  </a:lnTo>
                  <a:lnTo>
                    <a:pt x="97" y="159"/>
                  </a:lnTo>
                  <a:lnTo>
                    <a:pt x="84" y="130"/>
                  </a:lnTo>
                  <a:lnTo>
                    <a:pt x="62" y="102"/>
                  </a:lnTo>
                  <a:lnTo>
                    <a:pt x="49" y="77"/>
                  </a:lnTo>
                  <a:lnTo>
                    <a:pt x="37" y="55"/>
                  </a:lnTo>
                  <a:lnTo>
                    <a:pt x="37" y="28"/>
                  </a:lnTo>
                  <a:lnTo>
                    <a:pt x="49" y="35"/>
                  </a:lnTo>
                  <a:lnTo>
                    <a:pt x="64" y="50"/>
                  </a:lnTo>
                  <a:lnTo>
                    <a:pt x="79" y="63"/>
                  </a:lnTo>
                  <a:lnTo>
                    <a:pt x="82" y="95"/>
                  </a:lnTo>
                  <a:lnTo>
                    <a:pt x="94" y="110"/>
                  </a:lnTo>
                  <a:lnTo>
                    <a:pt x="109" y="132"/>
                  </a:lnTo>
                  <a:lnTo>
                    <a:pt x="119" y="140"/>
                  </a:lnTo>
                  <a:lnTo>
                    <a:pt x="119" y="157"/>
                  </a:lnTo>
                  <a:lnTo>
                    <a:pt x="134" y="162"/>
                  </a:lnTo>
                  <a:lnTo>
                    <a:pt x="136" y="184"/>
                  </a:lnTo>
                  <a:lnTo>
                    <a:pt x="159" y="194"/>
                  </a:lnTo>
                  <a:lnTo>
                    <a:pt x="159" y="209"/>
                  </a:lnTo>
                  <a:lnTo>
                    <a:pt x="171" y="212"/>
                  </a:lnTo>
                  <a:lnTo>
                    <a:pt x="174" y="234"/>
                  </a:lnTo>
                  <a:lnTo>
                    <a:pt x="181" y="256"/>
                  </a:lnTo>
                  <a:lnTo>
                    <a:pt x="176" y="274"/>
                  </a:lnTo>
                  <a:lnTo>
                    <a:pt x="191" y="284"/>
                  </a:lnTo>
                  <a:lnTo>
                    <a:pt x="288" y="346"/>
                  </a:lnTo>
                  <a:lnTo>
                    <a:pt x="338" y="363"/>
                  </a:lnTo>
                  <a:lnTo>
                    <a:pt x="355" y="351"/>
                  </a:lnTo>
                  <a:lnTo>
                    <a:pt x="368" y="358"/>
                  </a:lnTo>
                  <a:lnTo>
                    <a:pt x="387" y="366"/>
                  </a:lnTo>
                  <a:lnTo>
                    <a:pt x="402" y="383"/>
                  </a:lnTo>
                  <a:lnTo>
                    <a:pt x="410" y="361"/>
                  </a:lnTo>
                  <a:lnTo>
                    <a:pt x="425" y="356"/>
                  </a:lnTo>
                  <a:lnTo>
                    <a:pt x="427" y="336"/>
                  </a:lnTo>
                  <a:lnTo>
                    <a:pt x="455" y="324"/>
                  </a:lnTo>
                  <a:lnTo>
                    <a:pt x="465" y="319"/>
                  </a:lnTo>
                  <a:lnTo>
                    <a:pt x="487" y="309"/>
                  </a:lnTo>
                  <a:lnTo>
                    <a:pt x="499" y="291"/>
                  </a:lnTo>
                  <a:lnTo>
                    <a:pt x="497" y="269"/>
                  </a:lnTo>
                  <a:lnTo>
                    <a:pt x="504" y="264"/>
                  </a:lnTo>
                  <a:lnTo>
                    <a:pt x="502" y="246"/>
                  </a:lnTo>
                  <a:lnTo>
                    <a:pt x="462" y="242"/>
                  </a:lnTo>
                  <a:lnTo>
                    <a:pt x="445" y="256"/>
                  </a:lnTo>
                  <a:lnTo>
                    <a:pt x="427" y="294"/>
                  </a:lnTo>
                  <a:lnTo>
                    <a:pt x="400" y="301"/>
                  </a:lnTo>
                  <a:lnTo>
                    <a:pt x="360" y="304"/>
                  </a:lnTo>
                  <a:lnTo>
                    <a:pt x="333" y="281"/>
                  </a:lnTo>
                  <a:lnTo>
                    <a:pt x="323" y="232"/>
                  </a:lnTo>
                  <a:lnTo>
                    <a:pt x="313" y="197"/>
                  </a:lnTo>
                  <a:lnTo>
                    <a:pt x="320" y="169"/>
                  </a:lnTo>
                  <a:lnTo>
                    <a:pt x="325" y="1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17 w 119"/>
                <a:gd name="T37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20 w 119"/>
                <a:gd name="T37" fmla="*/ 10 h 60"/>
                <a:gd name="T38" fmla="*/ 17 w 119"/>
                <a:gd name="T39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20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2064055" y="3965030"/>
              <a:ext cx="115139" cy="107943"/>
            </a:xfrm>
            <a:custGeom>
              <a:avLst/>
              <a:gdLst>
                <a:gd name="T0" fmla="*/ 73 w 80"/>
                <a:gd name="T1" fmla="*/ 0 h 75"/>
                <a:gd name="T2" fmla="*/ 48 w 80"/>
                <a:gd name="T3" fmla="*/ 0 h 75"/>
                <a:gd name="T4" fmla="*/ 40 w 80"/>
                <a:gd name="T5" fmla="*/ 18 h 75"/>
                <a:gd name="T6" fmla="*/ 18 w 80"/>
                <a:gd name="T7" fmla="*/ 20 h 75"/>
                <a:gd name="T8" fmla="*/ 0 w 80"/>
                <a:gd name="T9" fmla="*/ 28 h 75"/>
                <a:gd name="T10" fmla="*/ 10 w 80"/>
                <a:gd name="T11" fmla="*/ 37 h 75"/>
                <a:gd name="T12" fmla="*/ 18 w 80"/>
                <a:gd name="T13" fmla="*/ 60 h 75"/>
                <a:gd name="T14" fmla="*/ 30 w 80"/>
                <a:gd name="T15" fmla="*/ 75 h 75"/>
                <a:gd name="T16" fmla="*/ 70 w 80"/>
                <a:gd name="T17" fmla="*/ 75 h 75"/>
                <a:gd name="T18" fmla="*/ 73 w 80"/>
                <a:gd name="T19" fmla="*/ 23 h 75"/>
                <a:gd name="T20" fmla="*/ 80 w 80"/>
                <a:gd name="T21" fmla="*/ 8 h 75"/>
                <a:gd name="T22" fmla="*/ 73 w 80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75">
                  <a:moveTo>
                    <a:pt x="73" y="0"/>
                  </a:moveTo>
                  <a:lnTo>
                    <a:pt x="48" y="0"/>
                  </a:lnTo>
                  <a:lnTo>
                    <a:pt x="40" y="18"/>
                  </a:lnTo>
                  <a:lnTo>
                    <a:pt x="18" y="20"/>
                  </a:lnTo>
                  <a:lnTo>
                    <a:pt x="0" y="28"/>
                  </a:lnTo>
                  <a:lnTo>
                    <a:pt x="10" y="37"/>
                  </a:lnTo>
                  <a:lnTo>
                    <a:pt x="18" y="60"/>
                  </a:lnTo>
                  <a:lnTo>
                    <a:pt x="30" y="75"/>
                  </a:lnTo>
                  <a:lnTo>
                    <a:pt x="70" y="75"/>
                  </a:lnTo>
                  <a:lnTo>
                    <a:pt x="73" y="23"/>
                  </a:lnTo>
                  <a:lnTo>
                    <a:pt x="80" y="8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auto">
            <a:xfrm>
              <a:off x="2684365" y="6064875"/>
              <a:ext cx="70523" cy="69083"/>
            </a:xfrm>
            <a:custGeom>
              <a:avLst/>
              <a:gdLst>
                <a:gd name="T0" fmla="*/ 0 w 49"/>
                <a:gd name="T1" fmla="*/ 38 h 48"/>
                <a:gd name="T2" fmla="*/ 12 w 49"/>
                <a:gd name="T3" fmla="*/ 0 h 48"/>
                <a:gd name="T4" fmla="*/ 14 w 49"/>
                <a:gd name="T5" fmla="*/ 0 h 48"/>
                <a:gd name="T6" fmla="*/ 27 w 49"/>
                <a:gd name="T7" fmla="*/ 15 h 48"/>
                <a:gd name="T8" fmla="*/ 49 w 49"/>
                <a:gd name="T9" fmla="*/ 33 h 48"/>
                <a:gd name="T10" fmla="*/ 22 w 49"/>
                <a:gd name="T11" fmla="*/ 30 h 48"/>
                <a:gd name="T12" fmla="*/ 17 w 49"/>
                <a:gd name="T13" fmla="*/ 48 h 48"/>
                <a:gd name="T14" fmla="*/ 0 w 49"/>
                <a:gd name="T15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8">
                  <a:moveTo>
                    <a:pt x="0" y="38"/>
                  </a:moveTo>
                  <a:lnTo>
                    <a:pt x="12" y="0"/>
                  </a:lnTo>
                  <a:lnTo>
                    <a:pt x="14" y="0"/>
                  </a:lnTo>
                  <a:lnTo>
                    <a:pt x="27" y="15"/>
                  </a:lnTo>
                  <a:lnTo>
                    <a:pt x="49" y="33"/>
                  </a:lnTo>
                  <a:lnTo>
                    <a:pt x="22" y="30"/>
                  </a:lnTo>
                  <a:lnTo>
                    <a:pt x="17" y="4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>
              <a:off x="2523170" y="5038699"/>
              <a:ext cx="428892" cy="972923"/>
            </a:xfrm>
            <a:custGeom>
              <a:avLst/>
              <a:gdLst>
                <a:gd name="T0" fmla="*/ 67 w 298"/>
                <a:gd name="T1" fmla="*/ 0 h 676"/>
                <a:gd name="T2" fmla="*/ 104 w 298"/>
                <a:gd name="T3" fmla="*/ 20 h 676"/>
                <a:gd name="T4" fmla="*/ 136 w 298"/>
                <a:gd name="T5" fmla="*/ 15 h 676"/>
                <a:gd name="T6" fmla="*/ 159 w 298"/>
                <a:gd name="T7" fmla="*/ 32 h 676"/>
                <a:gd name="T8" fmla="*/ 179 w 298"/>
                <a:gd name="T9" fmla="*/ 45 h 676"/>
                <a:gd name="T10" fmla="*/ 208 w 298"/>
                <a:gd name="T11" fmla="*/ 60 h 676"/>
                <a:gd name="T12" fmla="*/ 221 w 298"/>
                <a:gd name="T13" fmla="*/ 69 h 676"/>
                <a:gd name="T14" fmla="*/ 208 w 298"/>
                <a:gd name="T15" fmla="*/ 112 h 676"/>
                <a:gd name="T16" fmla="*/ 266 w 298"/>
                <a:gd name="T17" fmla="*/ 104 h 676"/>
                <a:gd name="T18" fmla="*/ 286 w 298"/>
                <a:gd name="T19" fmla="*/ 82 h 676"/>
                <a:gd name="T20" fmla="*/ 298 w 298"/>
                <a:gd name="T21" fmla="*/ 99 h 676"/>
                <a:gd name="T22" fmla="*/ 286 w 298"/>
                <a:gd name="T23" fmla="*/ 117 h 676"/>
                <a:gd name="T24" fmla="*/ 268 w 298"/>
                <a:gd name="T25" fmla="*/ 132 h 676"/>
                <a:gd name="T26" fmla="*/ 248 w 298"/>
                <a:gd name="T27" fmla="*/ 156 h 676"/>
                <a:gd name="T28" fmla="*/ 231 w 298"/>
                <a:gd name="T29" fmla="*/ 181 h 676"/>
                <a:gd name="T30" fmla="*/ 218 w 298"/>
                <a:gd name="T31" fmla="*/ 219 h 676"/>
                <a:gd name="T32" fmla="*/ 226 w 298"/>
                <a:gd name="T33" fmla="*/ 268 h 676"/>
                <a:gd name="T34" fmla="*/ 233 w 298"/>
                <a:gd name="T35" fmla="*/ 273 h 676"/>
                <a:gd name="T36" fmla="*/ 251 w 298"/>
                <a:gd name="T37" fmla="*/ 281 h 676"/>
                <a:gd name="T38" fmla="*/ 261 w 298"/>
                <a:gd name="T39" fmla="*/ 311 h 676"/>
                <a:gd name="T40" fmla="*/ 248 w 298"/>
                <a:gd name="T41" fmla="*/ 340 h 676"/>
                <a:gd name="T42" fmla="*/ 228 w 298"/>
                <a:gd name="T43" fmla="*/ 355 h 676"/>
                <a:gd name="T44" fmla="*/ 186 w 298"/>
                <a:gd name="T45" fmla="*/ 363 h 676"/>
                <a:gd name="T46" fmla="*/ 169 w 298"/>
                <a:gd name="T47" fmla="*/ 370 h 676"/>
                <a:gd name="T48" fmla="*/ 174 w 298"/>
                <a:gd name="T49" fmla="*/ 413 h 676"/>
                <a:gd name="T50" fmla="*/ 129 w 298"/>
                <a:gd name="T51" fmla="*/ 403 h 676"/>
                <a:gd name="T52" fmla="*/ 139 w 298"/>
                <a:gd name="T53" fmla="*/ 432 h 676"/>
                <a:gd name="T54" fmla="*/ 146 w 298"/>
                <a:gd name="T55" fmla="*/ 460 h 676"/>
                <a:gd name="T56" fmla="*/ 131 w 298"/>
                <a:gd name="T57" fmla="*/ 477 h 676"/>
                <a:gd name="T58" fmla="*/ 114 w 298"/>
                <a:gd name="T59" fmla="*/ 504 h 676"/>
                <a:gd name="T60" fmla="*/ 99 w 298"/>
                <a:gd name="T61" fmla="*/ 517 h 676"/>
                <a:gd name="T62" fmla="*/ 124 w 298"/>
                <a:gd name="T63" fmla="*/ 554 h 676"/>
                <a:gd name="T64" fmla="*/ 124 w 298"/>
                <a:gd name="T65" fmla="*/ 577 h 676"/>
                <a:gd name="T66" fmla="*/ 109 w 298"/>
                <a:gd name="T67" fmla="*/ 594 h 676"/>
                <a:gd name="T68" fmla="*/ 94 w 298"/>
                <a:gd name="T69" fmla="*/ 626 h 676"/>
                <a:gd name="T70" fmla="*/ 87 w 298"/>
                <a:gd name="T71" fmla="*/ 651 h 676"/>
                <a:gd name="T72" fmla="*/ 32 w 298"/>
                <a:gd name="T73" fmla="*/ 676 h 676"/>
                <a:gd name="T74" fmla="*/ 12 w 298"/>
                <a:gd name="T75" fmla="*/ 641 h 676"/>
                <a:gd name="T76" fmla="*/ 20 w 298"/>
                <a:gd name="T77" fmla="*/ 584 h 676"/>
                <a:gd name="T78" fmla="*/ 22 w 298"/>
                <a:gd name="T79" fmla="*/ 495 h 676"/>
                <a:gd name="T80" fmla="*/ 15 w 298"/>
                <a:gd name="T81" fmla="*/ 445 h 676"/>
                <a:gd name="T82" fmla="*/ 2 w 298"/>
                <a:gd name="T83" fmla="*/ 395 h 676"/>
                <a:gd name="T84" fmla="*/ 17 w 298"/>
                <a:gd name="T85" fmla="*/ 363 h 676"/>
                <a:gd name="T86" fmla="*/ 12 w 298"/>
                <a:gd name="T87" fmla="*/ 308 h 676"/>
                <a:gd name="T88" fmla="*/ 12 w 298"/>
                <a:gd name="T89" fmla="*/ 286 h 676"/>
                <a:gd name="T90" fmla="*/ 22 w 298"/>
                <a:gd name="T91" fmla="*/ 256 h 676"/>
                <a:gd name="T92" fmla="*/ 12 w 298"/>
                <a:gd name="T93" fmla="*/ 234 h 676"/>
                <a:gd name="T94" fmla="*/ 20 w 298"/>
                <a:gd name="T95" fmla="*/ 196 h 676"/>
                <a:gd name="T96" fmla="*/ 15 w 298"/>
                <a:gd name="T97" fmla="*/ 152 h 676"/>
                <a:gd name="T98" fmla="*/ 22 w 298"/>
                <a:gd name="T99" fmla="*/ 122 h 676"/>
                <a:gd name="T100" fmla="*/ 39 w 298"/>
                <a:gd name="T101" fmla="*/ 97 h 676"/>
                <a:gd name="T102" fmla="*/ 42 w 298"/>
                <a:gd name="T103" fmla="*/ 72 h 676"/>
                <a:gd name="T104" fmla="*/ 52 w 298"/>
                <a:gd name="T105" fmla="*/ 45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676">
                  <a:moveTo>
                    <a:pt x="54" y="22"/>
                  </a:moveTo>
                  <a:lnTo>
                    <a:pt x="67" y="0"/>
                  </a:lnTo>
                  <a:lnTo>
                    <a:pt x="82" y="12"/>
                  </a:lnTo>
                  <a:lnTo>
                    <a:pt x="104" y="20"/>
                  </a:lnTo>
                  <a:lnTo>
                    <a:pt x="124" y="2"/>
                  </a:lnTo>
                  <a:lnTo>
                    <a:pt x="136" y="15"/>
                  </a:lnTo>
                  <a:lnTo>
                    <a:pt x="154" y="22"/>
                  </a:lnTo>
                  <a:lnTo>
                    <a:pt x="159" y="32"/>
                  </a:lnTo>
                  <a:lnTo>
                    <a:pt x="169" y="35"/>
                  </a:lnTo>
                  <a:lnTo>
                    <a:pt x="179" y="45"/>
                  </a:lnTo>
                  <a:lnTo>
                    <a:pt x="184" y="57"/>
                  </a:lnTo>
                  <a:lnTo>
                    <a:pt x="208" y="60"/>
                  </a:lnTo>
                  <a:lnTo>
                    <a:pt x="213" y="62"/>
                  </a:lnTo>
                  <a:lnTo>
                    <a:pt x="221" y="69"/>
                  </a:lnTo>
                  <a:lnTo>
                    <a:pt x="213" y="94"/>
                  </a:lnTo>
                  <a:lnTo>
                    <a:pt x="208" y="112"/>
                  </a:lnTo>
                  <a:lnTo>
                    <a:pt x="266" y="114"/>
                  </a:lnTo>
                  <a:lnTo>
                    <a:pt x="266" y="104"/>
                  </a:lnTo>
                  <a:lnTo>
                    <a:pt x="278" y="97"/>
                  </a:lnTo>
                  <a:lnTo>
                    <a:pt x="286" y="82"/>
                  </a:lnTo>
                  <a:lnTo>
                    <a:pt x="288" y="99"/>
                  </a:lnTo>
                  <a:lnTo>
                    <a:pt x="298" y="99"/>
                  </a:lnTo>
                  <a:lnTo>
                    <a:pt x="298" y="114"/>
                  </a:lnTo>
                  <a:lnTo>
                    <a:pt x="286" y="117"/>
                  </a:lnTo>
                  <a:lnTo>
                    <a:pt x="276" y="129"/>
                  </a:lnTo>
                  <a:lnTo>
                    <a:pt x="268" y="132"/>
                  </a:lnTo>
                  <a:lnTo>
                    <a:pt x="258" y="147"/>
                  </a:lnTo>
                  <a:lnTo>
                    <a:pt x="248" y="156"/>
                  </a:lnTo>
                  <a:lnTo>
                    <a:pt x="241" y="169"/>
                  </a:lnTo>
                  <a:lnTo>
                    <a:pt x="231" y="181"/>
                  </a:lnTo>
                  <a:lnTo>
                    <a:pt x="221" y="199"/>
                  </a:lnTo>
                  <a:lnTo>
                    <a:pt x="218" y="219"/>
                  </a:lnTo>
                  <a:lnTo>
                    <a:pt x="221" y="246"/>
                  </a:lnTo>
                  <a:lnTo>
                    <a:pt x="226" y="268"/>
                  </a:lnTo>
                  <a:lnTo>
                    <a:pt x="233" y="266"/>
                  </a:lnTo>
                  <a:lnTo>
                    <a:pt x="233" y="273"/>
                  </a:lnTo>
                  <a:lnTo>
                    <a:pt x="241" y="278"/>
                  </a:lnTo>
                  <a:lnTo>
                    <a:pt x="251" y="281"/>
                  </a:lnTo>
                  <a:lnTo>
                    <a:pt x="251" y="306"/>
                  </a:lnTo>
                  <a:lnTo>
                    <a:pt x="261" y="311"/>
                  </a:lnTo>
                  <a:lnTo>
                    <a:pt x="258" y="333"/>
                  </a:lnTo>
                  <a:lnTo>
                    <a:pt x="248" y="340"/>
                  </a:lnTo>
                  <a:lnTo>
                    <a:pt x="233" y="343"/>
                  </a:lnTo>
                  <a:lnTo>
                    <a:pt x="228" y="355"/>
                  </a:lnTo>
                  <a:lnTo>
                    <a:pt x="218" y="355"/>
                  </a:lnTo>
                  <a:lnTo>
                    <a:pt x="186" y="363"/>
                  </a:lnTo>
                  <a:lnTo>
                    <a:pt x="174" y="363"/>
                  </a:lnTo>
                  <a:lnTo>
                    <a:pt x="169" y="370"/>
                  </a:lnTo>
                  <a:lnTo>
                    <a:pt x="174" y="388"/>
                  </a:lnTo>
                  <a:lnTo>
                    <a:pt x="174" y="413"/>
                  </a:lnTo>
                  <a:lnTo>
                    <a:pt x="156" y="420"/>
                  </a:lnTo>
                  <a:lnTo>
                    <a:pt x="129" y="403"/>
                  </a:lnTo>
                  <a:lnTo>
                    <a:pt x="124" y="422"/>
                  </a:lnTo>
                  <a:lnTo>
                    <a:pt x="139" y="432"/>
                  </a:lnTo>
                  <a:lnTo>
                    <a:pt x="144" y="445"/>
                  </a:lnTo>
                  <a:lnTo>
                    <a:pt x="146" y="460"/>
                  </a:lnTo>
                  <a:lnTo>
                    <a:pt x="139" y="467"/>
                  </a:lnTo>
                  <a:lnTo>
                    <a:pt x="131" y="477"/>
                  </a:lnTo>
                  <a:lnTo>
                    <a:pt x="124" y="500"/>
                  </a:lnTo>
                  <a:lnTo>
                    <a:pt x="114" y="504"/>
                  </a:lnTo>
                  <a:lnTo>
                    <a:pt x="112" y="514"/>
                  </a:lnTo>
                  <a:lnTo>
                    <a:pt x="99" y="517"/>
                  </a:lnTo>
                  <a:lnTo>
                    <a:pt x="97" y="542"/>
                  </a:lnTo>
                  <a:lnTo>
                    <a:pt x="124" y="554"/>
                  </a:lnTo>
                  <a:lnTo>
                    <a:pt x="124" y="567"/>
                  </a:lnTo>
                  <a:lnTo>
                    <a:pt x="124" y="577"/>
                  </a:lnTo>
                  <a:lnTo>
                    <a:pt x="114" y="584"/>
                  </a:lnTo>
                  <a:lnTo>
                    <a:pt x="109" y="594"/>
                  </a:lnTo>
                  <a:lnTo>
                    <a:pt x="109" y="624"/>
                  </a:lnTo>
                  <a:lnTo>
                    <a:pt x="94" y="626"/>
                  </a:lnTo>
                  <a:lnTo>
                    <a:pt x="87" y="634"/>
                  </a:lnTo>
                  <a:lnTo>
                    <a:pt x="87" y="651"/>
                  </a:lnTo>
                  <a:lnTo>
                    <a:pt x="84" y="674"/>
                  </a:lnTo>
                  <a:lnTo>
                    <a:pt x="32" y="676"/>
                  </a:lnTo>
                  <a:lnTo>
                    <a:pt x="27" y="651"/>
                  </a:lnTo>
                  <a:lnTo>
                    <a:pt x="12" y="641"/>
                  </a:lnTo>
                  <a:lnTo>
                    <a:pt x="10" y="587"/>
                  </a:lnTo>
                  <a:lnTo>
                    <a:pt x="20" y="584"/>
                  </a:lnTo>
                  <a:lnTo>
                    <a:pt x="22" y="569"/>
                  </a:lnTo>
                  <a:lnTo>
                    <a:pt x="22" y="495"/>
                  </a:lnTo>
                  <a:lnTo>
                    <a:pt x="15" y="475"/>
                  </a:lnTo>
                  <a:lnTo>
                    <a:pt x="15" y="445"/>
                  </a:lnTo>
                  <a:lnTo>
                    <a:pt x="10" y="413"/>
                  </a:lnTo>
                  <a:lnTo>
                    <a:pt x="2" y="395"/>
                  </a:lnTo>
                  <a:lnTo>
                    <a:pt x="5" y="380"/>
                  </a:lnTo>
                  <a:lnTo>
                    <a:pt x="17" y="363"/>
                  </a:lnTo>
                  <a:lnTo>
                    <a:pt x="0" y="328"/>
                  </a:lnTo>
                  <a:lnTo>
                    <a:pt x="12" y="308"/>
                  </a:lnTo>
                  <a:lnTo>
                    <a:pt x="20" y="296"/>
                  </a:lnTo>
                  <a:lnTo>
                    <a:pt x="12" y="286"/>
                  </a:lnTo>
                  <a:lnTo>
                    <a:pt x="12" y="258"/>
                  </a:lnTo>
                  <a:lnTo>
                    <a:pt x="22" y="256"/>
                  </a:lnTo>
                  <a:lnTo>
                    <a:pt x="22" y="236"/>
                  </a:lnTo>
                  <a:lnTo>
                    <a:pt x="12" y="234"/>
                  </a:lnTo>
                  <a:lnTo>
                    <a:pt x="12" y="204"/>
                  </a:lnTo>
                  <a:lnTo>
                    <a:pt x="20" y="196"/>
                  </a:lnTo>
                  <a:lnTo>
                    <a:pt x="17" y="181"/>
                  </a:lnTo>
                  <a:lnTo>
                    <a:pt x="15" y="152"/>
                  </a:lnTo>
                  <a:lnTo>
                    <a:pt x="20" y="139"/>
                  </a:lnTo>
                  <a:lnTo>
                    <a:pt x="22" y="122"/>
                  </a:lnTo>
                  <a:lnTo>
                    <a:pt x="34" y="114"/>
                  </a:lnTo>
                  <a:lnTo>
                    <a:pt x="39" y="97"/>
                  </a:lnTo>
                  <a:lnTo>
                    <a:pt x="32" y="84"/>
                  </a:lnTo>
                  <a:lnTo>
                    <a:pt x="42" y="72"/>
                  </a:lnTo>
                  <a:lnTo>
                    <a:pt x="42" y="47"/>
                  </a:lnTo>
                  <a:lnTo>
                    <a:pt x="52" y="45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2701635" y="4949467"/>
              <a:ext cx="233156" cy="253305"/>
            </a:xfrm>
            <a:custGeom>
              <a:avLst/>
              <a:gdLst>
                <a:gd name="T0" fmla="*/ 30 w 162"/>
                <a:gd name="T1" fmla="*/ 84 h 176"/>
                <a:gd name="T2" fmla="*/ 35 w 162"/>
                <a:gd name="T3" fmla="*/ 94 h 176"/>
                <a:gd name="T4" fmla="*/ 45 w 162"/>
                <a:gd name="T5" fmla="*/ 97 h 176"/>
                <a:gd name="T6" fmla="*/ 55 w 162"/>
                <a:gd name="T7" fmla="*/ 107 h 176"/>
                <a:gd name="T8" fmla="*/ 60 w 162"/>
                <a:gd name="T9" fmla="*/ 119 h 176"/>
                <a:gd name="T10" fmla="*/ 84 w 162"/>
                <a:gd name="T11" fmla="*/ 122 h 176"/>
                <a:gd name="T12" fmla="*/ 89 w 162"/>
                <a:gd name="T13" fmla="*/ 124 h 176"/>
                <a:gd name="T14" fmla="*/ 97 w 162"/>
                <a:gd name="T15" fmla="*/ 131 h 176"/>
                <a:gd name="T16" fmla="*/ 89 w 162"/>
                <a:gd name="T17" fmla="*/ 156 h 176"/>
                <a:gd name="T18" fmla="*/ 84 w 162"/>
                <a:gd name="T19" fmla="*/ 174 h 176"/>
                <a:gd name="T20" fmla="*/ 142 w 162"/>
                <a:gd name="T21" fmla="*/ 176 h 176"/>
                <a:gd name="T22" fmla="*/ 142 w 162"/>
                <a:gd name="T23" fmla="*/ 166 h 176"/>
                <a:gd name="T24" fmla="*/ 154 w 162"/>
                <a:gd name="T25" fmla="*/ 159 h 176"/>
                <a:gd name="T26" fmla="*/ 162 w 162"/>
                <a:gd name="T27" fmla="*/ 144 h 176"/>
                <a:gd name="T28" fmla="*/ 159 w 162"/>
                <a:gd name="T29" fmla="*/ 139 h 176"/>
                <a:gd name="T30" fmla="*/ 157 w 162"/>
                <a:gd name="T31" fmla="*/ 94 h 176"/>
                <a:gd name="T32" fmla="*/ 142 w 162"/>
                <a:gd name="T33" fmla="*/ 92 h 176"/>
                <a:gd name="T34" fmla="*/ 139 w 162"/>
                <a:gd name="T35" fmla="*/ 72 h 176"/>
                <a:gd name="T36" fmla="*/ 122 w 162"/>
                <a:gd name="T37" fmla="*/ 69 h 176"/>
                <a:gd name="T38" fmla="*/ 112 w 162"/>
                <a:gd name="T39" fmla="*/ 67 h 176"/>
                <a:gd name="T40" fmla="*/ 109 w 162"/>
                <a:gd name="T41" fmla="*/ 57 h 176"/>
                <a:gd name="T42" fmla="*/ 92 w 162"/>
                <a:gd name="T43" fmla="*/ 54 h 176"/>
                <a:gd name="T44" fmla="*/ 89 w 162"/>
                <a:gd name="T45" fmla="*/ 40 h 176"/>
                <a:gd name="T46" fmla="*/ 77 w 162"/>
                <a:gd name="T47" fmla="*/ 35 h 176"/>
                <a:gd name="T48" fmla="*/ 77 w 162"/>
                <a:gd name="T49" fmla="*/ 22 h 176"/>
                <a:gd name="T50" fmla="*/ 70 w 162"/>
                <a:gd name="T51" fmla="*/ 7 h 176"/>
                <a:gd name="T52" fmla="*/ 47 w 162"/>
                <a:gd name="T53" fmla="*/ 0 h 176"/>
                <a:gd name="T54" fmla="*/ 35 w 162"/>
                <a:gd name="T55" fmla="*/ 10 h 176"/>
                <a:gd name="T56" fmla="*/ 12 w 162"/>
                <a:gd name="T57" fmla="*/ 20 h 176"/>
                <a:gd name="T58" fmla="*/ 7 w 162"/>
                <a:gd name="T59" fmla="*/ 35 h 176"/>
                <a:gd name="T60" fmla="*/ 0 w 162"/>
                <a:gd name="T61" fmla="*/ 64 h 176"/>
                <a:gd name="T62" fmla="*/ 12 w 162"/>
                <a:gd name="T63" fmla="*/ 77 h 176"/>
                <a:gd name="T64" fmla="*/ 30 w 162"/>
                <a:gd name="T65" fmla="*/ 8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176">
                  <a:moveTo>
                    <a:pt x="30" y="84"/>
                  </a:moveTo>
                  <a:lnTo>
                    <a:pt x="35" y="94"/>
                  </a:lnTo>
                  <a:lnTo>
                    <a:pt x="45" y="97"/>
                  </a:lnTo>
                  <a:lnTo>
                    <a:pt x="55" y="107"/>
                  </a:lnTo>
                  <a:lnTo>
                    <a:pt x="60" y="119"/>
                  </a:lnTo>
                  <a:lnTo>
                    <a:pt x="84" y="122"/>
                  </a:lnTo>
                  <a:lnTo>
                    <a:pt x="89" y="124"/>
                  </a:lnTo>
                  <a:lnTo>
                    <a:pt x="97" y="131"/>
                  </a:lnTo>
                  <a:lnTo>
                    <a:pt x="89" y="156"/>
                  </a:lnTo>
                  <a:lnTo>
                    <a:pt x="84" y="174"/>
                  </a:lnTo>
                  <a:lnTo>
                    <a:pt x="142" y="176"/>
                  </a:lnTo>
                  <a:lnTo>
                    <a:pt x="142" y="166"/>
                  </a:lnTo>
                  <a:lnTo>
                    <a:pt x="154" y="159"/>
                  </a:lnTo>
                  <a:lnTo>
                    <a:pt x="162" y="144"/>
                  </a:lnTo>
                  <a:lnTo>
                    <a:pt x="159" y="139"/>
                  </a:lnTo>
                  <a:lnTo>
                    <a:pt x="157" y="94"/>
                  </a:lnTo>
                  <a:lnTo>
                    <a:pt x="142" y="92"/>
                  </a:lnTo>
                  <a:lnTo>
                    <a:pt x="139" y="72"/>
                  </a:lnTo>
                  <a:lnTo>
                    <a:pt x="122" y="69"/>
                  </a:lnTo>
                  <a:lnTo>
                    <a:pt x="112" y="67"/>
                  </a:lnTo>
                  <a:lnTo>
                    <a:pt x="109" y="57"/>
                  </a:lnTo>
                  <a:lnTo>
                    <a:pt x="92" y="54"/>
                  </a:lnTo>
                  <a:lnTo>
                    <a:pt x="89" y="40"/>
                  </a:lnTo>
                  <a:lnTo>
                    <a:pt x="77" y="35"/>
                  </a:lnTo>
                  <a:lnTo>
                    <a:pt x="77" y="22"/>
                  </a:lnTo>
                  <a:lnTo>
                    <a:pt x="70" y="7"/>
                  </a:lnTo>
                  <a:lnTo>
                    <a:pt x="47" y="0"/>
                  </a:lnTo>
                  <a:lnTo>
                    <a:pt x="35" y="10"/>
                  </a:lnTo>
                  <a:lnTo>
                    <a:pt x="12" y="20"/>
                  </a:lnTo>
                  <a:lnTo>
                    <a:pt x="7" y="35"/>
                  </a:lnTo>
                  <a:lnTo>
                    <a:pt x="0" y="64"/>
                  </a:lnTo>
                  <a:lnTo>
                    <a:pt x="12" y="77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2311603" y="3839817"/>
              <a:ext cx="60448" cy="28785"/>
            </a:xfrm>
            <a:custGeom>
              <a:avLst/>
              <a:gdLst>
                <a:gd name="T0" fmla="*/ 10 w 42"/>
                <a:gd name="T1" fmla="*/ 0 h 20"/>
                <a:gd name="T2" fmla="*/ 25 w 42"/>
                <a:gd name="T3" fmla="*/ 0 h 20"/>
                <a:gd name="T4" fmla="*/ 42 w 42"/>
                <a:gd name="T5" fmla="*/ 8 h 20"/>
                <a:gd name="T6" fmla="*/ 35 w 42"/>
                <a:gd name="T7" fmla="*/ 20 h 20"/>
                <a:gd name="T8" fmla="*/ 15 w 42"/>
                <a:gd name="T9" fmla="*/ 20 h 20"/>
                <a:gd name="T10" fmla="*/ 0 w 42"/>
                <a:gd name="T11" fmla="*/ 13 h 20"/>
                <a:gd name="T12" fmla="*/ 10 w 42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0">
                  <a:moveTo>
                    <a:pt x="10" y="0"/>
                  </a:moveTo>
                  <a:lnTo>
                    <a:pt x="25" y="0"/>
                  </a:lnTo>
                  <a:lnTo>
                    <a:pt x="42" y="8"/>
                  </a:lnTo>
                  <a:lnTo>
                    <a:pt x="35" y="20"/>
                  </a:lnTo>
                  <a:lnTo>
                    <a:pt x="15" y="20"/>
                  </a:lnTo>
                  <a:lnTo>
                    <a:pt x="0" y="1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5"/>
            <p:cNvSpPr>
              <a:spLocks/>
            </p:cNvSpPr>
            <p:nvPr/>
          </p:nvSpPr>
          <p:spPr bwMode="auto">
            <a:xfrm>
              <a:off x="2475676" y="3793761"/>
              <a:ext cx="96428" cy="71962"/>
            </a:xfrm>
            <a:custGeom>
              <a:avLst/>
              <a:gdLst>
                <a:gd name="T0" fmla="*/ 0 w 67"/>
                <a:gd name="T1" fmla="*/ 50 h 50"/>
                <a:gd name="T2" fmla="*/ 5 w 67"/>
                <a:gd name="T3" fmla="*/ 35 h 50"/>
                <a:gd name="T4" fmla="*/ 5 w 67"/>
                <a:gd name="T5" fmla="*/ 10 h 50"/>
                <a:gd name="T6" fmla="*/ 5 w 67"/>
                <a:gd name="T7" fmla="*/ 0 h 50"/>
                <a:gd name="T8" fmla="*/ 23 w 67"/>
                <a:gd name="T9" fmla="*/ 2 h 50"/>
                <a:gd name="T10" fmla="*/ 28 w 67"/>
                <a:gd name="T11" fmla="*/ 10 h 50"/>
                <a:gd name="T12" fmla="*/ 35 w 67"/>
                <a:gd name="T13" fmla="*/ 12 h 50"/>
                <a:gd name="T14" fmla="*/ 43 w 67"/>
                <a:gd name="T15" fmla="*/ 12 h 50"/>
                <a:gd name="T16" fmla="*/ 48 w 67"/>
                <a:gd name="T17" fmla="*/ 25 h 50"/>
                <a:gd name="T18" fmla="*/ 55 w 67"/>
                <a:gd name="T19" fmla="*/ 30 h 50"/>
                <a:gd name="T20" fmla="*/ 67 w 67"/>
                <a:gd name="T21" fmla="*/ 37 h 50"/>
                <a:gd name="T22" fmla="*/ 65 w 67"/>
                <a:gd name="T23" fmla="*/ 45 h 50"/>
                <a:gd name="T24" fmla="*/ 48 w 67"/>
                <a:gd name="T25" fmla="*/ 47 h 50"/>
                <a:gd name="T26" fmla="*/ 23 w 67"/>
                <a:gd name="T27" fmla="*/ 45 h 50"/>
                <a:gd name="T28" fmla="*/ 0 w 67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50">
                  <a:moveTo>
                    <a:pt x="0" y="50"/>
                  </a:moveTo>
                  <a:lnTo>
                    <a:pt x="5" y="35"/>
                  </a:lnTo>
                  <a:lnTo>
                    <a:pt x="5" y="10"/>
                  </a:lnTo>
                  <a:lnTo>
                    <a:pt x="5" y="0"/>
                  </a:lnTo>
                  <a:lnTo>
                    <a:pt x="23" y="2"/>
                  </a:lnTo>
                  <a:lnTo>
                    <a:pt x="28" y="10"/>
                  </a:lnTo>
                  <a:lnTo>
                    <a:pt x="35" y="12"/>
                  </a:lnTo>
                  <a:lnTo>
                    <a:pt x="43" y="12"/>
                  </a:lnTo>
                  <a:lnTo>
                    <a:pt x="48" y="25"/>
                  </a:lnTo>
                  <a:lnTo>
                    <a:pt x="55" y="30"/>
                  </a:lnTo>
                  <a:lnTo>
                    <a:pt x="67" y="37"/>
                  </a:lnTo>
                  <a:lnTo>
                    <a:pt x="65" y="45"/>
                  </a:lnTo>
                  <a:lnTo>
                    <a:pt x="48" y="47"/>
                  </a:lnTo>
                  <a:lnTo>
                    <a:pt x="23" y="45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2593693" y="3844134"/>
              <a:ext cx="40299" cy="24467"/>
            </a:xfrm>
            <a:custGeom>
              <a:avLst/>
              <a:gdLst>
                <a:gd name="T0" fmla="*/ 10 w 28"/>
                <a:gd name="T1" fmla="*/ 0 h 17"/>
                <a:gd name="T2" fmla="*/ 0 w 28"/>
                <a:gd name="T3" fmla="*/ 7 h 17"/>
                <a:gd name="T4" fmla="*/ 5 w 28"/>
                <a:gd name="T5" fmla="*/ 12 h 17"/>
                <a:gd name="T6" fmla="*/ 18 w 28"/>
                <a:gd name="T7" fmla="*/ 17 h 17"/>
                <a:gd name="T8" fmla="*/ 28 w 28"/>
                <a:gd name="T9" fmla="*/ 12 h 17"/>
                <a:gd name="T10" fmla="*/ 28 w 28"/>
                <a:gd name="T11" fmla="*/ 0 h 17"/>
                <a:gd name="T12" fmla="*/ 10 w 2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7">
                  <a:moveTo>
                    <a:pt x="10" y="0"/>
                  </a:moveTo>
                  <a:lnTo>
                    <a:pt x="0" y="7"/>
                  </a:lnTo>
                  <a:lnTo>
                    <a:pt x="5" y="12"/>
                  </a:lnTo>
                  <a:lnTo>
                    <a:pt x="18" y="17"/>
                  </a:lnTo>
                  <a:lnTo>
                    <a:pt x="28" y="12"/>
                  </a:lnTo>
                  <a:lnTo>
                    <a:pt x="28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7"/>
            <p:cNvSpPr>
              <a:spLocks/>
            </p:cNvSpPr>
            <p:nvPr/>
          </p:nvSpPr>
          <p:spPr bwMode="auto">
            <a:xfrm>
              <a:off x="3818482" y="3890190"/>
              <a:ext cx="171269" cy="146802"/>
            </a:xfrm>
            <a:custGeom>
              <a:avLst/>
              <a:gdLst>
                <a:gd name="T0" fmla="*/ 22 w 119"/>
                <a:gd name="T1" fmla="*/ 80 h 102"/>
                <a:gd name="T2" fmla="*/ 22 w 119"/>
                <a:gd name="T3" fmla="*/ 94 h 102"/>
                <a:gd name="T4" fmla="*/ 37 w 119"/>
                <a:gd name="T5" fmla="*/ 94 h 102"/>
                <a:gd name="T6" fmla="*/ 44 w 119"/>
                <a:gd name="T7" fmla="*/ 102 h 102"/>
                <a:gd name="T8" fmla="*/ 54 w 119"/>
                <a:gd name="T9" fmla="*/ 89 h 102"/>
                <a:gd name="T10" fmla="*/ 74 w 119"/>
                <a:gd name="T11" fmla="*/ 82 h 102"/>
                <a:gd name="T12" fmla="*/ 99 w 119"/>
                <a:gd name="T13" fmla="*/ 87 h 102"/>
                <a:gd name="T14" fmla="*/ 119 w 119"/>
                <a:gd name="T15" fmla="*/ 87 h 102"/>
                <a:gd name="T16" fmla="*/ 109 w 119"/>
                <a:gd name="T17" fmla="*/ 67 h 102"/>
                <a:gd name="T18" fmla="*/ 99 w 119"/>
                <a:gd name="T19" fmla="*/ 57 h 102"/>
                <a:gd name="T20" fmla="*/ 97 w 119"/>
                <a:gd name="T21" fmla="*/ 42 h 102"/>
                <a:gd name="T22" fmla="*/ 84 w 119"/>
                <a:gd name="T23" fmla="*/ 35 h 102"/>
                <a:gd name="T24" fmla="*/ 69 w 119"/>
                <a:gd name="T25" fmla="*/ 15 h 102"/>
                <a:gd name="T26" fmla="*/ 57 w 119"/>
                <a:gd name="T27" fmla="*/ 10 h 102"/>
                <a:gd name="T28" fmla="*/ 49 w 119"/>
                <a:gd name="T29" fmla="*/ 0 h 102"/>
                <a:gd name="T30" fmla="*/ 34 w 119"/>
                <a:gd name="T31" fmla="*/ 2 h 102"/>
                <a:gd name="T32" fmla="*/ 12 w 119"/>
                <a:gd name="T33" fmla="*/ 27 h 102"/>
                <a:gd name="T34" fmla="*/ 0 w 119"/>
                <a:gd name="T35" fmla="*/ 35 h 102"/>
                <a:gd name="T36" fmla="*/ 14 w 119"/>
                <a:gd name="T37" fmla="*/ 37 h 102"/>
                <a:gd name="T38" fmla="*/ 27 w 119"/>
                <a:gd name="T39" fmla="*/ 52 h 102"/>
                <a:gd name="T40" fmla="*/ 34 w 119"/>
                <a:gd name="T41" fmla="*/ 60 h 102"/>
                <a:gd name="T42" fmla="*/ 22 w 119"/>
                <a:gd name="T43" fmla="*/ 67 h 102"/>
                <a:gd name="T44" fmla="*/ 22 w 119"/>
                <a:gd name="T45" fmla="*/ 8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" h="102">
                  <a:moveTo>
                    <a:pt x="22" y="80"/>
                  </a:moveTo>
                  <a:lnTo>
                    <a:pt x="22" y="94"/>
                  </a:lnTo>
                  <a:lnTo>
                    <a:pt x="37" y="94"/>
                  </a:lnTo>
                  <a:lnTo>
                    <a:pt x="44" y="102"/>
                  </a:lnTo>
                  <a:lnTo>
                    <a:pt x="54" y="89"/>
                  </a:lnTo>
                  <a:lnTo>
                    <a:pt x="74" y="82"/>
                  </a:lnTo>
                  <a:lnTo>
                    <a:pt x="99" y="87"/>
                  </a:lnTo>
                  <a:lnTo>
                    <a:pt x="119" y="87"/>
                  </a:lnTo>
                  <a:lnTo>
                    <a:pt x="109" y="67"/>
                  </a:lnTo>
                  <a:lnTo>
                    <a:pt x="99" y="57"/>
                  </a:lnTo>
                  <a:lnTo>
                    <a:pt x="97" y="42"/>
                  </a:lnTo>
                  <a:lnTo>
                    <a:pt x="84" y="35"/>
                  </a:lnTo>
                  <a:lnTo>
                    <a:pt x="69" y="15"/>
                  </a:lnTo>
                  <a:lnTo>
                    <a:pt x="57" y="10"/>
                  </a:lnTo>
                  <a:lnTo>
                    <a:pt x="49" y="0"/>
                  </a:lnTo>
                  <a:lnTo>
                    <a:pt x="34" y="2"/>
                  </a:lnTo>
                  <a:lnTo>
                    <a:pt x="12" y="27"/>
                  </a:lnTo>
                  <a:lnTo>
                    <a:pt x="0" y="35"/>
                  </a:lnTo>
                  <a:lnTo>
                    <a:pt x="14" y="37"/>
                  </a:lnTo>
                  <a:lnTo>
                    <a:pt x="27" y="52"/>
                  </a:lnTo>
                  <a:lnTo>
                    <a:pt x="34" y="60"/>
                  </a:lnTo>
                  <a:lnTo>
                    <a:pt x="22" y="67"/>
                  </a:lnTo>
                  <a:lnTo>
                    <a:pt x="22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0"/>
            <p:cNvSpPr>
              <a:spLocks/>
            </p:cNvSpPr>
            <p:nvPr/>
          </p:nvSpPr>
          <p:spPr bwMode="auto">
            <a:xfrm>
              <a:off x="7897275" y="4451491"/>
              <a:ext cx="207250" cy="218764"/>
            </a:xfrm>
            <a:custGeom>
              <a:avLst/>
              <a:gdLst>
                <a:gd name="T0" fmla="*/ 19 w 144"/>
                <a:gd name="T1" fmla="*/ 90 h 152"/>
                <a:gd name="T2" fmla="*/ 0 w 144"/>
                <a:gd name="T3" fmla="*/ 0 h 152"/>
                <a:gd name="T4" fmla="*/ 17 w 144"/>
                <a:gd name="T5" fmla="*/ 8 h 152"/>
                <a:gd name="T6" fmla="*/ 47 w 144"/>
                <a:gd name="T7" fmla="*/ 5 h 152"/>
                <a:gd name="T8" fmla="*/ 47 w 144"/>
                <a:gd name="T9" fmla="*/ 30 h 152"/>
                <a:gd name="T10" fmla="*/ 64 w 144"/>
                <a:gd name="T11" fmla="*/ 38 h 152"/>
                <a:gd name="T12" fmla="*/ 69 w 144"/>
                <a:gd name="T13" fmla="*/ 50 h 152"/>
                <a:gd name="T14" fmla="*/ 84 w 144"/>
                <a:gd name="T15" fmla="*/ 62 h 152"/>
                <a:gd name="T16" fmla="*/ 94 w 144"/>
                <a:gd name="T17" fmla="*/ 72 h 152"/>
                <a:gd name="T18" fmla="*/ 92 w 144"/>
                <a:gd name="T19" fmla="*/ 92 h 152"/>
                <a:gd name="T20" fmla="*/ 104 w 144"/>
                <a:gd name="T21" fmla="*/ 115 h 152"/>
                <a:gd name="T22" fmla="*/ 129 w 144"/>
                <a:gd name="T23" fmla="*/ 122 h 152"/>
                <a:gd name="T24" fmla="*/ 144 w 144"/>
                <a:gd name="T25" fmla="*/ 147 h 152"/>
                <a:gd name="T26" fmla="*/ 131 w 144"/>
                <a:gd name="T27" fmla="*/ 149 h 152"/>
                <a:gd name="T28" fmla="*/ 121 w 144"/>
                <a:gd name="T29" fmla="*/ 152 h 152"/>
                <a:gd name="T30" fmla="*/ 116 w 144"/>
                <a:gd name="T31" fmla="*/ 152 h 152"/>
                <a:gd name="T32" fmla="*/ 101 w 144"/>
                <a:gd name="T33" fmla="*/ 144 h 152"/>
                <a:gd name="T34" fmla="*/ 89 w 144"/>
                <a:gd name="T35" fmla="*/ 142 h 152"/>
                <a:gd name="T36" fmla="*/ 64 w 144"/>
                <a:gd name="T37" fmla="*/ 117 h 152"/>
                <a:gd name="T38" fmla="*/ 49 w 144"/>
                <a:gd name="T39" fmla="*/ 95 h 152"/>
                <a:gd name="T40" fmla="*/ 19 w 144"/>
                <a:gd name="T41" fmla="*/ 9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52">
                  <a:moveTo>
                    <a:pt x="19" y="90"/>
                  </a:moveTo>
                  <a:lnTo>
                    <a:pt x="0" y="0"/>
                  </a:lnTo>
                  <a:lnTo>
                    <a:pt x="17" y="8"/>
                  </a:lnTo>
                  <a:lnTo>
                    <a:pt x="47" y="5"/>
                  </a:lnTo>
                  <a:lnTo>
                    <a:pt x="47" y="30"/>
                  </a:lnTo>
                  <a:lnTo>
                    <a:pt x="64" y="38"/>
                  </a:lnTo>
                  <a:lnTo>
                    <a:pt x="69" y="50"/>
                  </a:lnTo>
                  <a:lnTo>
                    <a:pt x="84" y="62"/>
                  </a:lnTo>
                  <a:lnTo>
                    <a:pt x="94" y="72"/>
                  </a:lnTo>
                  <a:lnTo>
                    <a:pt x="92" y="92"/>
                  </a:lnTo>
                  <a:lnTo>
                    <a:pt x="104" y="115"/>
                  </a:lnTo>
                  <a:lnTo>
                    <a:pt x="129" y="122"/>
                  </a:lnTo>
                  <a:lnTo>
                    <a:pt x="144" y="147"/>
                  </a:lnTo>
                  <a:lnTo>
                    <a:pt x="131" y="149"/>
                  </a:lnTo>
                  <a:lnTo>
                    <a:pt x="121" y="152"/>
                  </a:lnTo>
                  <a:lnTo>
                    <a:pt x="116" y="152"/>
                  </a:lnTo>
                  <a:lnTo>
                    <a:pt x="101" y="144"/>
                  </a:lnTo>
                  <a:lnTo>
                    <a:pt x="89" y="142"/>
                  </a:lnTo>
                  <a:lnTo>
                    <a:pt x="64" y="117"/>
                  </a:lnTo>
                  <a:lnTo>
                    <a:pt x="49" y="95"/>
                  </a:lnTo>
                  <a:lnTo>
                    <a:pt x="19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1"/>
            <p:cNvSpPr>
              <a:spLocks/>
            </p:cNvSpPr>
            <p:nvPr/>
          </p:nvSpPr>
          <p:spPr bwMode="auto">
            <a:xfrm>
              <a:off x="8068545" y="4491790"/>
              <a:ext cx="67644" cy="53252"/>
            </a:xfrm>
            <a:custGeom>
              <a:avLst/>
              <a:gdLst>
                <a:gd name="T0" fmla="*/ 2 w 47"/>
                <a:gd name="T1" fmla="*/ 17 h 37"/>
                <a:gd name="T2" fmla="*/ 0 w 47"/>
                <a:gd name="T3" fmla="*/ 32 h 37"/>
                <a:gd name="T4" fmla="*/ 17 w 47"/>
                <a:gd name="T5" fmla="*/ 37 h 37"/>
                <a:gd name="T6" fmla="*/ 40 w 47"/>
                <a:gd name="T7" fmla="*/ 24 h 37"/>
                <a:gd name="T8" fmla="*/ 47 w 47"/>
                <a:gd name="T9" fmla="*/ 12 h 37"/>
                <a:gd name="T10" fmla="*/ 47 w 47"/>
                <a:gd name="T11" fmla="*/ 0 h 37"/>
                <a:gd name="T12" fmla="*/ 32 w 47"/>
                <a:gd name="T13" fmla="*/ 0 h 37"/>
                <a:gd name="T14" fmla="*/ 27 w 47"/>
                <a:gd name="T15" fmla="*/ 12 h 37"/>
                <a:gd name="T16" fmla="*/ 2 w 47"/>
                <a:gd name="T17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2" y="17"/>
                  </a:moveTo>
                  <a:lnTo>
                    <a:pt x="0" y="32"/>
                  </a:lnTo>
                  <a:lnTo>
                    <a:pt x="17" y="37"/>
                  </a:lnTo>
                  <a:lnTo>
                    <a:pt x="40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32" y="0"/>
                  </a:lnTo>
                  <a:lnTo>
                    <a:pt x="27" y="12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2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0 w 28"/>
                <a:gd name="T25" fmla="*/ 17 h 17"/>
                <a:gd name="T26" fmla="*/ 13 w 28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3 w 28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4451746" y="3249730"/>
              <a:ext cx="99308" cy="189979"/>
            </a:xfrm>
            <a:custGeom>
              <a:avLst/>
              <a:gdLst>
                <a:gd name="T0" fmla="*/ 37 w 69"/>
                <a:gd name="T1" fmla="*/ 132 h 132"/>
                <a:gd name="T2" fmla="*/ 27 w 69"/>
                <a:gd name="T3" fmla="*/ 129 h 132"/>
                <a:gd name="T4" fmla="*/ 24 w 69"/>
                <a:gd name="T5" fmla="*/ 109 h 132"/>
                <a:gd name="T6" fmla="*/ 7 w 69"/>
                <a:gd name="T7" fmla="*/ 104 h 132"/>
                <a:gd name="T8" fmla="*/ 0 w 69"/>
                <a:gd name="T9" fmla="*/ 85 h 132"/>
                <a:gd name="T10" fmla="*/ 5 w 69"/>
                <a:gd name="T11" fmla="*/ 65 h 132"/>
                <a:gd name="T12" fmla="*/ 22 w 69"/>
                <a:gd name="T13" fmla="*/ 60 h 132"/>
                <a:gd name="T14" fmla="*/ 12 w 69"/>
                <a:gd name="T15" fmla="*/ 45 h 132"/>
                <a:gd name="T16" fmla="*/ 14 w 69"/>
                <a:gd name="T17" fmla="*/ 32 h 132"/>
                <a:gd name="T18" fmla="*/ 24 w 69"/>
                <a:gd name="T19" fmla="*/ 32 h 132"/>
                <a:gd name="T20" fmla="*/ 19 w 69"/>
                <a:gd name="T21" fmla="*/ 7 h 132"/>
                <a:gd name="T22" fmla="*/ 32 w 69"/>
                <a:gd name="T23" fmla="*/ 0 h 132"/>
                <a:gd name="T24" fmla="*/ 42 w 69"/>
                <a:gd name="T25" fmla="*/ 0 h 132"/>
                <a:gd name="T26" fmla="*/ 49 w 69"/>
                <a:gd name="T27" fmla="*/ 5 h 132"/>
                <a:gd name="T28" fmla="*/ 64 w 69"/>
                <a:gd name="T29" fmla="*/ 12 h 132"/>
                <a:gd name="T30" fmla="*/ 59 w 69"/>
                <a:gd name="T31" fmla="*/ 27 h 132"/>
                <a:gd name="T32" fmla="*/ 67 w 69"/>
                <a:gd name="T33" fmla="*/ 37 h 132"/>
                <a:gd name="T34" fmla="*/ 64 w 69"/>
                <a:gd name="T35" fmla="*/ 60 h 132"/>
                <a:gd name="T36" fmla="*/ 52 w 69"/>
                <a:gd name="T37" fmla="*/ 62 h 132"/>
                <a:gd name="T38" fmla="*/ 49 w 69"/>
                <a:gd name="T39" fmla="*/ 80 h 132"/>
                <a:gd name="T40" fmla="*/ 62 w 69"/>
                <a:gd name="T41" fmla="*/ 82 h 132"/>
                <a:gd name="T42" fmla="*/ 69 w 69"/>
                <a:gd name="T43" fmla="*/ 92 h 132"/>
                <a:gd name="T44" fmla="*/ 64 w 69"/>
                <a:gd name="T45" fmla="*/ 119 h 132"/>
                <a:gd name="T46" fmla="*/ 54 w 69"/>
                <a:gd name="T47" fmla="*/ 122 h 132"/>
                <a:gd name="T48" fmla="*/ 37 w 69"/>
                <a:gd name="T4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" h="132">
                  <a:moveTo>
                    <a:pt x="37" y="132"/>
                  </a:moveTo>
                  <a:lnTo>
                    <a:pt x="27" y="129"/>
                  </a:lnTo>
                  <a:lnTo>
                    <a:pt x="24" y="109"/>
                  </a:lnTo>
                  <a:lnTo>
                    <a:pt x="7" y="104"/>
                  </a:lnTo>
                  <a:lnTo>
                    <a:pt x="0" y="85"/>
                  </a:lnTo>
                  <a:lnTo>
                    <a:pt x="5" y="65"/>
                  </a:lnTo>
                  <a:lnTo>
                    <a:pt x="22" y="60"/>
                  </a:lnTo>
                  <a:lnTo>
                    <a:pt x="12" y="45"/>
                  </a:lnTo>
                  <a:lnTo>
                    <a:pt x="14" y="32"/>
                  </a:lnTo>
                  <a:lnTo>
                    <a:pt x="24" y="32"/>
                  </a:lnTo>
                  <a:lnTo>
                    <a:pt x="19" y="7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9" y="5"/>
                  </a:lnTo>
                  <a:lnTo>
                    <a:pt x="64" y="12"/>
                  </a:lnTo>
                  <a:lnTo>
                    <a:pt x="59" y="27"/>
                  </a:lnTo>
                  <a:lnTo>
                    <a:pt x="67" y="37"/>
                  </a:lnTo>
                  <a:lnTo>
                    <a:pt x="64" y="60"/>
                  </a:lnTo>
                  <a:lnTo>
                    <a:pt x="52" y="62"/>
                  </a:lnTo>
                  <a:lnTo>
                    <a:pt x="49" y="80"/>
                  </a:lnTo>
                  <a:lnTo>
                    <a:pt x="62" y="82"/>
                  </a:lnTo>
                  <a:lnTo>
                    <a:pt x="69" y="92"/>
                  </a:lnTo>
                  <a:lnTo>
                    <a:pt x="64" y="119"/>
                  </a:lnTo>
                  <a:lnTo>
                    <a:pt x="54" y="122"/>
                  </a:lnTo>
                  <a:lnTo>
                    <a:pt x="37" y="1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auto">
            <a:xfrm>
              <a:off x="7288479" y="3628249"/>
              <a:ext cx="43177" cy="86354"/>
            </a:xfrm>
            <a:custGeom>
              <a:avLst/>
              <a:gdLst>
                <a:gd name="T0" fmla="*/ 15 w 30"/>
                <a:gd name="T1" fmla="*/ 0 h 60"/>
                <a:gd name="T2" fmla="*/ 2 w 30"/>
                <a:gd name="T3" fmla="*/ 15 h 60"/>
                <a:gd name="T4" fmla="*/ 0 w 30"/>
                <a:gd name="T5" fmla="*/ 40 h 60"/>
                <a:gd name="T6" fmla="*/ 17 w 30"/>
                <a:gd name="T7" fmla="*/ 60 h 60"/>
                <a:gd name="T8" fmla="*/ 30 w 30"/>
                <a:gd name="T9" fmla="*/ 30 h 60"/>
                <a:gd name="T10" fmla="*/ 15 w 30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0">
                  <a:moveTo>
                    <a:pt x="15" y="0"/>
                  </a:moveTo>
                  <a:lnTo>
                    <a:pt x="2" y="15"/>
                  </a:lnTo>
                  <a:lnTo>
                    <a:pt x="0" y="40"/>
                  </a:lnTo>
                  <a:lnTo>
                    <a:pt x="17" y="60"/>
                  </a:lnTo>
                  <a:lnTo>
                    <a:pt x="30" y="3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6"/>
            <p:cNvSpPr>
              <a:spLocks/>
            </p:cNvSpPr>
            <p:nvPr/>
          </p:nvSpPr>
          <p:spPr bwMode="auto">
            <a:xfrm>
              <a:off x="6268061" y="3478568"/>
              <a:ext cx="215885" cy="110822"/>
            </a:xfrm>
            <a:custGeom>
              <a:avLst/>
              <a:gdLst>
                <a:gd name="T0" fmla="*/ 0 w 150"/>
                <a:gd name="T1" fmla="*/ 0 h 77"/>
                <a:gd name="T2" fmla="*/ 20 w 150"/>
                <a:gd name="T3" fmla="*/ 0 h 77"/>
                <a:gd name="T4" fmla="*/ 35 w 150"/>
                <a:gd name="T5" fmla="*/ 15 h 77"/>
                <a:gd name="T6" fmla="*/ 55 w 150"/>
                <a:gd name="T7" fmla="*/ 25 h 77"/>
                <a:gd name="T8" fmla="*/ 60 w 150"/>
                <a:gd name="T9" fmla="*/ 13 h 77"/>
                <a:gd name="T10" fmla="*/ 63 w 150"/>
                <a:gd name="T11" fmla="*/ 32 h 77"/>
                <a:gd name="T12" fmla="*/ 75 w 150"/>
                <a:gd name="T13" fmla="*/ 40 h 77"/>
                <a:gd name="T14" fmla="*/ 92 w 150"/>
                <a:gd name="T15" fmla="*/ 50 h 77"/>
                <a:gd name="T16" fmla="*/ 132 w 150"/>
                <a:gd name="T17" fmla="*/ 52 h 77"/>
                <a:gd name="T18" fmla="*/ 150 w 150"/>
                <a:gd name="T19" fmla="*/ 57 h 77"/>
                <a:gd name="T20" fmla="*/ 140 w 150"/>
                <a:gd name="T21" fmla="*/ 75 h 77"/>
                <a:gd name="T22" fmla="*/ 122 w 150"/>
                <a:gd name="T23" fmla="*/ 75 h 77"/>
                <a:gd name="T24" fmla="*/ 105 w 150"/>
                <a:gd name="T25" fmla="*/ 77 h 77"/>
                <a:gd name="T26" fmla="*/ 87 w 150"/>
                <a:gd name="T27" fmla="*/ 67 h 77"/>
                <a:gd name="T28" fmla="*/ 68 w 150"/>
                <a:gd name="T29" fmla="*/ 65 h 77"/>
                <a:gd name="T30" fmla="*/ 40 w 150"/>
                <a:gd name="T31" fmla="*/ 52 h 77"/>
                <a:gd name="T32" fmla="*/ 18 w 150"/>
                <a:gd name="T33" fmla="*/ 47 h 77"/>
                <a:gd name="T34" fmla="*/ 3 w 150"/>
                <a:gd name="T35" fmla="*/ 30 h 77"/>
                <a:gd name="T36" fmla="*/ 0 w 150"/>
                <a:gd name="T3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" h="77">
                  <a:moveTo>
                    <a:pt x="0" y="0"/>
                  </a:moveTo>
                  <a:lnTo>
                    <a:pt x="20" y="0"/>
                  </a:lnTo>
                  <a:lnTo>
                    <a:pt x="35" y="15"/>
                  </a:lnTo>
                  <a:lnTo>
                    <a:pt x="55" y="25"/>
                  </a:lnTo>
                  <a:lnTo>
                    <a:pt x="60" y="13"/>
                  </a:lnTo>
                  <a:lnTo>
                    <a:pt x="63" y="32"/>
                  </a:lnTo>
                  <a:lnTo>
                    <a:pt x="75" y="40"/>
                  </a:lnTo>
                  <a:lnTo>
                    <a:pt x="92" y="50"/>
                  </a:lnTo>
                  <a:lnTo>
                    <a:pt x="132" y="52"/>
                  </a:lnTo>
                  <a:lnTo>
                    <a:pt x="150" y="57"/>
                  </a:lnTo>
                  <a:lnTo>
                    <a:pt x="140" y="75"/>
                  </a:lnTo>
                  <a:lnTo>
                    <a:pt x="122" y="75"/>
                  </a:lnTo>
                  <a:lnTo>
                    <a:pt x="105" y="77"/>
                  </a:lnTo>
                  <a:lnTo>
                    <a:pt x="87" y="67"/>
                  </a:lnTo>
                  <a:lnTo>
                    <a:pt x="68" y="65"/>
                  </a:lnTo>
                  <a:lnTo>
                    <a:pt x="40" y="52"/>
                  </a:lnTo>
                  <a:lnTo>
                    <a:pt x="18" y="47"/>
                  </a:lnTo>
                  <a:lnTo>
                    <a:pt x="3" y="3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6737252" y="3747706"/>
              <a:ext cx="200054" cy="349734"/>
            </a:xfrm>
            <a:custGeom>
              <a:avLst/>
              <a:gdLst>
                <a:gd name="T0" fmla="*/ 18 w 139"/>
                <a:gd name="T1" fmla="*/ 218 h 243"/>
                <a:gd name="T2" fmla="*/ 25 w 139"/>
                <a:gd name="T3" fmla="*/ 206 h 243"/>
                <a:gd name="T4" fmla="*/ 37 w 139"/>
                <a:gd name="T5" fmla="*/ 179 h 243"/>
                <a:gd name="T6" fmla="*/ 22 w 139"/>
                <a:gd name="T7" fmla="*/ 166 h 243"/>
                <a:gd name="T8" fmla="*/ 15 w 139"/>
                <a:gd name="T9" fmla="*/ 144 h 243"/>
                <a:gd name="T10" fmla="*/ 15 w 139"/>
                <a:gd name="T11" fmla="*/ 129 h 243"/>
                <a:gd name="T12" fmla="*/ 20 w 139"/>
                <a:gd name="T13" fmla="*/ 96 h 243"/>
                <a:gd name="T14" fmla="*/ 5 w 139"/>
                <a:gd name="T15" fmla="*/ 79 h 243"/>
                <a:gd name="T16" fmla="*/ 0 w 139"/>
                <a:gd name="T17" fmla="*/ 67 h 243"/>
                <a:gd name="T18" fmla="*/ 3 w 139"/>
                <a:gd name="T19" fmla="*/ 34 h 243"/>
                <a:gd name="T20" fmla="*/ 20 w 139"/>
                <a:gd name="T21" fmla="*/ 27 h 243"/>
                <a:gd name="T22" fmla="*/ 30 w 139"/>
                <a:gd name="T23" fmla="*/ 17 h 243"/>
                <a:gd name="T24" fmla="*/ 40 w 139"/>
                <a:gd name="T25" fmla="*/ 0 h 243"/>
                <a:gd name="T26" fmla="*/ 42 w 139"/>
                <a:gd name="T27" fmla="*/ 14 h 243"/>
                <a:gd name="T28" fmla="*/ 47 w 139"/>
                <a:gd name="T29" fmla="*/ 34 h 243"/>
                <a:gd name="T30" fmla="*/ 55 w 139"/>
                <a:gd name="T31" fmla="*/ 42 h 243"/>
                <a:gd name="T32" fmla="*/ 67 w 139"/>
                <a:gd name="T33" fmla="*/ 47 h 243"/>
                <a:gd name="T34" fmla="*/ 87 w 139"/>
                <a:gd name="T35" fmla="*/ 72 h 243"/>
                <a:gd name="T36" fmla="*/ 100 w 139"/>
                <a:gd name="T37" fmla="*/ 59 h 243"/>
                <a:gd name="T38" fmla="*/ 114 w 139"/>
                <a:gd name="T39" fmla="*/ 74 h 243"/>
                <a:gd name="T40" fmla="*/ 124 w 139"/>
                <a:gd name="T41" fmla="*/ 99 h 243"/>
                <a:gd name="T42" fmla="*/ 129 w 139"/>
                <a:gd name="T43" fmla="*/ 111 h 243"/>
                <a:gd name="T44" fmla="*/ 139 w 139"/>
                <a:gd name="T45" fmla="*/ 114 h 243"/>
                <a:gd name="T46" fmla="*/ 139 w 139"/>
                <a:gd name="T47" fmla="*/ 144 h 243"/>
                <a:gd name="T48" fmla="*/ 119 w 139"/>
                <a:gd name="T49" fmla="*/ 146 h 243"/>
                <a:gd name="T50" fmla="*/ 102 w 139"/>
                <a:gd name="T51" fmla="*/ 136 h 243"/>
                <a:gd name="T52" fmla="*/ 87 w 139"/>
                <a:gd name="T53" fmla="*/ 151 h 243"/>
                <a:gd name="T54" fmla="*/ 80 w 139"/>
                <a:gd name="T55" fmla="*/ 174 h 243"/>
                <a:gd name="T56" fmla="*/ 60 w 139"/>
                <a:gd name="T57" fmla="*/ 171 h 243"/>
                <a:gd name="T58" fmla="*/ 50 w 139"/>
                <a:gd name="T59" fmla="*/ 208 h 243"/>
                <a:gd name="T60" fmla="*/ 60 w 139"/>
                <a:gd name="T61" fmla="*/ 226 h 243"/>
                <a:gd name="T62" fmla="*/ 45 w 139"/>
                <a:gd name="T63" fmla="*/ 243 h 243"/>
                <a:gd name="T64" fmla="*/ 30 w 139"/>
                <a:gd name="T65" fmla="*/ 233 h 243"/>
                <a:gd name="T66" fmla="*/ 18 w 139"/>
                <a:gd name="T67" fmla="*/ 21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243">
                  <a:moveTo>
                    <a:pt x="18" y="218"/>
                  </a:moveTo>
                  <a:lnTo>
                    <a:pt x="25" y="206"/>
                  </a:lnTo>
                  <a:lnTo>
                    <a:pt x="37" y="179"/>
                  </a:lnTo>
                  <a:lnTo>
                    <a:pt x="22" y="166"/>
                  </a:lnTo>
                  <a:lnTo>
                    <a:pt x="15" y="144"/>
                  </a:lnTo>
                  <a:lnTo>
                    <a:pt x="15" y="129"/>
                  </a:lnTo>
                  <a:lnTo>
                    <a:pt x="20" y="96"/>
                  </a:lnTo>
                  <a:lnTo>
                    <a:pt x="5" y="79"/>
                  </a:lnTo>
                  <a:lnTo>
                    <a:pt x="0" y="67"/>
                  </a:lnTo>
                  <a:lnTo>
                    <a:pt x="3" y="34"/>
                  </a:lnTo>
                  <a:lnTo>
                    <a:pt x="20" y="27"/>
                  </a:lnTo>
                  <a:lnTo>
                    <a:pt x="30" y="17"/>
                  </a:lnTo>
                  <a:lnTo>
                    <a:pt x="40" y="0"/>
                  </a:lnTo>
                  <a:lnTo>
                    <a:pt x="42" y="14"/>
                  </a:lnTo>
                  <a:lnTo>
                    <a:pt x="47" y="34"/>
                  </a:lnTo>
                  <a:lnTo>
                    <a:pt x="55" y="42"/>
                  </a:lnTo>
                  <a:lnTo>
                    <a:pt x="67" y="47"/>
                  </a:lnTo>
                  <a:lnTo>
                    <a:pt x="87" y="72"/>
                  </a:lnTo>
                  <a:lnTo>
                    <a:pt x="100" y="59"/>
                  </a:lnTo>
                  <a:lnTo>
                    <a:pt x="114" y="74"/>
                  </a:lnTo>
                  <a:lnTo>
                    <a:pt x="124" y="99"/>
                  </a:lnTo>
                  <a:lnTo>
                    <a:pt x="129" y="111"/>
                  </a:lnTo>
                  <a:lnTo>
                    <a:pt x="139" y="114"/>
                  </a:lnTo>
                  <a:lnTo>
                    <a:pt x="139" y="144"/>
                  </a:lnTo>
                  <a:lnTo>
                    <a:pt x="119" y="146"/>
                  </a:lnTo>
                  <a:lnTo>
                    <a:pt x="102" y="136"/>
                  </a:lnTo>
                  <a:lnTo>
                    <a:pt x="87" y="151"/>
                  </a:lnTo>
                  <a:lnTo>
                    <a:pt x="80" y="174"/>
                  </a:lnTo>
                  <a:lnTo>
                    <a:pt x="60" y="171"/>
                  </a:lnTo>
                  <a:lnTo>
                    <a:pt x="50" y="208"/>
                  </a:lnTo>
                  <a:lnTo>
                    <a:pt x="60" y="226"/>
                  </a:lnTo>
                  <a:lnTo>
                    <a:pt x="45" y="243"/>
                  </a:lnTo>
                  <a:lnTo>
                    <a:pt x="30" y="233"/>
                  </a:lnTo>
                  <a:lnTo>
                    <a:pt x="18" y="2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8"/>
            <p:cNvSpPr>
              <a:spLocks/>
            </p:cNvSpPr>
            <p:nvPr/>
          </p:nvSpPr>
          <p:spPr bwMode="auto">
            <a:xfrm>
              <a:off x="5335436" y="2050847"/>
              <a:ext cx="38860" cy="43177"/>
            </a:xfrm>
            <a:custGeom>
              <a:avLst/>
              <a:gdLst>
                <a:gd name="T0" fmla="*/ 12 w 27"/>
                <a:gd name="T1" fmla="*/ 0 h 30"/>
                <a:gd name="T2" fmla="*/ 0 w 27"/>
                <a:gd name="T3" fmla="*/ 18 h 30"/>
                <a:gd name="T4" fmla="*/ 5 w 27"/>
                <a:gd name="T5" fmla="*/ 30 h 30"/>
                <a:gd name="T6" fmla="*/ 15 w 27"/>
                <a:gd name="T7" fmla="*/ 28 h 30"/>
                <a:gd name="T8" fmla="*/ 27 w 27"/>
                <a:gd name="T9" fmla="*/ 13 h 30"/>
                <a:gd name="T10" fmla="*/ 12 w 27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0">
                  <a:moveTo>
                    <a:pt x="12" y="0"/>
                  </a:moveTo>
                  <a:lnTo>
                    <a:pt x="0" y="18"/>
                  </a:lnTo>
                  <a:lnTo>
                    <a:pt x="5" y="30"/>
                  </a:lnTo>
                  <a:lnTo>
                    <a:pt x="15" y="28"/>
                  </a:lnTo>
                  <a:lnTo>
                    <a:pt x="27" y="13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9"/>
            <p:cNvSpPr>
              <a:spLocks/>
            </p:cNvSpPr>
            <p:nvPr/>
          </p:nvSpPr>
          <p:spPr bwMode="auto">
            <a:xfrm>
              <a:off x="5531172" y="2014866"/>
              <a:ext cx="57569" cy="25906"/>
            </a:xfrm>
            <a:custGeom>
              <a:avLst/>
              <a:gdLst>
                <a:gd name="T0" fmla="*/ 35 w 40"/>
                <a:gd name="T1" fmla="*/ 5 h 18"/>
                <a:gd name="T2" fmla="*/ 18 w 40"/>
                <a:gd name="T3" fmla="*/ 0 h 18"/>
                <a:gd name="T4" fmla="*/ 0 w 40"/>
                <a:gd name="T5" fmla="*/ 15 h 18"/>
                <a:gd name="T6" fmla="*/ 13 w 40"/>
                <a:gd name="T7" fmla="*/ 15 h 18"/>
                <a:gd name="T8" fmla="*/ 40 w 40"/>
                <a:gd name="T9" fmla="*/ 18 h 18"/>
                <a:gd name="T10" fmla="*/ 35 w 40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8">
                  <a:moveTo>
                    <a:pt x="35" y="5"/>
                  </a:moveTo>
                  <a:lnTo>
                    <a:pt x="18" y="0"/>
                  </a:lnTo>
                  <a:lnTo>
                    <a:pt x="0" y="15"/>
                  </a:lnTo>
                  <a:lnTo>
                    <a:pt x="13" y="15"/>
                  </a:lnTo>
                  <a:lnTo>
                    <a:pt x="40" y="18"/>
                  </a:lnTo>
                  <a:lnTo>
                    <a:pt x="3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5405959" y="1722701"/>
              <a:ext cx="341098" cy="292165"/>
            </a:xfrm>
            <a:custGeom>
              <a:avLst/>
              <a:gdLst>
                <a:gd name="T0" fmla="*/ 58 w 237"/>
                <a:gd name="T1" fmla="*/ 116 h 203"/>
                <a:gd name="T2" fmla="*/ 72 w 237"/>
                <a:gd name="T3" fmla="*/ 104 h 203"/>
                <a:gd name="T4" fmla="*/ 77 w 237"/>
                <a:gd name="T5" fmla="*/ 97 h 203"/>
                <a:gd name="T6" fmla="*/ 100 w 237"/>
                <a:gd name="T7" fmla="*/ 79 h 203"/>
                <a:gd name="T8" fmla="*/ 125 w 237"/>
                <a:gd name="T9" fmla="*/ 64 h 203"/>
                <a:gd name="T10" fmla="*/ 149 w 237"/>
                <a:gd name="T11" fmla="*/ 44 h 203"/>
                <a:gd name="T12" fmla="*/ 167 w 237"/>
                <a:gd name="T13" fmla="*/ 39 h 203"/>
                <a:gd name="T14" fmla="*/ 202 w 237"/>
                <a:gd name="T15" fmla="*/ 27 h 203"/>
                <a:gd name="T16" fmla="*/ 227 w 237"/>
                <a:gd name="T17" fmla="*/ 19 h 203"/>
                <a:gd name="T18" fmla="*/ 237 w 237"/>
                <a:gd name="T19" fmla="*/ 12 h 203"/>
                <a:gd name="T20" fmla="*/ 229 w 237"/>
                <a:gd name="T21" fmla="*/ 0 h 203"/>
                <a:gd name="T22" fmla="*/ 199 w 237"/>
                <a:gd name="T23" fmla="*/ 0 h 203"/>
                <a:gd name="T24" fmla="*/ 179 w 237"/>
                <a:gd name="T25" fmla="*/ 15 h 203"/>
                <a:gd name="T26" fmla="*/ 149 w 237"/>
                <a:gd name="T27" fmla="*/ 22 h 203"/>
                <a:gd name="T28" fmla="*/ 117 w 237"/>
                <a:gd name="T29" fmla="*/ 24 h 203"/>
                <a:gd name="T30" fmla="*/ 100 w 237"/>
                <a:gd name="T31" fmla="*/ 39 h 203"/>
                <a:gd name="T32" fmla="*/ 80 w 237"/>
                <a:gd name="T33" fmla="*/ 39 h 203"/>
                <a:gd name="T34" fmla="*/ 70 w 237"/>
                <a:gd name="T35" fmla="*/ 54 h 203"/>
                <a:gd name="T36" fmla="*/ 40 w 237"/>
                <a:gd name="T37" fmla="*/ 59 h 203"/>
                <a:gd name="T38" fmla="*/ 35 w 237"/>
                <a:gd name="T39" fmla="*/ 82 h 203"/>
                <a:gd name="T40" fmla="*/ 33 w 237"/>
                <a:gd name="T41" fmla="*/ 94 h 203"/>
                <a:gd name="T42" fmla="*/ 20 w 237"/>
                <a:gd name="T43" fmla="*/ 94 h 203"/>
                <a:gd name="T44" fmla="*/ 20 w 237"/>
                <a:gd name="T45" fmla="*/ 97 h 203"/>
                <a:gd name="T46" fmla="*/ 23 w 237"/>
                <a:gd name="T47" fmla="*/ 104 h 203"/>
                <a:gd name="T48" fmla="*/ 18 w 237"/>
                <a:gd name="T49" fmla="*/ 111 h 203"/>
                <a:gd name="T50" fmla="*/ 8 w 237"/>
                <a:gd name="T51" fmla="*/ 119 h 203"/>
                <a:gd name="T52" fmla="*/ 3 w 237"/>
                <a:gd name="T53" fmla="*/ 139 h 203"/>
                <a:gd name="T54" fmla="*/ 0 w 237"/>
                <a:gd name="T55" fmla="*/ 164 h 203"/>
                <a:gd name="T56" fmla="*/ 15 w 237"/>
                <a:gd name="T57" fmla="*/ 171 h 203"/>
                <a:gd name="T58" fmla="*/ 30 w 237"/>
                <a:gd name="T59" fmla="*/ 201 h 203"/>
                <a:gd name="T60" fmla="*/ 53 w 237"/>
                <a:gd name="T61" fmla="*/ 203 h 203"/>
                <a:gd name="T62" fmla="*/ 82 w 237"/>
                <a:gd name="T63" fmla="*/ 201 h 203"/>
                <a:gd name="T64" fmla="*/ 85 w 237"/>
                <a:gd name="T65" fmla="*/ 189 h 203"/>
                <a:gd name="T66" fmla="*/ 67 w 237"/>
                <a:gd name="T67" fmla="*/ 179 h 203"/>
                <a:gd name="T68" fmla="*/ 55 w 237"/>
                <a:gd name="T69" fmla="*/ 166 h 203"/>
                <a:gd name="T70" fmla="*/ 55 w 237"/>
                <a:gd name="T71" fmla="*/ 141 h 203"/>
                <a:gd name="T72" fmla="*/ 58 w 237"/>
                <a:gd name="T73" fmla="*/ 119 h 203"/>
                <a:gd name="T74" fmla="*/ 58 w 237"/>
                <a:gd name="T75" fmla="*/ 11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203">
                  <a:moveTo>
                    <a:pt x="58" y="116"/>
                  </a:moveTo>
                  <a:lnTo>
                    <a:pt x="72" y="104"/>
                  </a:lnTo>
                  <a:lnTo>
                    <a:pt x="77" y="97"/>
                  </a:lnTo>
                  <a:lnTo>
                    <a:pt x="100" y="79"/>
                  </a:lnTo>
                  <a:lnTo>
                    <a:pt x="125" y="64"/>
                  </a:lnTo>
                  <a:lnTo>
                    <a:pt x="149" y="44"/>
                  </a:lnTo>
                  <a:lnTo>
                    <a:pt x="167" y="39"/>
                  </a:lnTo>
                  <a:lnTo>
                    <a:pt x="202" y="27"/>
                  </a:lnTo>
                  <a:lnTo>
                    <a:pt x="227" y="19"/>
                  </a:lnTo>
                  <a:lnTo>
                    <a:pt x="237" y="12"/>
                  </a:lnTo>
                  <a:lnTo>
                    <a:pt x="229" y="0"/>
                  </a:lnTo>
                  <a:lnTo>
                    <a:pt x="199" y="0"/>
                  </a:lnTo>
                  <a:lnTo>
                    <a:pt x="179" y="15"/>
                  </a:lnTo>
                  <a:lnTo>
                    <a:pt x="149" y="22"/>
                  </a:lnTo>
                  <a:lnTo>
                    <a:pt x="117" y="24"/>
                  </a:lnTo>
                  <a:lnTo>
                    <a:pt x="100" y="39"/>
                  </a:lnTo>
                  <a:lnTo>
                    <a:pt x="80" y="39"/>
                  </a:lnTo>
                  <a:lnTo>
                    <a:pt x="70" y="54"/>
                  </a:lnTo>
                  <a:lnTo>
                    <a:pt x="40" y="59"/>
                  </a:lnTo>
                  <a:lnTo>
                    <a:pt x="35" y="82"/>
                  </a:lnTo>
                  <a:lnTo>
                    <a:pt x="33" y="94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4"/>
                  </a:lnTo>
                  <a:lnTo>
                    <a:pt x="18" y="111"/>
                  </a:lnTo>
                  <a:lnTo>
                    <a:pt x="8" y="119"/>
                  </a:lnTo>
                  <a:lnTo>
                    <a:pt x="3" y="139"/>
                  </a:lnTo>
                  <a:lnTo>
                    <a:pt x="0" y="164"/>
                  </a:lnTo>
                  <a:lnTo>
                    <a:pt x="15" y="171"/>
                  </a:lnTo>
                  <a:lnTo>
                    <a:pt x="30" y="201"/>
                  </a:lnTo>
                  <a:lnTo>
                    <a:pt x="53" y="203"/>
                  </a:lnTo>
                  <a:lnTo>
                    <a:pt x="82" y="201"/>
                  </a:lnTo>
                  <a:lnTo>
                    <a:pt x="85" y="189"/>
                  </a:lnTo>
                  <a:lnTo>
                    <a:pt x="67" y="179"/>
                  </a:lnTo>
                  <a:lnTo>
                    <a:pt x="55" y="166"/>
                  </a:lnTo>
                  <a:lnTo>
                    <a:pt x="55" y="141"/>
                  </a:lnTo>
                  <a:lnTo>
                    <a:pt x="58" y="119"/>
                  </a:lnTo>
                  <a:lnTo>
                    <a:pt x="58" y="11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2 w 12"/>
                <a:gd name="T19" fmla="*/ 20 h 20"/>
                <a:gd name="T20" fmla="*/ 5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42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5 w 12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43"/>
            <p:cNvSpPr>
              <a:spLocks/>
            </p:cNvSpPr>
            <p:nvPr/>
          </p:nvSpPr>
          <p:spPr bwMode="auto">
            <a:xfrm>
              <a:off x="6175950" y="1489545"/>
              <a:ext cx="118017" cy="89233"/>
            </a:xfrm>
            <a:custGeom>
              <a:avLst/>
              <a:gdLst>
                <a:gd name="T0" fmla="*/ 42 w 82"/>
                <a:gd name="T1" fmla="*/ 7 h 62"/>
                <a:gd name="T2" fmla="*/ 27 w 82"/>
                <a:gd name="T3" fmla="*/ 22 h 62"/>
                <a:gd name="T4" fmla="*/ 15 w 82"/>
                <a:gd name="T5" fmla="*/ 22 h 62"/>
                <a:gd name="T6" fmla="*/ 0 w 82"/>
                <a:gd name="T7" fmla="*/ 32 h 62"/>
                <a:gd name="T8" fmla="*/ 12 w 82"/>
                <a:gd name="T9" fmla="*/ 50 h 62"/>
                <a:gd name="T10" fmla="*/ 32 w 82"/>
                <a:gd name="T11" fmla="*/ 62 h 62"/>
                <a:gd name="T12" fmla="*/ 59 w 82"/>
                <a:gd name="T13" fmla="*/ 50 h 62"/>
                <a:gd name="T14" fmla="*/ 82 w 82"/>
                <a:gd name="T15" fmla="*/ 40 h 62"/>
                <a:gd name="T16" fmla="*/ 77 w 82"/>
                <a:gd name="T17" fmla="*/ 12 h 62"/>
                <a:gd name="T18" fmla="*/ 55 w 82"/>
                <a:gd name="T19" fmla="*/ 0 h 62"/>
                <a:gd name="T20" fmla="*/ 42 w 82"/>
                <a:gd name="T21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2">
                  <a:moveTo>
                    <a:pt x="42" y="7"/>
                  </a:moveTo>
                  <a:lnTo>
                    <a:pt x="27" y="22"/>
                  </a:lnTo>
                  <a:lnTo>
                    <a:pt x="15" y="22"/>
                  </a:lnTo>
                  <a:lnTo>
                    <a:pt x="0" y="32"/>
                  </a:lnTo>
                  <a:lnTo>
                    <a:pt x="12" y="50"/>
                  </a:lnTo>
                  <a:lnTo>
                    <a:pt x="32" y="62"/>
                  </a:lnTo>
                  <a:lnTo>
                    <a:pt x="59" y="50"/>
                  </a:lnTo>
                  <a:lnTo>
                    <a:pt x="82" y="40"/>
                  </a:lnTo>
                  <a:lnTo>
                    <a:pt x="77" y="12"/>
                  </a:lnTo>
                  <a:lnTo>
                    <a:pt x="55" y="0"/>
                  </a:lnTo>
                  <a:lnTo>
                    <a:pt x="4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44"/>
            <p:cNvSpPr>
              <a:spLocks/>
            </p:cNvSpPr>
            <p:nvPr/>
          </p:nvSpPr>
          <p:spPr bwMode="auto">
            <a:xfrm>
              <a:off x="6257987" y="1554311"/>
              <a:ext cx="115139" cy="77719"/>
            </a:xfrm>
            <a:custGeom>
              <a:avLst/>
              <a:gdLst>
                <a:gd name="T0" fmla="*/ 20 w 80"/>
                <a:gd name="T1" fmla="*/ 20 h 54"/>
                <a:gd name="T2" fmla="*/ 30 w 80"/>
                <a:gd name="T3" fmla="*/ 5 h 54"/>
                <a:gd name="T4" fmla="*/ 45 w 80"/>
                <a:gd name="T5" fmla="*/ 0 h 54"/>
                <a:gd name="T6" fmla="*/ 57 w 80"/>
                <a:gd name="T7" fmla="*/ 5 h 54"/>
                <a:gd name="T8" fmla="*/ 70 w 80"/>
                <a:gd name="T9" fmla="*/ 22 h 54"/>
                <a:gd name="T10" fmla="*/ 70 w 80"/>
                <a:gd name="T11" fmla="*/ 35 h 54"/>
                <a:gd name="T12" fmla="*/ 80 w 80"/>
                <a:gd name="T13" fmla="*/ 32 h 54"/>
                <a:gd name="T14" fmla="*/ 80 w 80"/>
                <a:gd name="T15" fmla="*/ 45 h 54"/>
                <a:gd name="T16" fmla="*/ 52 w 80"/>
                <a:gd name="T17" fmla="*/ 54 h 54"/>
                <a:gd name="T18" fmla="*/ 25 w 80"/>
                <a:gd name="T19" fmla="*/ 42 h 54"/>
                <a:gd name="T20" fmla="*/ 0 w 80"/>
                <a:gd name="T21" fmla="*/ 32 h 54"/>
                <a:gd name="T22" fmla="*/ 5 w 80"/>
                <a:gd name="T23" fmla="*/ 22 h 54"/>
                <a:gd name="T24" fmla="*/ 20 w 80"/>
                <a:gd name="T25" fmla="*/ 2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54">
                  <a:moveTo>
                    <a:pt x="20" y="20"/>
                  </a:moveTo>
                  <a:lnTo>
                    <a:pt x="30" y="5"/>
                  </a:lnTo>
                  <a:lnTo>
                    <a:pt x="45" y="0"/>
                  </a:lnTo>
                  <a:lnTo>
                    <a:pt x="57" y="5"/>
                  </a:lnTo>
                  <a:lnTo>
                    <a:pt x="70" y="22"/>
                  </a:lnTo>
                  <a:lnTo>
                    <a:pt x="70" y="35"/>
                  </a:lnTo>
                  <a:lnTo>
                    <a:pt x="80" y="32"/>
                  </a:lnTo>
                  <a:lnTo>
                    <a:pt x="80" y="45"/>
                  </a:lnTo>
                  <a:lnTo>
                    <a:pt x="52" y="54"/>
                  </a:lnTo>
                  <a:lnTo>
                    <a:pt x="25" y="42"/>
                  </a:lnTo>
                  <a:lnTo>
                    <a:pt x="0" y="32"/>
                  </a:lnTo>
                  <a:lnTo>
                    <a:pt x="5" y="22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45"/>
            <p:cNvSpPr>
              <a:spLocks/>
            </p:cNvSpPr>
            <p:nvPr/>
          </p:nvSpPr>
          <p:spPr bwMode="auto">
            <a:xfrm>
              <a:off x="6386078" y="1590291"/>
              <a:ext cx="93551" cy="70523"/>
            </a:xfrm>
            <a:custGeom>
              <a:avLst/>
              <a:gdLst>
                <a:gd name="T0" fmla="*/ 8 w 65"/>
                <a:gd name="T1" fmla="*/ 20 h 49"/>
                <a:gd name="T2" fmla="*/ 15 w 65"/>
                <a:gd name="T3" fmla="*/ 7 h 49"/>
                <a:gd name="T4" fmla="*/ 30 w 65"/>
                <a:gd name="T5" fmla="*/ 0 h 49"/>
                <a:gd name="T6" fmla="*/ 33 w 65"/>
                <a:gd name="T7" fmla="*/ 7 h 49"/>
                <a:gd name="T8" fmla="*/ 40 w 65"/>
                <a:gd name="T9" fmla="*/ 12 h 49"/>
                <a:gd name="T10" fmla="*/ 50 w 65"/>
                <a:gd name="T11" fmla="*/ 12 h 49"/>
                <a:gd name="T12" fmla="*/ 63 w 65"/>
                <a:gd name="T13" fmla="*/ 15 h 49"/>
                <a:gd name="T14" fmla="*/ 65 w 65"/>
                <a:gd name="T15" fmla="*/ 32 h 49"/>
                <a:gd name="T16" fmla="*/ 58 w 65"/>
                <a:gd name="T17" fmla="*/ 44 h 49"/>
                <a:gd name="T18" fmla="*/ 35 w 65"/>
                <a:gd name="T19" fmla="*/ 49 h 49"/>
                <a:gd name="T20" fmla="*/ 8 w 65"/>
                <a:gd name="T21" fmla="*/ 47 h 49"/>
                <a:gd name="T22" fmla="*/ 0 w 65"/>
                <a:gd name="T23" fmla="*/ 37 h 49"/>
                <a:gd name="T24" fmla="*/ 8 w 65"/>
                <a:gd name="T25" fmla="*/ 2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49">
                  <a:moveTo>
                    <a:pt x="8" y="20"/>
                  </a:moveTo>
                  <a:lnTo>
                    <a:pt x="15" y="7"/>
                  </a:lnTo>
                  <a:lnTo>
                    <a:pt x="30" y="0"/>
                  </a:lnTo>
                  <a:lnTo>
                    <a:pt x="33" y="7"/>
                  </a:lnTo>
                  <a:lnTo>
                    <a:pt x="40" y="12"/>
                  </a:lnTo>
                  <a:lnTo>
                    <a:pt x="50" y="12"/>
                  </a:lnTo>
                  <a:lnTo>
                    <a:pt x="63" y="15"/>
                  </a:lnTo>
                  <a:lnTo>
                    <a:pt x="65" y="32"/>
                  </a:lnTo>
                  <a:lnTo>
                    <a:pt x="58" y="44"/>
                  </a:lnTo>
                  <a:lnTo>
                    <a:pt x="35" y="49"/>
                  </a:lnTo>
                  <a:lnTo>
                    <a:pt x="8" y="47"/>
                  </a:lnTo>
                  <a:lnTo>
                    <a:pt x="0" y="37"/>
                  </a:lnTo>
                  <a:lnTo>
                    <a:pt x="8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6"/>
            <p:cNvSpPr>
              <a:spLocks/>
            </p:cNvSpPr>
            <p:nvPr/>
          </p:nvSpPr>
          <p:spPr bwMode="auto">
            <a:xfrm>
              <a:off x="7220835" y="1750047"/>
              <a:ext cx="164073" cy="71962"/>
            </a:xfrm>
            <a:custGeom>
              <a:avLst/>
              <a:gdLst>
                <a:gd name="T0" fmla="*/ 62 w 114"/>
                <a:gd name="T1" fmla="*/ 5 h 50"/>
                <a:gd name="T2" fmla="*/ 59 w 114"/>
                <a:gd name="T3" fmla="*/ 18 h 50"/>
                <a:gd name="T4" fmla="*/ 39 w 114"/>
                <a:gd name="T5" fmla="*/ 18 h 50"/>
                <a:gd name="T6" fmla="*/ 32 w 114"/>
                <a:gd name="T7" fmla="*/ 10 h 50"/>
                <a:gd name="T8" fmla="*/ 15 w 114"/>
                <a:gd name="T9" fmla="*/ 0 h 50"/>
                <a:gd name="T10" fmla="*/ 0 w 114"/>
                <a:gd name="T11" fmla="*/ 10 h 50"/>
                <a:gd name="T12" fmla="*/ 0 w 114"/>
                <a:gd name="T13" fmla="*/ 30 h 50"/>
                <a:gd name="T14" fmla="*/ 22 w 114"/>
                <a:gd name="T15" fmla="*/ 48 h 50"/>
                <a:gd name="T16" fmla="*/ 52 w 114"/>
                <a:gd name="T17" fmla="*/ 50 h 50"/>
                <a:gd name="T18" fmla="*/ 64 w 114"/>
                <a:gd name="T19" fmla="*/ 40 h 50"/>
                <a:gd name="T20" fmla="*/ 82 w 114"/>
                <a:gd name="T21" fmla="*/ 48 h 50"/>
                <a:gd name="T22" fmla="*/ 107 w 114"/>
                <a:gd name="T23" fmla="*/ 45 h 50"/>
                <a:gd name="T24" fmla="*/ 114 w 114"/>
                <a:gd name="T25" fmla="*/ 35 h 50"/>
                <a:gd name="T26" fmla="*/ 97 w 114"/>
                <a:gd name="T27" fmla="*/ 28 h 50"/>
                <a:gd name="T28" fmla="*/ 87 w 114"/>
                <a:gd name="T29" fmla="*/ 10 h 50"/>
                <a:gd name="T30" fmla="*/ 69 w 114"/>
                <a:gd name="T31" fmla="*/ 0 h 50"/>
                <a:gd name="T32" fmla="*/ 62 w 114"/>
                <a:gd name="T3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50">
                  <a:moveTo>
                    <a:pt x="62" y="5"/>
                  </a:moveTo>
                  <a:lnTo>
                    <a:pt x="59" y="18"/>
                  </a:lnTo>
                  <a:lnTo>
                    <a:pt x="39" y="18"/>
                  </a:lnTo>
                  <a:lnTo>
                    <a:pt x="32" y="10"/>
                  </a:lnTo>
                  <a:lnTo>
                    <a:pt x="15" y="0"/>
                  </a:lnTo>
                  <a:lnTo>
                    <a:pt x="0" y="10"/>
                  </a:lnTo>
                  <a:lnTo>
                    <a:pt x="0" y="30"/>
                  </a:lnTo>
                  <a:lnTo>
                    <a:pt x="22" y="48"/>
                  </a:lnTo>
                  <a:lnTo>
                    <a:pt x="52" y="50"/>
                  </a:lnTo>
                  <a:lnTo>
                    <a:pt x="64" y="40"/>
                  </a:lnTo>
                  <a:lnTo>
                    <a:pt x="82" y="48"/>
                  </a:lnTo>
                  <a:lnTo>
                    <a:pt x="107" y="45"/>
                  </a:lnTo>
                  <a:lnTo>
                    <a:pt x="114" y="35"/>
                  </a:lnTo>
                  <a:lnTo>
                    <a:pt x="97" y="28"/>
                  </a:lnTo>
                  <a:lnTo>
                    <a:pt x="87" y="10"/>
                  </a:lnTo>
                  <a:lnTo>
                    <a:pt x="69" y="0"/>
                  </a:lnTo>
                  <a:lnTo>
                    <a:pt x="6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47"/>
            <p:cNvSpPr>
              <a:spLocks/>
            </p:cNvSpPr>
            <p:nvPr/>
          </p:nvSpPr>
          <p:spPr bwMode="auto">
            <a:xfrm>
              <a:off x="7423767" y="1775953"/>
              <a:ext cx="100746" cy="38859"/>
            </a:xfrm>
            <a:custGeom>
              <a:avLst/>
              <a:gdLst>
                <a:gd name="T0" fmla="*/ 3 w 70"/>
                <a:gd name="T1" fmla="*/ 0 h 27"/>
                <a:gd name="T2" fmla="*/ 13 w 70"/>
                <a:gd name="T3" fmla="*/ 7 h 27"/>
                <a:gd name="T4" fmla="*/ 38 w 70"/>
                <a:gd name="T5" fmla="*/ 7 h 27"/>
                <a:gd name="T6" fmla="*/ 68 w 70"/>
                <a:gd name="T7" fmla="*/ 7 h 27"/>
                <a:gd name="T8" fmla="*/ 70 w 70"/>
                <a:gd name="T9" fmla="*/ 25 h 27"/>
                <a:gd name="T10" fmla="*/ 33 w 70"/>
                <a:gd name="T11" fmla="*/ 27 h 27"/>
                <a:gd name="T12" fmla="*/ 13 w 70"/>
                <a:gd name="T13" fmla="*/ 20 h 27"/>
                <a:gd name="T14" fmla="*/ 0 w 70"/>
                <a:gd name="T15" fmla="*/ 7 h 27"/>
                <a:gd name="T16" fmla="*/ 3 w 70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7">
                  <a:moveTo>
                    <a:pt x="3" y="0"/>
                  </a:moveTo>
                  <a:lnTo>
                    <a:pt x="13" y="7"/>
                  </a:lnTo>
                  <a:lnTo>
                    <a:pt x="38" y="7"/>
                  </a:lnTo>
                  <a:lnTo>
                    <a:pt x="68" y="7"/>
                  </a:lnTo>
                  <a:lnTo>
                    <a:pt x="70" y="25"/>
                  </a:lnTo>
                  <a:lnTo>
                    <a:pt x="33" y="27"/>
                  </a:lnTo>
                  <a:lnTo>
                    <a:pt x="13" y="20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8"/>
            <p:cNvSpPr>
              <a:spLocks/>
            </p:cNvSpPr>
            <p:nvPr/>
          </p:nvSpPr>
          <p:spPr bwMode="auto">
            <a:xfrm>
              <a:off x="8232618" y="1954418"/>
              <a:ext cx="67644" cy="46056"/>
            </a:xfrm>
            <a:custGeom>
              <a:avLst/>
              <a:gdLst>
                <a:gd name="T0" fmla="*/ 18 w 47"/>
                <a:gd name="T1" fmla="*/ 3 h 32"/>
                <a:gd name="T2" fmla="*/ 3 w 47"/>
                <a:gd name="T3" fmla="*/ 15 h 32"/>
                <a:gd name="T4" fmla="*/ 0 w 47"/>
                <a:gd name="T5" fmla="*/ 32 h 32"/>
                <a:gd name="T6" fmla="*/ 25 w 47"/>
                <a:gd name="T7" fmla="*/ 30 h 32"/>
                <a:gd name="T8" fmla="*/ 43 w 47"/>
                <a:gd name="T9" fmla="*/ 28 h 32"/>
                <a:gd name="T10" fmla="*/ 47 w 47"/>
                <a:gd name="T11" fmla="*/ 10 h 32"/>
                <a:gd name="T12" fmla="*/ 33 w 47"/>
                <a:gd name="T13" fmla="*/ 0 h 32"/>
                <a:gd name="T14" fmla="*/ 18 w 47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18" y="3"/>
                  </a:moveTo>
                  <a:lnTo>
                    <a:pt x="3" y="15"/>
                  </a:lnTo>
                  <a:lnTo>
                    <a:pt x="0" y="32"/>
                  </a:lnTo>
                  <a:lnTo>
                    <a:pt x="25" y="30"/>
                  </a:lnTo>
                  <a:lnTo>
                    <a:pt x="43" y="28"/>
                  </a:lnTo>
                  <a:lnTo>
                    <a:pt x="47" y="10"/>
                  </a:lnTo>
                  <a:lnTo>
                    <a:pt x="33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49"/>
            <p:cNvSpPr>
              <a:spLocks/>
            </p:cNvSpPr>
            <p:nvPr/>
          </p:nvSpPr>
          <p:spPr bwMode="auto">
            <a:xfrm>
              <a:off x="1953233" y="3872919"/>
              <a:ext cx="86354" cy="106503"/>
            </a:xfrm>
            <a:custGeom>
              <a:avLst/>
              <a:gdLst>
                <a:gd name="T0" fmla="*/ 0 w 60"/>
                <a:gd name="T1" fmla="*/ 59 h 74"/>
                <a:gd name="T2" fmla="*/ 8 w 60"/>
                <a:gd name="T3" fmla="*/ 37 h 74"/>
                <a:gd name="T4" fmla="*/ 23 w 60"/>
                <a:gd name="T5" fmla="*/ 32 h 74"/>
                <a:gd name="T6" fmla="*/ 25 w 60"/>
                <a:gd name="T7" fmla="*/ 12 h 74"/>
                <a:gd name="T8" fmla="*/ 53 w 60"/>
                <a:gd name="T9" fmla="*/ 0 h 74"/>
                <a:gd name="T10" fmla="*/ 53 w 60"/>
                <a:gd name="T11" fmla="*/ 22 h 74"/>
                <a:gd name="T12" fmla="*/ 53 w 60"/>
                <a:gd name="T13" fmla="*/ 39 h 74"/>
                <a:gd name="T14" fmla="*/ 60 w 60"/>
                <a:gd name="T15" fmla="*/ 42 h 74"/>
                <a:gd name="T16" fmla="*/ 58 w 60"/>
                <a:gd name="T17" fmla="*/ 57 h 74"/>
                <a:gd name="T18" fmla="*/ 45 w 60"/>
                <a:gd name="T19" fmla="*/ 57 h 74"/>
                <a:gd name="T20" fmla="*/ 43 w 60"/>
                <a:gd name="T21" fmla="*/ 74 h 74"/>
                <a:gd name="T22" fmla="*/ 18 w 60"/>
                <a:gd name="T23" fmla="*/ 74 h 74"/>
                <a:gd name="T24" fmla="*/ 0 w 60"/>
                <a:gd name="T25" fmla="*/ 5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0" y="59"/>
                  </a:moveTo>
                  <a:lnTo>
                    <a:pt x="8" y="37"/>
                  </a:lnTo>
                  <a:lnTo>
                    <a:pt x="23" y="32"/>
                  </a:lnTo>
                  <a:lnTo>
                    <a:pt x="25" y="12"/>
                  </a:lnTo>
                  <a:lnTo>
                    <a:pt x="53" y="0"/>
                  </a:lnTo>
                  <a:lnTo>
                    <a:pt x="53" y="22"/>
                  </a:lnTo>
                  <a:lnTo>
                    <a:pt x="53" y="39"/>
                  </a:lnTo>
                  <a:lnTo>
                    <a:pt x="60" y="42"/>
                  </a:lnTo>
                  <a:lnTo>
                    <a:pt x="58" y="57"/>
                  </a:lnTo>
                  <a:lnTo>
                    <a:pt x="45" y="57"/>
                  </a:lnTo>
                  <a:lnTo>
                    <a:pt x="43" y="74"/>
                  </a:lnTo>
                  <a:lnTo>
                    <a:pt x="18" y="74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50"/>
            <p:cNvSpPr>
              <a:spLocks/>
            </p:cNvSpPr>
            <p:nvPr/>
          </p:nvSpPr>
          <p:spPr bwMode="auto">
            <a:xfrm>
              <a:off x="2222371" y="4441417"/>
              <a:ext cx="325267" cy="482143"/>
            </a:xfrm>
            <a:custGeom>
              <a:avLst/>
              <a:gdLst>
                <a:gd name="T0" fmla="*/ 184 w 226"/>
                <a:gd name="T1" fmla="*/ 15 h 335"/>
                <a:gd name="T2" fmla="*/ 169 w 226"/>
                <a:gd name="T3" fmla="*/ 2 h 335"/>
                <a:gd name="T4" fmla="*/ 137 w 226"/>
                <a:gd name="T5" fmla="*/ 0 h 335"/>
                <a:gd name="T6" fmla="*/ 129 w 226"/>
                <a:gd name="T7" fmla="*/ 12 h 335"/>
                <a:gd name="T8" fmla="*/ 77 w 226"/>
                <a:gd name="T9" fmla="*/ 35 h 335"/>
                <a:gd name="T10" fmla="*/ 52 w 226"/>
                <a:gd name="T11" fmla="*/ 52 h 335"/>
                <a:gd name="T12" fmla="*/ 35 w 226"/>
                <a:gd name="T13" fmla="*/ 67 h 335"/>
                <a:gd name="T14" fmla="*/ 22 w 226"/>
                <a:gd name="T15" fmla="*/ 52 h 335"/>
                <a:gd name="T16" fmla="*/ 17 w 226"/>
                <a:gd name="T17" fmla="*/ 37 h 335"/>
                <a:gd name="T18" fmla="*/ 7 w 226"/>
                <a:gd name="T19" fmla="*/ 37 h 335"/>
                <a:gd name="T20" fmla="*/ 0 w 226"/>
                <a:gd name="T21" fmla="*/ 45 h 335"/>
                <a:gd name="T22" fmla="*/ 0 w 226"/>
                <a:gd name="T23" fmla="*/ 87 h 335"/>
                <a:gd name="T24" fmla="*/ 20 w 226"/>
                <a:gd name="T25" fmla="*/ 87 h 335"/>
                <a:gd name="T26" fmla="*/ 27 w 226"/>
                <a:gd name="T27" fmla="*/ 117 h 335"/>
                <a:gd name="T28" fmla="*/ 37 w 226"/>
                <a:gd name="T29" fmla="*/ 122 h 335"/>
                <a:gd name="T30" fmla="*/ 40 w 226"/>
                <a:gd name="T31" fmla="*/ 139 h 335"/>
                <a:gd name="T32" fmla="*/ 47 w 226"/>
                <a:gd name="T33" fmla="*/ 156 h 335"/>
                <a:gd name="T34" fmla="*/ 57 w 226"/>
                <a:gd name="T35" fmla="*/ 161 h 335"/>
                <a:gd name="T36" fmla="*/ 59 w 226"/>
                <a:gd name="T37" fmla="*/ 181 h 335"/>
                <a:gd name="T38" fmla="*/ 64 w 226"/>
                <a:gd name="T39" fmla="*/ 184 h 335"/>
                <a:gd name="T40" fmla="*/ 69 w 226"/>
                <a:gd name="T41" fmla="*/ 196 h 335"/>
                <a:gd name="T42" fmla="*/ 74 w 226"/>
                <a:gd name="T43" fmla="*/ 211 h 335"/>
                <a:gd name="T44" fmla="*/ 84 w 226"/>
                <a:gd name="T45" fmla="*/ 228 h 335"/>
                <a:gd name="T46" fmla="*/ 92 w 226"/>
                <a:gd name="T47" fmla="*/ 236 h 335"/>
                <a:gd name="T48" fmla="*/ 89 w 226"/>
                <a:gd name="T49" fmla="*/ 243 h 335"/>
                <a:gd name="T50" fmla="*/ 94 w 226"/>
                <a:gd name="T51" fmla="*/ 261 h 335"/>
                <a:gd name="T52" fmla="*/ 112 w 226"/>
                <a:gd name="T53" fmla="*/ 271 h 335"/>
                <a:gd name="T54" fmla="*/ 132 w 226"/>
                <a:gd name="T55" fmla="*/ 293 h 335"/>
                <a:gd name="T56" fmla="*/ 156 w 226"/>
                <a:gd name="T57" fmla="*/ 303 h 335"/>
                <a:gd name="T58" fmla="*/ 181 w 226"/>
                <a:gd name="T59" fmla="*/ 323 h 335"/>
                <a:gd name="T60" fmla="*/ 196 w 226"/>
                <a:gd name="T61" fmla="*/ 335 h 335"/>
                <a:gd name="T62" fmla="*/ 209 w 226"/>
                <a:gd name="T63" fmla="*/ 323 h 335"/>
                <a:gd name="T64" fmla="*/ 214 w 226"/>
                <a:gd name="T65" fmla="*/ 308 h 335"/>
                <a:gd name="T66" fmla="*/ 221 w 226"/>
                <a:gd name="T67" fmla="*/ 306 h 335"/>
                <a:gd name="T68" fmla="*/ 214 w 226"/>
                <a:gd name="T69" fmla="*/ 296 h 335"/>
                <a:gd name="T70" fmla="*/ 216 w 226"/>
                <a:gd name="T71" fmla="*/ 263 h 335"/>
                <a:gd name="T72" fmla="*/ 216 w 226"/>
                <a:gd name="T73" fmla="*/ 241 h 335"/>
                <a:gd name="T74" fmla="*/ 226 w 226"/>
                <a:gd name="T75" fmla="*/ 233 h 335"/>
                <a:gd name="T76" fmla="*/ 226 w 226"/>
                <a:gd name="T77" fmla="*/ 214 h 335"/>
                <a:gd name="T78" fmla="*/ 214 w 226"/>
                <a:gd name="T79" fmla="*/ 194 h 335"/>
                <a:gd name="T80" fmla="*/ 199 w 226"/>
                <a:gd name="T81" fmla="*/ 186 h 335"/>
                <a:gd name="T82" fmla="*/ 191 w 226"/>
                <a:gd name="T83" fmla="*/ 164 h 335"/>
                <a:gd name="T84" fmla="*/ 176 w 226"/>
                <a:gd name="T85" fmla="*/ 171 h 335"/>
                <a:gd name="T86" fmla="*/ 161 w 226"/>
                <a:gd name="T87" fmla="*/ 169 h 335"/>
                <a:gd name="T88" fmla="*/ 159 w 226"/>
                <a:gd name="T89" fmla="*/ 159 h 335"/>
                <a:gd name="T90" fmla="*/ 146 w 226"/>
                <a:gd name="T91" fmla="*/ 156 h 335"/>
                <a:gd name="T92" fmla="*/ 142 w 226"/>
                <a:gd name="T93" fmla="*/ 144 h 335"/>
                <a:gd name="T94" fmla="*/ 129 w 226"/>
                <a:gd name="T95" fmla="*/ 134 h 335"/>
                <a:gd name="T96" fmla="*/ 127 w 226"/>
                <a:gd name="T97" fmla="*/ 122 h 335"/>
                <a:gd name="T98" fmla="*/ 129 w 226"/>
                <a:gd name="T99" fmla="*/ 107 h 335"/>
                <a:gd name="T100" fmla="*/ 139 w 226"/>
                <a:gd name="T101" fmla="*/ 102 h 335"/>
                <a:gd name="T102" fmla="*/ 146 w 226"/>
                <a:gd name="T103" fmla="*/ 94 h 335"/>
                <a:gd name="T104" fmla="*/ 144 w 226"/>
                <a:gd name="T105" fmla="*/ 82 h 335"/>
                <a:gd name="T106" fmla="*/ 149 w 226"/>
                <a:gd name="T107" fmla="*/ 67 h 335"/>
                <a:gd name="T108" fmla="*/ 161 w 226"/>
                <a:gd name="T109" fmla="*/ 57 h 335"/>
                <a:gd name="T110" fmla="*/ 176 w 226"/>
                <a:gd name="T111" fmla="*/ 62 h 335"/>
                <a:gd name="T112" fmla="*/ 191 w 226"/>
                <a:gd name="T113" fmla="*/ 54 h 335"/>
                <a:gd name="T114" fmla="*/ 196 w 226"/>
                <a:gd name="T115" fmla="*/ 37 h 335"/>
                <a:gd name="T116" fmla="*/ 184 w 226"/>
                <a:gd name="T117" fmla="*/ 1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335">
                  <a:moveTo>
                    <a:pt x="184" y="15"/>
                  </a:moveTo>
                  <a:lnTo>
                    <a:pt x="169" y="2"/>
                  </a:lnTo>
                  <a:lnTo>
                    <a:pt x="137" y="0"/>
                  </a:lnTo>
                  <a:lnTo>
                    <a:pt x="129" y="12"/>
                  </a:lnTo>
                  <a:lnTo>
                    <a:pt x="77" y="35"/>
                  </a:lnTo>
                  <a:lnTo>
                    <a:pt x="52" y="52"/>
                  </a:lnTo>
                  <a:lnTo>
                    <a:pt x="35" y="67"/>
                  </a:lnTo>
                  <a:lnTo>
                    <a:pt x="22" y="52"/>
                  </a:lnTo>
                  <a:lnTo>
                    <a:pt x="17" y="37"/>
                  </a:lnTo>
                  <a:lnTo>
                    <a:pt x="7" y="37"/>
                  </a:lnTo>
                  <a:lnTo>
                    <a:pt x="0" y="45"/>
                  </a:lnTo>
                  <a:lnTo>
                    <a:pt x="0" y="87"/>
                  </a:lnTo>
                  <a:lnTo>
                    <a:pt x="20" y="87"/>
                  </a:lnTo>
                  <a:lnTo>
                    <a:pt x="27" y="117"/>
                  </a:lnTo>
                  <a:lnTo>
                    <a:pt x="37" y="122"/>
                  </a:lnTo>
                  <a:lnTo>
                    <a:pt x="40" y="139"/>
                  </a:lnTo>
                  <a:lnTo>
                    <a:pt x="47" y="156"/>
                  </a:lnTo>
                  <a:lnTo>
                    <a:pt x="57" y="161"/>
                  </a:lnTo>
                  <a:lnTo>
                    <a:pt x="59" y="181"/>
                  </a:lnTo>
                  <a:lnTo>
                    <a:pt x="64" y="184"/>
                  </a:lnTo>
                  <a:lnTo>
                    <a:pt x="69" y="196"/>
                  </a:lnTo>
                  <a:lnTo>
                    <a:pt x="74" y="211"/>
                  </a:lnTo>
                  <a:lnTo>
                    <a:pt x="84" y="228"/>
                  </a:lnTo>
                  <a:lnTo>
                    <a:pt x="92" y="236"/>
                  </a:lnTo>
                  <a:lnTo>
                    <a:pt x="89" y="243"/>
                  </a:lnTo>
                  <a:lnTo>
                    <a:pt x="94" y="261"/>
                  </a:lnTo>
                  <a:lnTo>
                    <a:pt x="112" y="271"/>
                  </a:lnTo>
                  <a:lnTo>
                    <a:pt x="132" y="293"/>
                  </a:lnTo>
                  <a:lnTo>
                    <a:pt x="156" y="303"/>
                  </a:lnTo>
                  <a:lnTo>
                    <a:pt x="181" y="323"/>
                  </a:lnTo>
                  <a:lnTo>
                    <a:pt x="196" y="335"/>
                  </a:lnTo>
                  <a:lnTo>
                    <a:pt x="209" y="323"/>
                  </a:lnTo>
                  <a:lnTo>
                    <a:pt x="214" y="308"/>
                  </a:lnTo>
                  <a:lnTo>
                    <a:pt x="221" y="306"/>
                  </a:lnTo>
                  <a:lnTo>
                    <a:pt x="214" y="296"/>
                  </a:lnTo>
                  <a:lnTo>
                    <a:pt x="216" y="263"/>
                  </a:lnTo>
                  <a:lnTo>
                    <a:pt x="216" y="241"/>
                  </a:lnTo>
                  <a:lnTo>
                    <a:pt x="226" y="233"/>
                  </a:lnTo>
                  <a:lnTo>
                    <a:pt x="226" y="214"/>
                  </a:lnTo>
                  <a:lnTo>
                    <a:pt x="214" y="194"/>
                  </a:lnTo>
                  <a:lnTo>
                    <a:pt x="199" y="186"/>
                  </a:lnTo>
                  <a:lnTo>
                    <a:pt x="191" y="164"/>
                  </a:lnTo>
                  <a:lnTo>
                    <a:pt x="176" y="171"/>
                  </a:lnTo>
                  <a:lnTo>
                    <a:pt x="161" y="169"/>
                  </a:lnTo>
                  <a:lnTo>
                    <a:pt x="159" y="159"/>
                  </a:lnTo>
                  <a:lnTo>
                    <a:pt x="146" y="156"/>
                  </a:lnTo>
                  <a:lnTo>
                    <a:pt x="142" y="144"/>
                  </a:lnTo>
                  <a:lnTo>
                    <a:pt x="129" y="134"/>
                  </a:lnTo>
                  <a:lnTo>
                    <a:pt x="127" y="122"/>
                  </a:lnTo>
                  <a:lnTo>
                    <a:pt x="129" y="107"/>
                  </a:lnTo>
                  <a:lnTo>
                    <a:pt x="139" y="102"/>
                  </a:lnTo>
                  <a:lnTo>
                    <a:pt x="146" y="94"/>
                  </a:lnTo>
                  <a:lnTo>
                    <a:pt x="144" y="82"/>
                  </a:lnTo>
                  <a:lnTo>
                    <a:pt x="149" y="67"/>
                  </a:lnTo>
                  <a:lnTo>
                    <a:pt x="161" y="57"/>
                  </a:lnTo>
                  <a:lnTo>
                    <a:pt x="176" y="62"/>
                  </a:lnTo>
                  <a:lnTo>
                    <a:pt x="191" y="54"/>
                  </a:lnTo>
                  <a:lnTo>
                    <a:pt x="196" y="37"/>
                  </a:lnTo>
                  <a:lnTo>
                    <a:pt x="184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51"/>
            <p:cNvSpPr>
              <a:spLocks/>
            </p:cNvSpPr>
            <p:nvPr/>
          </p:nvSpPr>
          <p:spPr bwMode="auto">
            <a:xfrm>
              <a:off x="3958088" y="3610978"/>
              <a:ext cx="414500" cy="472069"/>
            </a:xfrm>
            <a:custGeom>
              <a:avLst/>
              <a:gdLst>
                <a:gd name="T0" fmla="*/ 0 w 288"/>
                <a:gd name="T1" fmla="*/ 236 h 328"/>
                <a:gd name="T2" fmla="*/ 17 w 288"/>
                <a:gd name="T3" fmla="*/ 214 h 328"/>
                <a:gd name="T4" fmla="*/ 32 w 288"/>
                <a:gd name="T5" fmla="*/ 221 h 328"/>
                <a:gd name="T6" fmla="*/ 94 w 288"/>
                <a:gd name="T7" fmla="*/ 226 h 328"/>
                <a:gd name="T8" fmla="*/ 116 w 288"/>
                <a:gd name="T9" fmla="*/ 224 h 328"/>
                <a:gd name="T10" fmla="*/ 116 w 288"/>
                <a:gd name="T11" fmla="*/ 201 h 328"/>
                <a:gd name="T12" fmla="*/ 101 w 288"/>
                <a:gd name="T13" fmla="*/ 196 h 328"/>
                <a:gd name="T14" fmla="*/ 104 w 288"/>
                <a:gd name="T15" fmla="*/ 60 h 328"/>
                <a:gd name="T16" fmla="*/ 94 w 288"/>
                <a:gd name="T17" fmla="*/ 47 h 328"/>
                <a:gd name="T18" fmla="*/ 94 w 288"/>
                <a:gd name="T19" fmla="*/ 20 h 328"/>
                <a:gd name="T20" fmla="*/ 106 w 288"/>
                <a:gd name="T21" fmla="*/ 17 h 328"/>
                <a:gd name="T22" fmla="*/ 106 w 288"/>
                <a:gd name="T23" fmla="*/ 0 h 328"/>
                <a:gd name="T24" fmla="*/ 126 w 288"/>
                <a:gd name="T25" fmla="*/ 12 h 328"/>
                <a:gd name="T26" fmla="*/ 248 w 288"/>
                <a:gd name="T27" fmla="*/ 112 h 328"/>
                <a:gd name="T28" fmla="*/ 266 w 288"/>
                <a:gd name="T29" fmla="*/ 119 h 328"/>
                <a:gd name="T30" fmla="*/ 270 w 288"/>
                <a:gd name="T31" fmla="*/ 149 h 328"/>
                <a:gd name="T32" fmla="*/ 285 w 288"/>
                <a:gd name="T33" fmla="*/ 144 h 328"/>
                <a:gd name="T34" fmla="*/ 288 w 288"/>
                <a:gd name="T35" fmla="*/ 204 h 328"/>
                <a:gd name="T36" fmla="*/ 275 w 288"/>
                <a:gd name="T37" fmla="*/ 204 h 328"/>
                <a:gd name="T38" fmla="*/ 275 w 288"/>
                <a:gd name="T39" fmla="*/ 216 h 328"/>
                <a:gd name="T40" fmla="*/ 231 w 288"/>
                <a:gd name="T41" fmla="*/ 221 h 328"/>
                <a:gd name="T42" fmla="*/ 216 w 288"/>
                <a:gd name="T43" fmla="*/ 231 h 328"/>
                <a:gd name="T44" fmla="*/ 186 w 288"/>
                <a:gd name="T45" fmla="*/ 231 h 328"/>
                <a:gd name="T46" fmla="*/ 179 w 288"/>
                <a:gd name="T47" fmla="*/ 241 h 328"/>
                <a:gd name="T48" fmla="*/ 169 w 288"/>
                <a:gd name="T49" fmla="*/ 251 h 328"/>
                <a:gd name="T50" fmla="*/ 146 w 288"/>
                <a:gd name="T51" fmla="*/ 259 h 328"/>
                <a:gd name="T52" fmla="*/ 141 w 288"/>
                <a:gd name="T53" fmla="*/ 269 h 328"/>
                <a:gd name="T54" fmla="*/ 134 w 288"/>
                <a:gd name="T55" fmla="*/ 281 h 328"/>
                <a:gd name="T56" fmla="*/ 121 w 288"/>
                <a:gd name="T57" fmla="*/ 298 h 328"/>
                <a:gd name="T58" fmla="*/ 116 w 288"/>
                <a:gd name="T59" fmla="*/ 323 h 328"/>
                <a:gd name="T60" fmla="*/ 94 w 288"/>
                <a:gd name="T61" fmla="*/ 326 h 328"/>
                <a:gd name="T62" fmla="*/ 79 w 288"/>
                <a:gd name="T63" fmla="*/ 328 h 328"/>
                <a:gd name="T64" fmla="*/ 74 w 288"/>
                <a:gd name="T65" fmla="*/ 303 h 328"/>
                <a:gd name="T66" fmla="*/ 62 w 288"/>
                <a:gd name="T67" fmla="*/ 288 h 328"/>
                <a:gd name="T68" fmla="*/ 39 w 288"/>
                <a:gd name="T69" fmla="*/ 286 h 328"/>
                <a:gd name="T70" fmla="*/ 22 w 288"/>
                <a:gd name="T71" fmla="*/ 281 h 328"/>
                <a:gd name="T72" fmla="*/ 12 w 288"/>
                <a:gd name="T73" fmla="*/ 261 h 328"/>
                <a:gd name="T74" fmla="*/ 2 w 288"/>
                <a:gd name="T75" fmla="*/ 251 h 328"/>
                <a:gd name="T76" fmla="*/ 0 w 288"/>
                <a:gd name="T77" fmla="*/ 2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8" h="328">
                  <a:moveTo>
                    <a:pt x="0" y="236"/>
                  </a:moveTo>
                  <a:lnTo>
                    <a:pt x="17" y="214"/>
                  </a:lnTo>
                  <a:lnTo>
                    <a:pt x="32" y="221"/>
                  </a:lnTo>
                  <a:lnTo>
                    <a:pt x="94" y="226"/>
                  </a:lnTo>
                  <a:lnTo>
                    <a:pt x="116" y="224"/>
                  </a:lnTo>
                  <a:lnTo>
                    <a:pt x="116" y="201"/>
                  </a:lnTo>
                  <a:lnTo>
                    <a:pt x="101" y="196"/>
                  </a:lnTo>
                  <a:lnTo>
                    <a:pt x="104" y="60"/>
                  </a:lnTo>
                  <a:lnTo>
                    <a:pt x="94" y="47"/>
                  </a:lnTo>
                  <a:lnTo>
                    <a:pt x="94" y="20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6" y="12"/>
                  </a:lnTo>
                  <a:lnTo>
                    <a:pt x="248" y="112"/>
                  </a:lnTo>
                  <a:lnTo>
                    <a:pt x="266" y="119"/>
                  </a:lnTo>
                  <a:lnTo>
                    <a:pt x="270" y="149"/>
                  </a:lnTo>
                  <a:lnTo>
                    <a:pt x="285" y="144"/>
                  </a:lnTo>
                  <a:lnTo>
                    <a:pt x="288" y="204"/>
                  </a:lnTo>
                  <a:lnTo>
                    <a:pt x="275" y="204"/>
                  </a:lnTo>
                  <a:lnTo>
                    <a:pt x="275" y="216"/>
                  </a:lnTo>
                  <a:lnTo>
                    <a:pt x="231" y="221"/>
                  </a:lnTo>
                  <a:lnTo>
                    <a:pt x="216" y="231"/>
                  </a:lnTo>
                  <a:lnTo>
                    <a:pt x="186" y="231"/>
                  </a:lnTo>
                  <a:lnTo>
                    <a:pt x="179" y="241"/>
                  </a:lnTo>
                  <a:lnTo>
                    <a:pt x="169" y="251"/>
                  </a:lnTo>
                  <a:lnTo>
                    <a:pt x="146" y="259"/>
                  </a:lnTo>
                  <a:lnTo>
                    <a:pt x="141" y="269"/>
                  </a:lnTo>
                  <a:lnTo>
                    <a:pt x="134" y="281"/>
                  </a:lnTo>
                  <a:lnTo>
                    <a:pt x="121" y="298"/>
                  </a:lnTo>
                  <a:lnTo>
                    <a:pt x="116" y="323"/>
                  </a:lnTo>
                  <a:lnTo>
                    <a:pt x="94" y="326"/>
                  </a:lnTo>
                  <a:lnTo>
                    <a:pt x="79" y="328"/>
                  </a:lnTo>
                  <a:lnTo>
                    <a:pt x="74" y="303"/>
                  </a:lnTo>
                  <a:lnTo>
                    <a:pt x="62" y="288"/>
                  </a:lnTo>
                  <a:lnTo>
                    <a:pt x="39" y="286"/>
                  </a:lnTo>
                  <a:lnTo>
                    <a:pt x="22" y="281"/>
                  </a:lnTo>
                  <a:lnTo>
                    <a:pt x="12" y="261"/>
                  </a:lnTo>
                  <a:lnTo>
                    <a:pt x="2" y="251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52"/>
            <p:cNvSpPr>
              <a:spLocks/>
            </p:cNvSpPr>
            <p:nvPr/>
          </p:nvSpPr>
          <p:spPr bwMode="auto">
            <a:xfrm>
              <a:off x="3924986" y="4090244"/>
              <a:ext cx="86354" cy="89233"/>
            </a:xfrm>
            <a:custGeom>
              <a:avLst/>
              <a:gdLst>
                <a:gd name="T0" fmla="*/ 60 w 60"/>
                <a:gd name="T1" fmla="*/ 30 h 62"/>
                <a:gd name="T2" fmla="*/ 55 w 60"/>
                <a:gd name="T3" fmla="*/ 10 h 62"/>
                <a:gd name="T4" fmla="*/ 35 w 60"/>
                <a:gd name="T5" fmla="*/ 0 h 62"/>
                <a:gd name="T6" fmla="*/ 20 w 60"/>
                <a:gd name="T7" fmla="*/ 8 h 62"/>
                <a:gd name="T8" fmla="*/ 0 w 60"/>
                <a:gd name="T9" fmla="*/ 13 h 62"/>
                <a:gd name="T10" fmla="*/ 5 w 60"/>
                <a:gd name="T11" fmla="*/ 30 h 62"/>
                <a:gd name="T12" fmla="*/ 18 w 60"/>
                <a:gd name="T13" fmla="*/ 32 h 62"/>
                <a:gd name="T14" fmla="*/ 20 w 60"/>
                <a:gd name="T15" fmla="*/ 50 h 62"/>
                <a:gd name="T16" fmla="*/ 37 w 60"/>
                <a:gd name="T17" fmla="*/ 55 h 62"/>
                <a:gd name="T18" fmla="*/ 42 w 60"/>
                <a:gd name="T19" fmla="*/ 62 h 62"/>
                <a:gd name="T20" fmla="*/ 60 w 60"/>
                <a:gd name="T2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62">
                  <a:moveTo>
                    <a:pt x="60" y="30"/>
                  </a:moveTo>
                  <a:lnTo>
                    <a:pt x="55" y="10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0" y="13"/>
                  </a:lnTo>
                  <a:lnTo>
                    <a:pt x="5" y="30"/>
                  </a:lnTo>
                  <a:lnTo>
                    <a:pt x="18" y="32"/>
                  </a:lnTo>
                  <a:lnTo>
                    <a:pt x="20" y="50"/>
                  </a:lnTo>
                  <a:lnTo>
                    <a:pt x="37" y="55"/>
                  </a:lnTo>
                  <a:lnTo>
                    <a:pt x="42" y="62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53"/>
            <p:cNvSpPr>
              <a:spLocks/>
            </p:cNvSpPr>
            <p:nvPr/>
          </p:nvSpPr>
          <p:spPr bwMode="auto">
            <a:xfrm>
              <a:off x="4326533" y="3972226"/>
              <a:ext cx="277772" cy="279212"/>
            </a:xfrm>
            <a:custGeom>
              <a:avLst/>
              <a:gdLst>
                <a:gd name="T0" fmla="*/ 156 w 193"/>
                <a:gd name="T1" fmla="*/ 124 h 194"/>
                <a:gd name="T2" fmla="*/ 166 w 193"/>
                <a:gd name="T3" fmla="*/ 105 h 194"/>
                <a:gd name="T4" fmla="*/ 176 w 193"/>
                <a:gd name="T5" fmla="*/ 70 h 194"/>
                <a:gd name="T6" fmla="*/ 181 w 193"/>
                <a:gd name="T7" fmla="*/ 62 h 194"/>
                <a:gd name="T8" fmla="*/ 191 w 193"/>
                <a:gd name="T9" fmla="*/ 55 h 194"/>
                <a:gd name="T10" fmla="*/ 193 w 193"/>
                <a:gd name="T11" fmla="*/ 30 h 194"/>
                <a:gd name="T12" fmla="*/ 191 w 193"/>
                <a:gd name="T13" fmla="*/ 0 h 194"/>
                <a:gd name="T14" fmla="*/ 176 w 193"/>
                <a:gd name="T15" fmla="*/ 8 h 194"/>
                <a:gd name="T16" fmla="*/ 169 w 193"/>
                <a:gd name="T17" fmla="*/ 18 h 194"/>
                <a:gd name="T18" fmla="*/ 161 w 193"/>
                <a:gd name="T19" fmla="*/ 8 h 194"/>
                <a:gd name="T20" fmla="*/ 136 w 193"/>
                <a:gd name="T21" fmla="*/ 8 h 194"/>
                <a:gd name="T22" fmla="*/ 134 w 193"/>
                <a:gd name="T23" fmla="*/ 18 h 194"/>
                <a:gd name="T24" fmla="*/ 119 w 193"/>
                <a:gd name="T25" fmla="*/ 15 h 194"/>
                <a:gd name="T26" fmla="*/ 109 w 193"/>
                <a:gd name="T27" fmla="*/ 5 h 194"/>
                <a:gd name="T28" fmla="*/ 97 w 193"/>
                <a:gd name="T29" fmla="*/ 8 h 194"/>
                <a:gd name="T30" fmla="*/ 74 w 193"/>
                <a:gd name="T31" fmla="*/ 10 h 194"/>
                <a:gd name="T32" fmla="*/ 74 w 193"/>
                <a:gd name="T33" fmla="*/ 18 h 194"/>
                <a:gd name="T34" fmla="*/ 64 w 193"/>
                <a:gd name="T35" fmla="*/ 5 h 194"/>
                <a:gd name="T36" fmla="*/ 52 w 193"/>
                <a:gd name="T37" fmla="*/ 3 h 194"/>
                <a:gd name="T38" fmla="*/ 34 w 193"/>
                <a:gd name="T39" fmla="*/ 8 h 194"/>
                <a:gd name="T40" fmla="*/ 27 w 193"/>
                <a:gd name="T41" fmla="*/ 20 h 194"/>
                <a:gd name="T42" fmla="*/ 22 w 193"/>
                <a:gd name="T43" fmla="*/ 30 h 194"/>
                <a:gd name="T44" fmla="*/ 17 w 193"/>
                <a:gd name="T45" fmla="*/ 30 h 194"/>
                <a:gd name="T46" fmla="*/ 19 w 193"/>
                <a:gd name="T47" fmla="*/ 52 h 194"/>
                <a:gd name="T48" fmla="*/ 12 w 193"/>
                <a:gd name="T49" fmla="*/ 92 h 194"/>
                <a:gd name="T50" fmla="*/ 0 w 193"/>
                <a:gd name="T51" fmla="*/ 107 h 194"/>
                <a:gd name="T52" fmla="*/ 5 w 193"/>
                <a:gd name="T53" fmla="*/ 147 h 194"/>
                <a:gd name="T54" fmla="*/ 19 w 193"/>
                <a:gd name="T55" fmla="*/ 149 h 194"/>
                <a:gd name="T56" fmla="*/ 34 w 193"/>
                <a:gd name="T57" fmla="*/ 147 h 194"/>
                <a:gd name="T58" fmla="*/ 42 w 193"/>
                <a:gd name="T59" fmla="*/ 154 h 194"/>
                <a:gd name="T60" fmla="*/ 49 w 193"/>
                <a:gd name="T61" fmla="*/ 167 h 194"/>
                <a:gd name="T62" fmla="*/ 49 w 193"/>
                <a:gd name="T63" fmla="*/ 182 h 194"/>
                <a:gd name="T64" fmla="*/ 62 w 193"/>
                <a:gd name="T65" fmla="*/ 192 h 194"/>
                <a:gd name="T66" fmla="*/ 79 w 193"/>
                <a:gd name="T67" fmla="*/ 194 h 194"/>
                <a:gd name="T68" fmla="*/ 111 w 193"/>
                <a:gd name="T69" fmla="*/ 167 h 194"/>
                <a:gd name="T70" fmla="*/ 121 w 193"/>
                <a:gd name="T71" fmla="*/ 152 h 194"/>
                <a:gd name="T72" fmla="*/ 136 w 193"/>
                <a:gd name="T73" fmla="*/ 139 h 194"/>
                <a:gd name="T74" fmla="*/ 156 w 193"/>
                <a:gd name="T75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194">
                  <a:moveTo>
                    <a:pt x="156" y="124"/>
                  </a:moveTo>
                  <a:lnTo>
                    <a:pt x="166" y="105"/>
                  </a:lnTo>
                  <a:lnTo>
                    <a:pt x="176" y="70"/>
                  </a:lnTo>
                  <a:lnTo>
                    <a:pt x="181" y="62"/>
                  </a:lnTo>
                  <a:lnTo>
                    <a:pt x="191" y="55"/>
                  </a:lnTo>
                  <a:lnTo>
                    <a:pt x="193" y="30"/>
                  </a:lnTo>
                  <a:lnTo>
                    <a:pt x="191" y="0"/>
                  </a:lnTo>
                  <a:lnTo>
                    <a:pt x="176" y="8"/>
                  </a:lnTo>
                  <a:lnTo>
                    <a:pt x="169" y="18"/>
                  </a:lnTo>
                  <a:lnTo>
                    <a:pt x="161" y="8"/>
                  </a:lnTo>
                  <a:lnTo>
                    <a:pt x="136" y="8"/>
                  </a:lnTo>
                  <a:lnTo>
                    <a:pt x="134" y="18"/>
                  </a:lnTo>
                  <a:lnTo>
                    <a:pt x="119" y="15"/>
                  </a:lnTo>
                  <a:lnTo>
                    <a:pt x="109" y="5"/>
                  </a:lnTo>
                  <a:lnTo>
                    <a:pt x="97" y="8"/>
                  </a:lnTo>
                  <a:lnTo>
                    <a:pt x="74" y="10"/>
                  </a:lnTo>
                  <a:lnTo>
                    <a:pt x="74" y="18"/>
                  </a:lnTo>
                  <a:lnTo>
                    <a:pt x="64" y="5"/>
                  </a:lnTo>
                  <a:lnTo>
                    <a:pt x="52" y="3"/>
                  </a:lnTo>
                  <a:lnTo>
                    <a:pt x="34" y="8"/>
                  </a:lnTo>
                  <a:lnTo>
                    <a:pt x="27" y="20"/>
                  </a:lnTo>
                  <a:lnTo>
                    <a:pt x="22" y="30"/>
                  </a:lnTo>
                  <a:lnTo>
                    <a:pt x="17" y="30"/>
                  </a:lnTo>
                  <a:lnTo>
                    <a:pt x="19" y="52"/>
                  </a:lnTo>
                  <a:lnTo>
                    <a:pt x="12" y="92"/>
                  </a:lnTo>
                  <a:lnTo>
                    <a:pt x="0" y="107"/>
                  </a:lnTo>
                  <a:lnTo>
                    <a:pt x="5" y="147"/>
                  </a:lnTo>
                  <a:lnTo>
                    <a:pt x="19" y="149"/>
                  </a:lnTo>
                  <a:lnTo>
                    <a:pt x="34" y="147"/>
                  </a:lnTo>
                  <a:lnTo>
                    <a:pt x="42" y="154"/>
                  </a:lnTo>
                  <a:lnTo>
                    <a:pt x="49" y="167"/>
                  </a:lnTo>
                  <a:lnTo>
                    <a:pt x="49" y="182"/>
                  </a:lnTo>
                  <a:lnTo>
                    <a:pt x="62" y="192"/>
                  </a:lnTo>
                  <a:lnTo>
                    <a:pt x="79" y="194"/>
                  </a:lnTo>
                  <a:lnTo>
                    <a:pt x="111" y="167"/>
                  </a:lnTo>
                  <a:lnTo>
                    <a:pt x="121" y="152"/>
                  </a:lnTo>
                  <a:lnTo>
                    <a:pt x="136" y="139"/>
                  </a:lnTo>
                  <a:lnTo>
                    <a:pt x="156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54"/>
            <p:cNvSpPr>
              <a:spLocks/>
            </p:cNvSpPr>
            <p:nvPr/>
          </p:nvSpPr>
          <p:spPr bwMode="auto">
            <a:xfrm>
              <a:off x="4640286" y="4051384"/>
              <a:ext cx="315192" cy="246110"/>
            </a:xfrm>
            <a:custGeom>
              <a:avLst/>
              <a:gdLst>
                <a:gd name="T0" fmla="*/ 217 w 219"/>
                <a:gd name="T1" fmla="*/ 124 h 171"/>
                <a:gd name="T2" fmla="*/ 207 w 219"/>
                <a:gd name="T3" fmla="*/ 122 h 171"/>
                <a:gd name="T4" fmla="*/ 184 w 219"/>
                <a:gd name="T5" fmla="*/ 127 h 171"/>
                <a:gd name="T6" fmla="*/ 169 w 219"/>
                <a:gd name="T7" fmla="*/ 124 h 171"/>
                <a:gd name="T8" fmla="*/ 169 w 219"/>
                <a:gd name="T9" fmla="*/ 132 h 171"/>
                <a:gd name="T10" fmla="*/ 132 w 219"/>
                <a:gd name="T11" fmla="*/ 134 h 171"/>
                <a:gd name="T12" fmla="*/ 130 w 219"/>
                <a:gd name="T13" fmla="*/ 142 h 171"/>
                <a:gd name="T14" fmla="*/ 97 w 219"/>
                <a:gd name="T15" fmla="*/ 146 h 171"/>
                <a:gd name="T16" fmla="*/ 92 w 219"/>
                <a:gd name="T17" fmla="*/ 134 h 171"/>
                <a:gd name="T18" fmla="*/ 80 w 219"/>
                <a:gd name="T19" fmla="*/ 129 h 171"/>
                <a:gd name="T20" fmla="*/ 72 w 219"/>
                <a:gd name="T21" fmla="*/ 139 h 171"/>
                <a:gd name="T22" fmla="*/ 65 w 219"/>
                <a:gd name="T23" fmla="*/ 144 h 171"/>
                <a:gd name="T24" fmla="*/ 58 w 219"/>
                <a:gd name="T25" fmla="*/ 149 h 171"/>
                <a:gd name="T26" fmla="*/ 45 w 219"/>
                <a:gd name="T27" fmla="*/ 151 h 171"/>
                <a:gd name="T28" fmla="*/ 35 w 219"/>
                <a:gd name="T29" fmla="*/ 161 h 171"/>
                <a:gd name="T30" fmla="*/ 28 w 219"/>
                <a:gd name="T31" fmla="*/ 171 h 171"/>
                <a:gd name="T32" fmla="*/ 23 w 219"/>
                <a:gd name="T33" fmla="*/ 161 h 171"/>
                <a:gd name="T34" fmla="*/ 13 w 219"/>
                <a:gd name="T35" fmla="*/ 137 h 171"/>
                <a:gd name="T36" fmla="*/ 0 w 219"/>
                <a:gd name="T37" fmla="*/ 117 h 171"/>
                <a:gd name="T38" fmla="*/ 8 w 219"/>
                <a:gd name="T39" fmla="*/ 92 h 171"/>
                <a:gd name="T40" fmla="*/ 18 w 219"/>
                <a:gd name="T41" fmla="*/ 82 h 171"/>
                <a:gd name="T42" fmla="*/ 28 w 219"/>
                <a:gd name="T43" fmla="*/ 74 h 171"/>
                <a:gd name="T44" fmla="*/ 45 w 219"/>
                <a:gd name="T45" fmla="*/ 77 h 171"/>
                <a:gd name="T46" fmla="*/ 50 w 219"/>
                <a:gd name="T47" fmla="*/ 64 h 171"/>
                <a:gd name="T48" fmla="*/ 67 w 219"/>
                <a:gd name="T49" fmla="*/ 64 h 171"/>
                <a:gd name="T50" fmla="*/ 77 w 219"/>
                <a:gd name="T51" fmla="*/ 52 h 171"/>
                <a:gd name="T52" fmla="*/ 95 w 219"/>
                <a:gd name="T53" fmla="*/ 47 h 171"/>
                <a:gd name="T54" fmla="*/ 100 w 219"/>
                <a:gd name="T55" fmla="*/ 35 h 171"/>
                <a:gd name="T56" fmla="*/ 112 w 219"/>
                <a:gd name="T57" fmla="*/ 30 h 171"/>
                <a:gd name="T58" fmla="*/ 120 w 219"/>
                <a:gd name="T59" fmla="*/ 15 h 171"/>
                <a:gd name="T60" fmla="*/ 132 w 219"/>
                <a:gd name="T61" fmla="*/ 5 h 171"/>
                <a:gd name="T62" fmla="*/ 140 w 219"/>
                <a:gd name="T63" fmla="*/ 0 h 171"/>
                <a:gd name="T64" fmla="*/ 147 w 219"/>
                <a:gd name="T65" fmla="*/ 15 h 171"/>
                <a:gd name="T66" fmla="*/ 157 w 219"/>
                <a:gd name="T67" fmla="*/ 32 h 171"/>
                <a:gd name="T68" fmla="*/ 154 w 219"/>
                <a:gd name="T69" fmla="*/ 47 h 171"/>
                <a:gd name="T70" fmla="*/ 162 w 219"/>
                <a:gd name="T71" fmla="*/ 50 h 171"/>
                <a:gd name="T72" fmla="*/ 164 w 219"/>
                <a:gd name="T73" fmla="*/ 59 h 171"/>
                <a:gd name="T74" fmla="*/ 177 w 219"/>
                <a:gd name="T75" fmla="*/ 57 h 171"/>
                <a:gd name="T76" fmla="*/ 182 w 219"/>
                <a:gd name="T77" fmla="*/ 74 h 171"/>
                <a:gd name="T78" fmla="*/ 197 w 219"/>
                <a:gd name="T79" fmla="*/ 79 h 171"/>
                <a:gd name="T80" fmla="*/ 202 w 219"/>
                <a:gd name="T81" fmla="*/ 99 h 171"/>
                <a:gd name="T82" fmla="*/ 209 w 219"/>
                <a:gd name="T83" fmla="*/ 102 h 171"/>
                <a:gd name="T84" fmla="*/ 214 w 219"/>
                <a:gd name="T85" fmla="*/ 109 h 171"/>
                <a:gd name="T86" fmla="*/ 219 w 219"/>
                <a:gd name="T87" fmla="*/ 114 h 171"/>
                <a:gd name="T88" fmla="*/ 217 w 219"/>
                <a:gd name="T89" fmla="*/ 1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9" h="171">
                  <a:moveTo>
                    <a:pt x="217" y="124"/>
                  </a:moveTo>
                  <a:lnTo>
                    <a:pt x="207" y="122"/>
                  </a:lnTo>
                  <a:lnTo>
                    <a:pt x="184" y="127"/>
                  </a:lnTo>
                  <a:lnTo>
                    <a:pt x="169" y="124"/>
                  </a:lnTo>
                  <a:lnTo>
                    <a:pt x="169" y="132"/>
                  </a:lnTo>
                  <a:lnTo>
                    <a:pt x="132" y="134"/>
                  </a:lnTo>
                  <a:lnTo>
                    <a:pt x="130" y="142"/>
                  </a:lnTo>
                  <a:lnTo>
                    <a:pt x="97" y="146"/>
                  </a:lnTo>
                  <a:lnTo>
                    <a:pt x="92" y="134"/>
                  </a:lnTo>
                  <a:lnTo>
                    <a:pt x="80" y="129"/>
                  </a:lnTo>
                  <a:lnTo>
                    <a:pt x="72" y="139"/>
                  </a:lnTo>
                  <a:lnTo>
                    <a:pt x="65" y="144"/>
                  </a:lnTo>
                  <a:lnTo>
                    <a:pt x="58" y="149"/>
                  </a:lnTo>
                  <a:lnTo>
                    <a:pt x="45" y="151"/>
                  </a:lnTo>
                  <a:lnTo>
                    <a:pt x="35" y="161"/>
                  </a:lnTo>
                  <a:lnTo>
                    <a:pt x="28" y="171"/>
                  </a:lnTo>
                  <a:lnTo>
                    <a:pt x="23" y="161"/>
                  </a:lnTo>
                  <a:lnTo>
                    <a:pt x="13" y="137"/>
                  </a:lnTo>
                  <a:lnTo>
                    <a:pt x="0" y="117"/>
                  </a:lnTo>
                  <a:lnTo>
                    <a:pt x="8" y="92"/>
                  </a:lnTo>
                  <a:lnTo>
                    <a:pt x="18" y="82"/>
                  </a:lnTo>
                  <a:lnTo>
                    <a:pt x="28" y="74"/>
                  </a:lnTo>
                  <a:lnTo>
                    <a:pt x="45" y="77"/>
                  </a:lnTo>
                  <a:lnTo>
                    <a:pt x="50" y="64"/>
                  </a:lnTo>
                  <a:lnTo>
                    <a:pt x="67" y="64"/>
                  </a:lnTo>
                  <a:lnTo>
                    <a:pt x="77" y="52"/>
                  </a:lnTo>
                  <a:lnTo>
                    <a:pt x="95" y="47"/>
                  </a:lnTo>
                  <a:lnTo>
                    <a:pt x="100" y="35"/>
                  </a:lnTo>
                  <a:lnTo>
                    <a:pt x="112" y="30"/>
                  </a:lnTo>
                  <a:lnTo>
                    <a:pt x="120" y="15"/>
                  </a:lnTo>
                  <a:lnTo>
                    <a:pt x="132" y="5"/>
                  </a:lnTo>
                  <a:lnTo>
                    <a:pt x="140" y="0"/>
                  </a:lnTo>
                  <a:lnTo>
                    <a:pt x="147" y="15"/>
                  </a:lnTo>
                  <a:lnTo>
                    <a:pt x="157" y="32"/>
                  </a:lnTo>
                  <a:lnTo>
                    <a:pt x="154" y="47"/>
                  </a:lnTo>
                  <a:lnTo>
                    <a:pt x="162" y="50"/>
                  </a:lnTo>
                  <a:lnTo>
                    <a:pt x="164" y="59"/>
                  </a:lnTo>
                  <a:lnTo>
                    <a:pt x="177" y="57"/>
                  </a:lnTo>
                  <a:lnTo>
                    <a:pt x="182" y="74"/>
                  </a:lnTo>
                  <a:lnTo>
                    <a:pt x="197" y="79"/>
                  </a:lnTo>
                  <a:lnTo>
                    <a:pt x="202" y="99"/>
                  </a:lnTo>
                  <a:lnTo>
                    <a:pt x="209" y="102"/>
                  </a:lnTo>
                  <a:lnTo>
                    <a:pt x="214" y="109"/>
                  </a:lnTo>
                  <a:lnTo>
                    <a:pt x="219" y="114"/>
                  </a:lnTo>
                  <a:lnTo>
                    <a:pt x="217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55"/>
            <p:cNvSpPr>
              <a:spLocks/>
            </p:cNvSpPr>
            <p:nvPr/>
          </p:nvSpPr>
          <p:spPr bwMode="auto">
            <a:xfrm>
              <a:off x="4887835" y="3432513"/>
              <a:ext cx="272015" cy="318071"/>
            </a:xfrm>
            <a:custGeom>
              <a:avLst/>
              <a:gdLst>
                <a:gd name="T0" fmla="*/ 0 w 189"/>
                <a:gd name="T1" fmla="*/ 5 h 221"/>
                <a:gd name="T2" fmla="*/ 0 w 189"/>
                <a:gd name="T3" fmla="*/ 221 h 221"/>
                <a:gd name="T4" fmla="*/ 12 w 189"/>
                <a:gd name="T5" fmla="*/ 214 h 221"/>
                <a:gd name="T6" fmla="*/ 25 w 189"/>
                <a:gd name="T7" fmla="*/ 206 h 221"/>
                <a:gd name="T8" fmla="*/ 142 w 189"/>
                <a:gd name="T9" fmla="*/ 206 h 221"/>
                <a:gd name="T10" fmla="*/ 152 w 189"/>
                <a:gd name="T11" fmla="*/ 214 h 221"/>
                <a:gd name="T12" fmla="*/ 181 w 189"/>
                <a:gd name="T13" fmla="*/ 189 h 221"/>
                <a:gd name="T14" fmla="*/ 181 w 189"/>
                <a:gd name="T15" fmla="*/ 164 h 221"/>
                <a:gd name="T16" fmla="*/ 189 w 189"/>
                <a:gd name="T17" fmla="*/ 161 h 221"/>
                <a:gd name="T18" fmla="*/ 147 w 189"/>
                <a:gd name="T19" fmla="*/ 94 h 221"/>
                <a:gd name="T20" fmla="*/ 124 w 189"/>
                <a:gd name="T21" fmla="*/ 54 h 221"/>
                <a:gd name="T22" fmla="*/ 124 w 189"/>
                <a:gd name="T23" fmla="*/ 35 h 221"/>
                <a:gd name="T24" fmla="*/ 137 w 189"/>
                <a:gd name="T25" fmla="*/ 52 h 221"/>
                <a:gd name="T26" fmla="*/ 156 w 189"/>
                <a:gd name="T27" fmla="*/ 72 h 221"/>
                <a:gd name="T28" fmla="*/ 164 w 189"/>
                <a:gd name="T29" fmla="*/ 54 h 221"/>
                <a:gd name="T30" fmla="*/ 164 w 189"/>
                <a:gd name="T31" fmla="*/ 32 h 221"/>
                <a:gd name="T32" fmla="*/ 149 w 189"/>
                <a:gd name="T33" fmla="*/ 7 h 221"/>
                <a:gd name="T34" fmla="*/ 124 w 189"/>
                <a:gd name="T35" fmla="*/ 5 h 221"/>
                <a:gd name="T36" fmla="*/ 79 w 189"/>
                <a:gd name="T37" fmla="*/ 0 h 221"/>
                <a:gd name="T38" fmla="*/ 72 w 189"/>
                <a:gd name="T39" fmla="*/ 22 h 221"/>
                <a:gd name="T40" fmla="*/ 60 w 189"/>
                <a:gd name="T41" fmla="*/ 15 h 221"/>
                <a:gd name="T42" fmla="*/ 47 w 189"/>
                <a:gd name="T43" fmla="*/ 2 h 221"/>
                <a:gd name="T44" fmla="*/ 0 w 189"/>
                <a:gd name="T45" fmla="*/ 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9" h="221">
                  <a:moveTo>
                    <a:pt x="0" y="5"/>
                  </a:moveTo>
                  <a:lnTo>
                    <a:pt x="0" y="221"/>
                  </a:lnTo>
                  <a:lnTo>
                    <a:pt x="12" y="214"/>
                  </a:lnTo>
                  <a:lnTo>
                    <a:pt x="25" y="206"/>
                  </a:lnTo>
                  <a:lnTo>
                    <a:pt x="142" y="206"/>
                  </a:lnTo>
                  <a:lnTo>
                    <a:pt x="152" y="214"/>
                  </a:lnTo>
                  <a:lnTo>
                    <a:pt x="181" y="189"/>
                  </a:lnTo>
                  <a:lnTo>
                    <a:pt x="181" y="164"/>
                  </a:lnTo>
                  <a:lnTo>
                    <a:pt x="189" y="161"/>
                  </a:lnTo>
                  <a:lnTo>
                    <a:pt x="147" y="94"/>
                  </a:lnTo>
                  <a:lnTo>
                    <a:pt x="124" y="54"/>
                  </a:lnTo>
                  <a:lnTo>
                    <a:pt x="124" y="35"/>
                  </a:lnTo>
                  <a:lnTo>
                    <a:pt x="137" y="52"/>
                  </a:lnTo>
                  <a:lnTo>
                    <a:pt x="156" y="72"/>
                  </a:lnTo>
                  <a:lnTo>
                    <a:pt x="164" y="54"/>
                  </a:lnTo>
                  <a:lnTo>
                    <a:pt x="164" y="32"/>
                  </a:lnTo>
                  <a:lnTo>
                    <a:pt x="149" y="7"/>
                  </a:lnTo>
                  <a:lnTo>
                    <a:pt x="124" y="5"/>
                  </a:lnTo>
                  <a:lnTo>
                    <a:pt x="79" y="0"/>
                  </a:lnTo>
                  <a:lnTo>
                    <a:pt x="72" y="22"/>
                  </a:lnTo>
                  <a:lnTo>
                    <a:pt x="60" y="15"/>
                  </a:lnTo>
                  <a:lnTo>
                    <a:pt x="47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56"/>
            <p:cNvSpPr>
              <a:spLocks/>
            </p:cNvSpPr>
            <p:nvPr/>
          </p:nvSpPr>
          <p:spPr bwMode="auto">
            <a:xfrm>
              <a:off x="5814702" y="3295786"/>
              <a:ext cx="310875" cy="375640"/>
            </a:xfrm>
            <a:custGeom>
              <a:avLst/>
              <a:gdLst>
                <a:gd name="T0" fmla="*/ 169 w 216"/>
                <a:gd name="T1" fmla="*/ 0 h 261"/>
                <a:gd name="T2" fmla="*/ 151 w 216"/>
                <a:gd name="T3" fmla="*/ 5 h 261"/>
                <a:gd name="T4" fmla="*/ 146 w 216"/>
                <a:gd name="T5" fmla="*/ 25 h 261"/>
                <a:gd name="T6" fmla="*/ 139 w 216"/>
                <a:gd name="T7" fmla="*/ 48 h 261"/>
                <a:gd name="T8" fmla="*/ 131 w 216"/>
                <a:gd name="T9" fmla="*/ 67 h 261"/>
                <a:gd name="T10" fmla="*/ 122 w 216"/>
                <a:gd name="T11" fmla="*/ 75 h 261"/>
                <a:gd name="T12" fmla="*/ 117 w 216"/>
                <a:gd name="T13" fmla="*/ 95 h 261"/>
                <a:gd name="T14" fmla="*/ 99 w 216"/>
                <a:gd name="T15" fmla="*/ 97 h 261"/>
                <a:gd name="T16" fmla="*/ 82 w 216"/>
                <a:gd name="T17" fmla="*/ 110 h 261"/>
                <a:gd name="T18" fmla="*/ 67 w 216"/>
                <a:gd name="T19" fmla="*/ 120 h 261"/>
                <a:gd name="T20" fmla="*/ 59 w 216"/>
                <a:gd name="T21" fmla="*/ 140 h 261"/>
                <a:gd name="T22" fmla="*/ 7 w 216"/>
                <a:gd name="T23" fmla="*/ 144 h 261"/>
                <a:gd name="T24" fmla="*/ 0 w 216"/>
                <a:gd name="T25" fmla="*/ 159 h 261"/>
                <a:gd name="T26" fmla="*/ 5 w 216"/>
                <a:gd name="T27" fmla="*/ 179 h 261"/>
                <a:gd name="T28" fmla="*/ 20 w 216"/>
                <a:gd name="T29" fmla="*/ 179 h 261"/>
                <a:gd name="T30" fmla="*/ 25 w 216"/>
                <a:gd name="T31" fmla="*/ 192 h 261"/>
                <a:gd name="T32" fmla="*/ 15 w 216"/>
                <a:gd name="T33" fmla="*/ 204 h 261"/>
                <a:gd name="T34" fmla="*/ 0 w 216"/>
                <a:gd name="T35" fmla="*/ 209 h 261"/>
                <a:gd name="T36" fmla="*/ 15 w 216"/>
                <a:gd name="T37" fmla="*/ 214 h 261"/>
                <a:gd name="T38" fmla="*/ 22 w 216"/>
                <a:gd name="T39" fmla="*/ 229 h 261"/>
                <a:gd name="T40" fmla="*/ 52 w 216"/>
                <a:gd name="T41" fmla="*/ 229 h 261"/>
                <a:gd name="T42" fmla="*/ 74 w 216"/>
                <a:gd name="T43" fmla="*/ 222 h 261"/>
                <a:gd name="T44" fmla="*/ 77 w 216"/>
                <a:gd name="T45" fmla="*/ 236 h 261"/>
                <a:gd name="T46" fmla="*/ 97 w 216"/>
                <a:gd name="T47" fmla="*/ 251 h 261"/>
                <a:gd name="T48" fmla="*/ 112 w 216"/>
                <a:gd name="T49" fmla="*/ 261 h 261"/>
                <a:gd name="T50" fmla="*/ 122 w 216"/>
                <a:gd name="T51" fmla="*/ 251 h 261"/>
                <a:gd name="T52" fmla="*/ 156 w 216"/>
                <a:gd name="T53" fmla="*/ 251 h 261"/>
                <a:gd name="T54" fmla="*/ 159 w 216"/>
                <a:gd name="T55" fmla="*/ 234 h 261"/>
                <a:gd name="T56" fmla="*/ 139 w 216"/>
                <a:gd name="T57" fmla="*/ 209 h 261"/>
                <a:gd name="T58" fmla="*/ 124 w 216"/>
                <a:gd name="T59" fmla="*/ 194 h 261"/>
                <a:gd name="T60" fmla="*/ 131 w 216"/>
                <a:gd name="T61" fmla="*/ 177 h 261"/>
                <a:gd name="T62" fmla="*/ 141 w 216"/>
                <a:gd name="T63" fmla="*/ 167 h 261"/>
                <a:gd name="T64" fmla="*/ 171 w 216"/>
                <a:gd name="T65" fmla="*/ 177 h 261"/>
                <a:gd name="T66" fmla="*/ 176 w 216"/>
                <a:gd name="T67" fmla="*/ 164 h 261"/>
                <a:gd name="T68" fmla="*/ 179 w 216"/>
                <a:gd name="T69" fmla="*/ 152 h 261"/>
                <a:gd name="T70" fmla="*/ 199 w 216"/>
                <a:gd name="T71" fmla="*/ 135 h 261"/>
                <a:gd name="T72" fmla="*/ 206 w 216"/>
                <a:gd name="T73" fmla="*/ 117 h 261"/>
                <a:gd name="T74" fmla="*/ 216 w 216"/>
                <a:gd name="T75" fmla="*/ 105 h 261"/>
                <a:gd name="T76" fmla="*/ 216 w 216"/>
                <a:gd name="T77" fmla="*/ 77 h 261"/>
                <a:gd name="T78" fmla="*/ 199 w 216"/>
                <a:gd name="T79" fmla="*/ 65 h 261"/>
                <a:gd name="T80" fmla="*/ 201 w 216"/>
                <a:gd name="T81" fmla="*/ 40 h 261"/>
                <a:gd name="T82" fmla="*/ 191 w 216"/>
                <a:gd name="T83" fmla="*/ 28 h 261"/>
                <a:gd name="T84" fmla="*/ 194 w 216"/>
                <a:gd name="T85" fmla="*/ 10 h 261"/>
                <a:gd name="T86" fmla="*/ 179 w 216"/>
                <a:gd name="T87" fmla="*/ 3 h 261"/>
                <a:gd name="T88" fmla="*/ 169 w 216"/>
                <a:gd name="T8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6" h="261">
                  <a:moveTo>
                    <a:pt x="169" y="0"/>
                  </a:moveTo>
                  <a:lnTo>
                    <a:pt x="151" y="5"/>
                  </a:lnTo>
                  <a:lnTo>
                    <a:pt x="146" y="25"/>
                  </a:lnTo>
                  <a:lnTo>
                    <a:pt x="139" y="48"/>
                  </a:lnTo>
                  <a:lnTo>
                    <a:pt x="131" y="67"/>
                  </a:lnTo>
                  <a:lnTo>
                    <a:pt x="122" y="75"/>
                  </a:lnTo>
                  <a:lnTo>
                    <a:pt x="117" y="95"/>
                  </a:lnTo>
                  <a:lnTo>
                    <a:pt x="99" y="97"/>
                  </a:lnTo>
                  <a:lnTo>
                    <a:pt x="82" y="110"/>
                  </a:lnTo>
                  <a:lnTo>
                    <a:pt x="67" y="120"/>
                  </a:lnTo>
                  <a:lnTo>
                    <a:pt x="59" y="140"/>
                  </a:lnTo>
                  <a:lnTo>
                    <a:pt x="7" y="144"/>
                  </a:lnTo>
                  <a:lnTo>
                    <a:pt x="0" y="159"/>
                  </a:lnTo>
                  <a:lnTo>
                    <a:pt x="5" y="179"/>
                  </a:lnTo>
                  <a:lnTo>
                    <a:pt x="20" y="179"/>
                  </a:lnTo>
                  <a:lnTo>
                    <a:pt x="25" y="192"/>
                  </a:lnTo>
                  <a:lnTo>
                    <a:pt x="15" y="204"/>
                  </a:lnTo>
                  <a:lnTo>
                    <a:pt x="0" y="209"/>
                  </a:lnTo>
                  <a:lnTo>
                    <a:pt x="15" y="214"/>
                  </a:lnTo>
                  <a:lnTo>
                    <a:pt x="22" y="229"/>
                  </a:lnTo>
                  <a:lnTo>
                    <a:pt x="52" y="229"/>
                  </a:lnTo>
                  <a:lnTo>
                    <a:pt x="74" y="222"/>
                  </a:lnTo>
                  <a:lnTo>
                    <a:pt x="77" y="236"/>
                  </a:lnTo>
                  <a:lnTo>
                    <a:pt x="97" y="251"/>
                  </a:lnTo>
                  <a:lnTo>
                    <a:pt x="112" y="261"/>
                  </a:lnTo>
                  <a:lnTo>
                    <a:pt x="122" y="251"/>
                  </a:lnTo>
                  <a:lnTo>
                    <a:pt x="156" y="251"/>
                  </a:lnTo>
                  <a:lnTo>
                    <a:pt x="159" y="234"/>
                  </a:lnTo>
                  <a:lnTo>
                    <a:pt x="139" y="209"/>
                  </a:lnTo>
                  <a:lnTo>
                    <a:pt x="124" y="194"/>
                  </a:lnTo>
                  <a:lnTo>
                    <a:pt x="131" y="177"/>
                  </a:lnTo>
                  <a:lnTo>
                    <a:pt x="141" y="167"/>
                  </a:lnTo>
                  <a:lnTo>
                    <a:pt x="171" y="177"/>
                  </a:lnTo>
                  <a:lnTo>
                    <a:pt x="176" y="164"/>
                  </a:lnTo>
                  <a:lnTo>
                    <a:pt x="179" y="152"/>
                  </a:lnTo>
                  <a:lnTo>
                    <a:pt x="199" y="135"/>
                  </a:lnTo>
                  <a:lnTo>
                    <a:pt x="206" y="117"/>
                  </a:lnTo>
                  <a:lnTo>
                    <a:pt x="216" y="105"/>
                  </a:lnTo>
                  <a:lnTo>
                    <a:pt x="216" y="77"/>
                  </a:lnTo>
                  <a:lnTo>
                    <a:pt x="199" y="65"/>
                  </a:lnTo>
                  <a:lnTo>
                    <a:pt x="201" y="40"/>
                  </a:lnTo>
                  <a:lnTo>
                    <a:pt x="191" y="28"/>
                  </a:lnTo>
                  <a:lnTo>
                    <a:pt x="194" y="10"/>
                  </a:lnTo>
                  <a:lnTo>
                    <a:pt x="179" y="3"/>
                  </a:lnTo>
                  <a:lnTo>
                    <a:pt x="16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7"/>
            <p:cNvSpPr>
              <a:spLocks/>
            </p:cNvSpPr>
            <p:nvPr/>
          </p:nvSpPr>
          <p:spPr bwMode="auto">
            <a:xfrm>
              <a:off x="7374833" y="3196478"/>
              <a:ext cx="96428" cy="153999"/>
            </a:xfrm>
            <a:custGeom>
              <a:avLst/>
              <a:gdLst>
                <a:gd name="T0" fmla="*/ 32 w 67"/>
                <a:gd name="T1" fmla="*/ 0 h 107"/>
                <a:gd name="T2" fmla="*/ 24 w 67"/>
                <a:gd name="T3" fmla="*/ 20 h 107"/>
                <a:gd name="T4" fmla="*/ 0 w 67"/>
                <a:gd name="T5" fmla="*/ 27 h 107"/>
                <a:gd name="T6" fmla="*/ 10 w 67"/>
                <a:gd name="T7" fmla="*/ 42 h 107"/>
                <a:gd name="T8" fmla="*/ 7 w 67"/>
                <a:gd name="T9" fmla="*/ 57 h 107"/>
                <a:gd name="T10" fmla="*/ 24 w 67"/>
                <a:gd name="T11" fmla="*/ 64 h 107"/>
                <a:gd name="T12" fmla="*/ 20 w 67"/>
                <a:gd name="T13" fmla="*/ 99 h 107"/>
                <a:gd name="T14" fmla="*/ 39 w 67"/>
                <a:gd name="T15" fmla="*/ 107 h 107"/>
                <a:gd name="T16" fmla="*/ 67 w 67"/>
                <a:gd name="T17" fmla="*/ 89 h 107"/>
                <a:gd name="T18" fmla="*/ 67 w 67"/>
                <a:gd name="T19" fmla="*/ 47 h 107"/>
                <a:gd name="T20" fmla="*/ 32 w 67"/>
                <a:gd name="T2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107">
                  <a:moveTo>
                    <a:pt x="32" y="0"/>
                  </a:moveTo>
                  <a:lnTo>
                    <a:pt x="24" y="20"/>
                  </a:lnTo>
                  <a:lnTo>
                    <a:pt x="0" y="27"/>
                  </a:lnTo>
                  <a:lnTo>
                    <a:pt x="10" y="42"/>
                  </a:lnTo>
                  <a:lnTo>
                    <a:pt x="7" y="57"/>
                  </a:lnTo>
                  <a:lnTo>
                    <a:pt x="24" y="64"/>
                  </a:lnTo>
                  <a:lnTo>
                    <a:pt x="20" y="99"/>
                  </a:lnTo>
                  <a:lnTo>
                    <a:pt x="39" y="107"/>
                  </a:lnTo>
                  <a:lnTo>
                    <a:pt x="67" y="89"/>
                  </a:lnTo>
                  <a:lnTo>
                    <a:pt x="67" y="47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8"/>
            <p:cNvSpPr>
              <a:spLocks/>
            </p:cNvSpPr>
            <p:nvPr/>
          </p:nvSpPr>
          <p:spPr bwMode="auto">
            <a:xfrm>
              <a:off x="7646848" y="2669718"/>
              <a:ext cx="92111" cy="189979"/>
            </a:xfrm>
            <a:custGeom>
              <a:avLst/>
              <a:gdLst>
                <a:gd name="T0" fmla="*/ 2 w 64"/>
                <a:gd name="T1" fmla="*/ 10 h 132"/>
                <a:gd name="T2" fmla="*/ 2 w 64"/>
                <a:gd name="T3" fmla="*/ 25 h 132"/>
                <a:gd name="T4" fmla="*/ 7 w 64"/>
                <a:gd name="T5" fmla="*/ 43 h 132"/>
                <a:gd name="T6" fmla="*/ 14 w 64"/>
                <a:gd name="T7" fmla="*/ 62 h 132"/>
                <a:gd name="T8" fmla="*/ 19 w 64"/>
                <a:gd name="T9" fmla="*/ 87 h 132"/>
                <a:gd name="T10" fmla="*/ 32 w 64"/>
                <a:gd name="T11" fmla="*/ 100 h 132"/>
                <a:gd name="T12" fmla="*/ 24 w 64"/>
                <a:gd name="T13" fmla="*/ 117 h 132"/>
                <a:gd name="T14" fmla="*/ 27 w 64"/>
                <a:gd name="T15" fmla="*/ 125 h 132"/>
                <a:gd name="T16" fmla="*/ 34 w 64"/>
                <a:gd name="T17" fmla="*/ 125 h 132"/>
                <a:gd name="T18" fmla="*/ 54 w 64"/>
                <a:gd name="T19" fmla="*/ 132 h 132"/>
                <a:gd name="T20" fmla="*/ 64 w 64"/>
                <a:gd name="T21" fmla="*/ 125 h 132"/>
                <a:gd name="T22" fmla="*/ 57 w 64"/>
                <a:gd name="T23" fmla="*/ 102 h 132"/>
                <a:gd name="T24" fmla="*/ 42 w 64"/>
                <a:gd name="T25" fmla="*/ 67 h 132"/>
                <a:gd name="T26" fmla="*/ 52 w 64"/>
                <a:gd name="T27" fmla="*/ 70 h 132"/>
                <a:gd name="T28" fmla="*/ 37 w 64"/>
                <a:gd name="T29" fmla="*/ 45 h 132"/>
                <a:gd name="T30" fmla="*/ 24 w 64"/>
                <a:gd name="T31" fmla="*/ 28 h 132"/>
                <a:gd name="T32" fmla="*/ 19 w 64"/>
                <a:gd name="T33" fmla="*/ 3 h 132"/>
                <a:gd name="T34" fmla="*/ 0 w 64"/>
                <a:gd name="T35" fmla="*/ 0 h 132"/>
                <a:gd name="T36" fmla="*/ 2 w 64"/>
                <a:gd name="T37" fmla="*/ 1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32">
                  <a:moveTo>
                    <a:pt x="2" y="10"/>
                  </a:moveTo>
                  <a:lnTo>
                    <a:pt x="2" y="25"/>
                  </a:lnTo>
                  <a:lnTo>
                    <a:pt x="7" y="43"/>
                  </a:lnTo>
                  <a:lnTo>
                    <a:pt x="14" y="62"/>
                  </a:lnTo>
                  <a:lnTo>
                    <a:pt x="19" y="87"/>
                  </a:lnTo>
                  <a:lnTo>
                    <a:pt x="32" y="100"/>
                  </a:lnTo>
                  <a:lnTo>
                    <a:pt x="24" y="117"/>
                  </a:lnTo>
                  <a:lnTo>
                    <a:pt x="27" y="125"/>
                  </a:lnTo>
                  <a:lnTo>
                    <a:pt x="34" y="125"/>
                  </a:lnTo>
                  <a:lnTo>
                    <a:pt x="54" y="132"/>
                  </a:lnTo>
                  <a:lnTo>
                    <a:pt x="64" y="125"/>
                  </a:lnTo>
                  <a:lnTo>
                    <a:pt x="57" y="102"/>
                  </a:lnTo>
                  <a:lnTo>
                    <a:pt x="42" y="67"/>
                  </a:lnTo>
                  <a:lnTo>
                    <a:pt x="52" y="70"/>
                  </a:lnTo>
                  <a:lnTo>
                    <a:pt x="37" y="45"/>
                  </a:lnTo>
                  <a:lnTo>
                    <a:pt x="24" y="28"/>
                  </a:lnTo>
                  <a:lnTo>
                    <a:pt x="19" y="3"/>
                  </a:lnTo>
                  <a:lnTo>
                    <a:pt x="0" y="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9"/>
            <p:cNvSpPr>
              <a:spLocks/>
            </p:cNvSpPr>
            <p:nvPr/>
          </p:nvSpPr>
          <p:spPr bwMode="auto">
            <a:xfrm>
              <a:off x="5975897" y="3385018"/>
              <a:ext cx="722496" cy="751281"/>
            </a:xfrm>
            <a:custGeom>
              <a:avLst/>
              <a:gdLst>
                <a:gd name="T0" fmla="*/ 499 w 502"/>
                <a:gd name="T1" fmla="*/ 130 h 522"/>
                <a:gd name="T2" fmla="*/ 464 w 502"/>
                <a:gd name="T3" fmla="*/ 157 h 522"/>
                <a:gd name="T4" fmla="*/ 440 w 502"/>
                <a:gd name="T5" fmla="*/ 199 h 522"/>
                <a:gd name="T6" fmla="*/ 430 w 502"/>
                <a:gd name="T7" fmla="*/ 224 h 522"/>
                <a:gd name="T8" fmla="*/ 420 w 502"/>
                <a:gd name="T9" fmla="*/ 174 h 522"/>
                <a:gd name="T10" fmla="*/ 380 w 502"/>
                <a:gd name="T11" fmla="*/ 160 h 522"/>
                <a:gd name="T12" fmla="*/ 345 w 502"/>
                <a:gd name="T13" fmla="*/ 182 h 522"/>
                <a:gd name="T14" fmla="*/ 358 w 502"/>
                <a:gd name="T15" fmla="*/ 234 h 522"/>
                <a:gd name="T16" fmla="*/ 333 w 502"/>
                <a:gd name="T17" fmla="*/ 242 h 522"/>
                <a:gd name="T18" fmla="*/ 328 w 502"/>
                <a:gd name="T19" fmla="*/ 271 h 522"/>
                <a:gd name="T20" fmla="*/ 293 w 502"/>
                <a:gd name="T21" fmla="*/ 299 h 522"/>
                <a:gd name="T22" fmla="*/ 263 w 502"/>
                <a:gd name="T23" fmla="*/ 321 h 522"/>
                <a:gd name="T24" fmla="*/ 233 w 502"/>
                <a:gd name="T25" fmla="*/ 358 h 522"/>
                <a:gd name="T26" fmla="*/ 216 w 502"/>
                <a:gd name="T27" fmla="*/ 438 h 522"/>
                <a:gd name="T28" fmla="*/ 216 w 502"/>
                <a:gd name="T29" fmla="*/ 470 h 522"/>
                <a:gd name="T30" fmla="*/ 191 w 502"/>
                <a:gd name="T31" fmla="*/ 513 h 522"/>
                <a:gd name="T32" fmla="*/ 161 w 502"/>
                <a:gd name="T33" fmla="*/ 515 h 522"/>
                <a:gd name="T34" fmla="*/ 136 w 502"/>
                <a:gd name="T35" fmla="*/ 443 h 522"/>
                <a:gd name="T36" fmla="*/ 94 w 502"/>
                <a:gd name="T37" fmla="*/ 356 h 522"/>
                <a:gd name="T38" fmla="*/ 84 w 502"/>
                <a:gd name="T39" fmla="*/ 274 h 522"/>
                <a:gd name="T40" fmla="*/ 72 w 502"/>
                <a:gd name="T41" fmla="*/ 224 h 522"/>
                <a:gd name="T42" fmla="*/ 59 w 502"/>
                <a:gd name="T43" fmla="*/ 254 h 522"/>
                <a:gd name="T44" fmla="*/ 12 w 502"/>
                <a:gd name="T45" fmla="*/ 227 h 522"/>
                <a:gd name="T46" fmla="*/ 10 w 502"/>
                <a:gd name="T47" fmla="*/ 214 h 522"/>
                <a:gd name="T48" fmla="*/ 10 w 502"/>
                <a:gd name="T49" fmla="*/ 189 h 522"/>
                <a:gd name="T50" fmla="*/ 47 w 502"/>
                <a:gd name="T51" fmla="*/ 172 h 522"/>
                <a:gd name="T52" fmla="*/ 12 w 502"/>
                <a:gd name="T53" fmla="*/ 132 h 522"/>
                <a:gd name="T54" fmla="*/ 29 w 502"/>
                <a:gd name="T55" fmla="*/ 105 h 522"/>
                <a:gd name="T56" fmla="*/ 64 w 502"/>
                <a:gd name="T57" fmla="*/ 102 h 522"/>
                <a:gd name="T58" fmla="*/ 87 w 502"/>
                <a:gd name="T59" fmla="*/ 73 h 522"/>
                <a:gd name="T60" fmla="*/ 104 w 502"/>
                <a:gd name="T61" fmla="*/ 43 h 522"/>
                <a:gd name="T62" fmla="*/ 129 w 502"/>
                <a:gd name="T63" fmla="*/ 0 h 522"/>
                <a:gd name="T64" fmla="*/ 161 w 502"/>
                <a:gd name="T65" fmla="*/ 13 h 522"/>
                <a:gd name="T66" fmla="*/ 189 w 502"/>
                <a:gd name="T67" fmla="*/ 50 h 522"/>
                <a:gd name="T68" fmla="*/ 206 w 502"/>
                <a:gd name="T69" fmla="*/ 95 h 522"/>
                <a:gd name="T70" fmla="*/ 243 w 502"/>
                <a:gd name="T71" fmla="*/ 117 h 522"/>
                <a:gd name="T72" fmla="*/ 290 w 502"/>
                <a:gd name="T73" fmla="*/ 132 h 522"/>
                <a:gd name="T74" fmla="*/ 325 w 502"/>
                <a:gd name="T75" fmla="*/ 140 h 522"/>
                <a:gd name="T76" fmla="*/ 353 w 502"/>
                <a:gd name="T77" fmla="*/ 122 h 522"/>
                <a:gd name="T78" fmla="*/ 382 w 502"/>
                <a:gd name="T79" fmla="*/ 115 h 522"/>
                <a:gd name="T80" fmla="*/ 420 w 502"/>
                <a:gd name="T81" fmla="*/ 100 h 522"/>
                <a:gd name="T82" fmla="*/ 469 w 502"/>
                <a:gd name="T83" fmla="*/ 90 h 522"/>
                <a:gd name="T84" fmla="*/ 502 w 502"/>
                <a:gd name="T85" fmla="*/ 1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2" h="522">
                  <a:moveTo>
                    <a:pt x="502" y="117"/>
                  </a:moveTo>
                  <a:lnTo>
                    <a:pt x="499" y="130"/>
                  </a:lnTo>
                  <a:lnTo>
                    <a:pt x="477" y="140"/>
                  </a:lnTo>
                  <a:lnTo>
                    <a:pt x="464" y="157"/>
                  </a:lnTo>
                  <a:lnTo>
                    <a:pt x="457" y="182"/>
                  </a:lnTo>
                  <a:lnTo>
                    <a:pt x="440" y="199"/>
                  </a:lnTo>
                  <a:lnTo>
                    <a:pt x="440" y="234"/>
                  </a:lnTo>
                  <a:lnTo>
                    <a:pt x="430" y="224"/>
                  </a:lnTo>
                  <a:lnTo>
                    <a:pt x="422" y="197"/>
                  </a:lnTo>
                  <a:lnTo>
                    <a:pt x="420" y="174"/>
                  </a:lnTo>
                  <a:lnTo>
                    <a:pt x="397" y="162"/>
                  </a:lnTo>
                  <a:lnTo>
                    <a:pt x="380" y="160"/>
                  </a:lnTo>
                  <a:lnTo>
                    <a:pt x="358" y="145"/>
                  </a:lnTo>
                  <a:lnTo>
                    <a:pt x="345" y="182"/>
                  </a:lnTo>
                  <a:lnTo>
                    <a:pt x="358" y="184"/>
                  </a:lnTo>
                  <a:lnTo>
                    <a:pt x="358" y="234"/>
                  </a:lnTo>
                  <a:lnTo>
                    <a:pt x="348" y="234"/>
                  </a:lnTo>
                  <a:lnTo>
                    <a:pt x="333" y="242"/>
                  </a:lnTo>
                  <a:lnTo>
                    <a:pt x="333" y="266"/>
                  </a:lnTo>
                  <a:lnTo>
                    <a:pt x="328" y="271"/>
                  </a:lnTo>
                  <a:lnTo>
                    <a:pt x="315" y="289"/>
                  </a:lnTo>
                  <a:lnTo>
                    <a:pt x="293" y="299"/>
                  </a:lnTo>
                  <a:lnTo>
                    <a:pt x="281" y="314"/>
                  </a:lnTo>
                  <a:lnTo>
                    <a:pt x="263" y="321"/>
                  </a:lnTo>
                  <a:lnTo>
                    <a:pt x="253" y="346"/>
                  </a:lnTo>
                  <a:lnTo>
                    <a:pt x="233" y="358"/>
                  </a:lnTo>
                  <a:lnTo>
                    <a:pt x="208" y="373"/>
                  </a:lnTo>
                  <a:lnTo>
                    <a:pt x="216" y="438"/>
                  </a:lnTo>
                  <a:lnTo>
                    <a:pt x="208" y="440"/>
                  </a:lnTo>
                  <a:lnTo>
                    <a:pt x="216" y="470"/>
                  </a:lnTo>
                  <a:lnTo>
                    <a:pt x="203" y="490"/>
                  </a:lnTo>
                  <a:lnTo>
                    <a:pt x="191" y="513"/>
                  </a:lnTo>
                  <a:lnTo>
                    <a:pt x="171" y="522"/>
                  </a:lnTo>
                  <a:lnTo>
                    <a:pt x="161" y="515"/>
                  </a:lnTo>
                  <a:lnTo>
                    <a:pt x="159" y="490"/>
                  </a:lnTo>
                  <a:lnTo>
                    <a:pt x="136" y="443"/>
                  </a:lnTo>
                  <a:lnTo>
                    <a:pt x="116" y="388"/>
                  </a:lnTo>
                  <a:lnTo>
                    <a:pt x="94" y="356"/>
                  </a:lnTo>
                  <a:lnTo>
                    <a:pt x="84" y="314"/>
                  </a:lnTo>
                  <a:lnTo>
                    <a:pt x="84" y="274"/>
                  </a:lnTo>
                  <a:lnTo>
                    <a:pt x="82" y="244"/>
                  </a:lnTo>
                  <a:lnTo>
                    <a:pt x="72" y="224"/>
                  </a:lnTo>
                  <a:lnTo>
                    <a:pt x="72" y="242"/>
                  </a:lnTo>
                  <a:lnTo>
                    <a:pt x="59" y="254"/>
                  </a:lnTo>
                  <a:lnTo>
                    <a:pt x="34" y="254"/>
                  </a:lnTo>
                  <a:lnTo>
                    <a:pt x="12" y="227"/>
                  </a:lnTo>
                  <a:lnTo>
                    <a:pt x="24" y="214"/>
                  </a:lnTo>
                  <a:lnTo>
                    <a:pt x="10" y="214"/>
                  </a:lnTo>
                  <a:lnTo>
                    <a:pt x="0" y="199"/>
                  </a:lnTo>
                  <a:lnTo>
                    <a:pt x="10" y="189"/>
                  </a:lnTo>
                  <a:lnTo>
                    <a:pt x="44" y="189"/>
                  </a:lnTo>
                  <a:lnTo>
                    <a:pt x="47" y="172"/>
                  </a:lnTo>
                  <a:lnTo>
                    <a:pt x="27" y="147"/>
                  </a:lnTo>
                  <a:lnTo>
                    <a:pt x="12" y="132"/>
                  </a:lnTo>
                  <a:lnTo>
                    <a:pt x="19" y="115"/>
                  </a:lnTo>
                  <a:lnTo>
                    <a:pt x="29" y="105"/>
                  </a:lnTo>
                  <a:lnTo>
                    <a:pt x="59" y="115"/>
                  </a:lnTo>
                  <a:lnTo>
                    <a:pt x="64" y="102"/>
                  </a:lnTo>
                  <a:lnTo>
                    <a:pt x="67" y="90"/>
                  </a:lnTo>
                  <a:lnTo>
                    <a:pt x="87" y="73"/>
                  </a:lnTo>
                  <a:lnTo>
                    <a:pt x="94" y="55"/>
                  </a:lnTo>
                  <a:lnTo>
                    <a:pt x="104" y="43"/>
                  </a:lnTo>
                  <a:lnTo>
                    <a:pt x="104" y="15"/>
                  </a:lnTo>
                  <a:lnTo>
                    <a:pt x="129" y="0"/>
                  </a:lnTo>
                  <a:lnTo>
                    <a:pt x="149" y="0"/>
                  </a:lnTo>
                  <a:lnTo>
                    <a:pt x="161" y="13"/>
                  </a:lnTo>
                  <a:lnTo>
                    <a:pt x="161" y="45"/>
                  </a:lnTo>
                  <a:lnTo>
                    <a:pt x="189" y="50"/>
                  </a:lnTo>
                  <a:lnTo>
                    <a:pt x="203" y="65"/>
                  </a:lnTo>
                  <a:lnTo>
                    <a:pt x="206" y="95"/>
                  </a:lnTo>
                  <a:lnTo>
                    <a:pt x="221" y="112"/>
                  </a:lnTo>
                  <a:lnTo>
                    <a:pt x="243" y="117"/>
                  </a:lnTo>
                  <a:lnTo>
                    <a:pt x="271" y="130"/>
                  </a:lnTo>
                  <a:lnTo>
                    <a:pt x="290" y="132"/>
                  </a:lnTo>
                  <a:lnTo>
                    <a:pt x="308" y="142"/>
                  </a:lnTo>
                  <a:lnTo>
                    <a:pt x="325" y="140"/>
                  </a:lnTo>
                  <a:lnTo>
                    <a:pt x="343" y="140"/>
                  </a:lnTo>
                  <a:lnTo>
                    <a:pt x="353" y="122"/>
                  </a:lnTo>
                  <a:lnTo>
                    <a:pt x="363" y="105"/>
                  </a:lnTo>
                  <a:lnTo>
                    <a:pt x="382" y="115"/>
                  </a:lnTo>
                  <a:lnTo>
                    <a:pt x="410" y="115"/>
                  </a:lnTo>
                  <a:lnTo>
                    <a:pt x="420" y="100"/>
                  </a:lnTo>
                  <a:lnTo>
                    <a:pt x="442" y="90"/>
                  </a:lnTo>
                  <a:lnTo>
                    <a:pt x="469" y="90"/>
                  </a:lnTo>
                  <a:lnTo>
                    <a:pt x="489" y="100"/>
                  </a:lnTo>
                  <a:lnTo>
                    <a:pt x="502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60"/>
            <p:cNvSpPr>
              <a:spLocks/>
            </p:cNvSpPr>
            <p:nvPr/>
          </p:nvSpPr>
          <p:spPr bwMode="auto">
            <a:xfrm>
              <a:off x="6472432" y="3593707"/>
              <a:ext cx="136728" cy="149680"/>
            </a:xfrm>
            <a:custGeom>
              <a:avLst/>
              <a:gdLst>
                <a:gd name="T0" fmla="*/ 95 w 95"/>
                <a:gd name="T1" fmla="*/ 89 h 104"/>
                <a:gd name="T2" fmla="*/ 87 w 95"/>
                <a:gd name="T3" fmla="*/ 104 h 104"/>
                <a:gd name="T4" fmla="*/ 77 w 95"/>
                <a:gd name="T5" fmla="*/ 102 h 104"/>
                <a:gd name="T6" fmla="*/ 62 w 95"/>
                <a:gd name="T7" fmla="*/ 82 h 104"/>
                <a:gd name="T8" fmla="*/ 65 w 95"/>
                <a:gd name="T9" fmla="*/ 64 h 104"/>
                <a:gd name="T10" fmla="*/ 55 w 95"/>
                <a:gd name="T11" fmla="*/ 49 h 104"/>
                <a:gd name="T12" fmla="*/ 50 w 95"/>
                <a:gd name="T13" fmla="*/ 64 h 104"/>
                <a:gd name="T14" fmla="*/ 35 w 95"/>
                <a:gd name="T15" fmla="*/ 72 h 104"/>
                <a:gd name="T16" fmla="*/ 35 w 95"/>
                <a:gd name="T17" fmla="*/ 92 h 104"/>
                <a:gd name="T18" fmla="*/ 13 w 95"/>
                <a:gd name="T19" fmla="*/ 89 h 104"/>
                <a:gd name="T20" fmla="*/ 13 w 95"/>
                <a:gd name="T21" fmla="*/ 39 h 104"/>
                <a:gd name="T22" fmla="*/ 0 w 95"/>
                <a:gd name="T23" fmla="*/ 37 h 104"/>
                <a:gd name="T24" fmla="*/ 13 w 95"/>
                <a:gd name="T25" fmla="*/ 0 h 104"/>
                <a:gd name="T26" fmla="*/ 35 w 95"/>
                <a:gd name="T27" fmla="*/ 15 h 104"/>
                <a:gd name="T28" fmla="*/ 52 w 95"/>
                <a:gd name="T29" fmla="*/ 17 h 104"/>
                <a:gd name="T30" fmla="*/ 75 w 95"/>
                <a:gd name="T31" fmla="*/ 29 h 104"/>
                <a:gd name="T32" fmla="*/ 77 w 95"/>
                <a:gd name="T33" fmla="*/ 52 h 104"/>
                <a:gd name="T34" fmla="*/ 85 w 95"/>
                <a:gd name="T35" fmla="*/ 79 h 104"/>
                <a:gd name="T36" fmla="*/ 95 w 95"/>
                <a:gd name="T37" fmla="*/ 8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" h="104">
                  <a:moveTo>
                    <a:pt x="95" y="89"/>
                  </a:moveTo>
                  <a:lnTo>
                    <a:pt x="87" y="104"/>
                  </a:lnTo>
                  <a:lnTo>
                    <a:pt x="77" y="102"/>
                  </a:lnTo>
                  <a:lnTo>
                    <a:pt x="62" y="82"/>
                  </a:lnTo>
                  <a:lnTo>
                    <a:pt x="65" y="64"/>
                  </a:lnTo>
                  <a:lnTo>
                    <a:pt x="55" y="49"/>
                  </a:lnTo>
                  <a:lnTo>
                    <a:pt x="50" y="64"/>
                  </a:lnTo>
                  <a:lnTo>
                    <a:pt x="35" y="72"/>
                  </a:lnTo>
                  <a:lnTo>
                    <a:pt x="35" y="92"/>
                  </a:lnTo>
                  <a:lnTo>
                    <a:pt x="13" y="89"/>
                  </a:lnTo>
                  <a:lnTo>
                    <a:pt x="13" y="39"/>
                  </a:lnTo>
                  <a:lnTo>
                    <a:pt x="0" y="37"/>
                  </a:lnTo>
                  <a:lnTo>
                    <a:pt x="13" y="0"/>
                  </a:lnTo>
                  <a:lnTo>
                    <a:pt x="35" y="15"/>
                  </a:lnTo>
                  <a:lnTo>
                    <a:pt x="52" y="17"/>
                  </a:lnTo>
                  <a:lnTo>
                    <a:pt x="75" y="29"/>
                  </a:lnTo>
                  <a:lnTo>
                    <a:pt x="77" y="52"/>
                  </a:lnTo>
                  <a:lnTo>
                    <a:pt x="85" y="79"/>
                  </a:lnTo>
                  <a:lnTo>
                    <a:pt x="95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61"/>
            <p:cNvSpPr>
              <a:spLocks/>
            </p:cNvSpPr>
            <p:nvPr/>
          </p:nvSpPr>
          <p:spPr bwMode="auto">
            <a:xfrm>
              <a:off x="3975359" y="3300103"/>
              <a:ext cx="260501" cy="246110"/>
            </a:xfrm>
            <a:custGeom>
              <a:avLst/>
              <a:gdLst>
                <a:gd name="T0" fmla="*/ 147 w 181"/>
                <a:gd name="T1" fmla="*/ 25 h 171"/>
                <a:gd name="T2" fmla="*/ 167 w 181"/>
                <a:gd name="T3" fmla="*/ 20 h 171"/>
                <a:gd name="T4" fmla="*/ 181 w 181"/>
                <a:gd name="T5" fmla="*/ 35 h 171"/>
                <a:gd name="T6" fmla="*/ 171 w 181"/>
                <a:gd name="T7" fmla="*/ 50 h 171"/>
                <a:gd name="T8" fmla="*/ 181 w 181"/>
                <a:gd name="T9" fmla="*/ 57 h 171"/>
                <a:gd name="T10" fmla="*/ 174 w 181"/>
                <a:gd name="T11" fmla="*/ 87 h 171"/>
                <a:gd name="T12" fmla="*/ 154 w 181"/>
                <a:gd name="T13" fmla="*/ 89 h 171"/>
                <a:gd name="T14" fmla="*/ 152 w 181"/>
                <a:gd name="T15" fmla="*/ 102 h 171"/>
                <a:gd name="T16" fmla="*/ 162 w 181"/>
                <a:gd name="T17" fmla="*/ 112 h 171"/>
                <a:gd name="T18" fmla="*/ 139 w 181"/>
                <a:gd name="T19" fmla="*/ 129 h 171"/>
                <a:gd name="T20" fmla="*/ 122 w 181"/>
                <a:gd name="T21" fmla="*/ 146 h 171"/>
                <a:gd name="T22" fmla="*/ 109 w 181"/>
                <a:gd name="T23" fmla="*/ 154 h 171"/>
                <a:gd name="T24" fmla="*/ 97 w 181"/>
                <a:gd name="T25" fmla="*/ 154 h 171"/>
                <a:gd name="T26" fmla="*/ 92 w 181"/>
                <a:gd name="T27" fmla="*/ 161 h 171"/>
                <a:gd name="T28" fmla="*/ 77 w 181"/>
                <a:gd name="T29" fmla="*/ 161 h 171"/>
                <a:gd name="T30" fmla="*/ 77 w 181"/>
                <a:gd name="T31" fmla="*/ 171 h 171"/>
                <a:gd name="T32" fmla="*/ 57 w 181"/>
                <a:gd name="T33" fmla="*/ 171 h 171"/>
                <a:gd name="T34" fmla="*/ 60 w 181"/>
                <a:gd name="T35" fmla="*/ 164 h 171"/>
                <a:gd name="T36" fmla="*/ 47 w 181"/>
                <a:gd name="T37" fmla="*/ 164 h 171"/>
                <a:gd name="T38" fmla="*/ 0 w 181"/>
                <a:gd name="T39" fmla="*/ 164 h 171"/>
                <a:gd name="T40" fmla="*/ 12 w 181"/>
                <a:gd name="T41" fmla="*/ 149 h 171"/>
                <a:gd name="T42" fmla="*/ 22 w 181"/>
                <a:gd name="T43" fmla="*/ 144 h 171"/>
                <a:gd name="T44" fmla="*/ 32 w 181"/>
                <a:gd name="T45" fmla="*/ 134 h 171"/>
                <a:gd name="T46" fmla="*/ 40 w 181"/>
                <a:gd name="T47" fmla="*/ 79 h 171"/>
                <a:gd name="T48" fmla="*/ 45 w 181"/>
                <a:gd name="T49" fmla="*/ 62 h 171"/>
                <a:gd name="T50" fmla="*/ 52 w 181"/>
                <a:gd name="T51" fmla="*/ 64 h 171"/>
                <a:gd name="T52" fmla="*/ 55 w 181"/>
                <a:gd name="T53" fmla="*/ 50 h 171"/>
                <a:gd name="T54" fmla="*/ 84 w 181"/>
                <a:gd name="T55" fmla="*/ 50 h 171"/>
                <a:gd name="T56" fmla="*/ 84 w 181"/>
                <a:gd name="T57" fmla="*/ 35 h 171"/>
                <a:gd name="T58" fmla="*/ 94 w 181"/>
                <a:gd name="T59" fmla="*/ 25 h 171"/>
                <a:gd name="T60" fmla="*/ 102 w 181"/>
                <a:gd name="T61" fmla="*/ 12 h 171"/>
                <a:gd name="T62" fmla="*/ 104 w 181"/>
                <a:gd name="T63" fmla="*/ 0 h 171"/>
                <a:gd name="T64" fmla="*/ 119 w 181"/>
                <a:gd name="T65" fmla="*/ 10 h 171"/>
                <a:gd name="T66" fmla="*/ 134 w 181"/>
                <a:gd name="T67" fmla="*/ 10 h 171"/>
                <a:gd name="T68" fmla="*/ 147 w 181"/>
                <a:gd name="T69" fmla="*/ 2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171">
                  <a:moveTo>
                    <a:pt x="147" y="25"/>
                  </a:moveTo>
                  <a:lnTo>
                    <a:pt x="167" y="20"/>
                  </a:lnTo>
                  <a:lnTo>
                    <a:pt x="181" y="35"/>
                  </a:lnTo>
                  <a:lnTo>
                    <a:pt x="171" y="50"/>
                  </a:lnTo>
                  <a:lnTo>
                    <a:pt x="181" y="57"/>
                  </a:lnTo>
                  <a:lnTo>
                    <a:pt x="174" y="87"/>
                  </a:lnTo>
                  <a:lnTo>
                    <a:pt x="154" y="89"/>
                  </a:lnTo>
                  <a:lnTo>
                    <a:pt x="152" y="102"/>
                  </a:lnTo>
                  <a:lnTo>
                    <a:pt x="162" y="112"/>
                  </a:lnTo>
                  <a:lnTo>
                    <a:pt x="139" y="129"/>
                  </a:lnTo>
                  <a:lnTo>
                    <a:pt x="122" y="146"/>
                  </a:lnTo>
                  <a:lnTo>
                    <a:pt x="109" y="154"/>
                  </a:lnTo>
                  <a:lnTo>
                    <a:pt x="97" y="154"/>
                  </a:lnTo>
                  <a:lnTo>
                    <a:pt x="92" y="161"/>
                  </a:lnTo>
                  <a:lnTo>
                    <a:pt x="77" y="161"/>
                  </a:lnTo>
                  <a:lnTo>
                    <a:pt x="77" y="171"/>
                  </a:lnTo>
                  <a:lnTo>
                    <a:pt x="57" y="171"/>
                  </a:lnTo>
                  <a:lnTo>
                    <a:pt x="60" y="164"/>
                  </a:lnTo>
                  <a:lnTo>
                    <a:pt x="47" y="164"/>
                  </a:lnTo>
                  <a:lnTo>
                    <a:pt x="0" y="164"/>
                  </a:lnTo>
                  <a:lnTo>
                    <a:pt x="12" y="149"/>
                  </a:lnTo>
                  <a:lnTo>
                    <a:pt x="22" y="144"/>
                  </a:lnTo>
                  <a:lnTo>
                    <a:pt x="32" y="134"/>
                  </a:lnTo>
                  <a:lnTo>
                    <a:pt x="40" y="79"/>
                  </a:lnTo>
                  <a:lnTo>
                    <a:pt x="45" y="62"/>
                  </a:lnTo>
                  <a:lnTo>
                    <a:pt x="52" y="64"/>
                  </a:lnTo>
                  <a:lnTo>
                    <a:pt x="55" y="50"/>
                  </a:lnTo>
                  <a:lnTo>
                    <a:pt x="84" y="50"/>
                  </a:lnTo>
                  <a:lnTo>
                    <a:pt x="84" y="35"/>
                  </a:lnTo>
                  <a:lnTo>
                    <a:pt x="94" y="25"/>
                  </a:lnTo>
                  <a:lnTo>
                    <a:pt x="102" y="12"/>
                  </a:lnTo>
                  <a:lnTo>
                    <a:pt x="104" y="0"/>
                  </a:lnTo>
                  <a:lnTo>
                    <a:pt x="119" y="10"/>
                  </a:lnTo>
                  <a:lnTo>
                    <a:pt x="134" y="10"/>
                  </a:lnTo>
                  <a:lnTo>
                    <a:pt x="147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62"/>
            <p:cNvSpPr>
              <a:spLocks/>
            </p:cNvSpPr>
            <p:nvPr/>
          </p:nvSpPr>
          <p:spPr bwMode="auto">
            <a:xfrm>
              <a:off x="4057395" y="3256926"/>
              <a:ext cx="500854" cy="568498"/>
            </a:xfrm>
            <a:custGeom>
              <a:avLst/>
              <a:gdLst>
                <a:gd name="T0" fmla="*/ 110 w 348"/>
                <a:gd name="T1" fmla="*/ 50 h 395"/>
                <a:gd name="T2" fmla="*/ 124 w 348"/>
                <a:gd name="T3" fmla="*/ 65 h 395"/>
                <a:gd name="T4" fmla="*/ 114 w 348"/>
                <a:gd name="T5" fmla="*/ 80 h 395"/>
                <a:gd name="T6" fmla="*/ 124 w 348"/>
                <a:gd name="T7" fmla="*/ 87 h 395"/>
                <a:gd name="T8" fmla="*/ 117 w 348"/>
                <a:gd name="T9" fmla="*/ 117 h 395"/>
                <a:gd name="T10" fmla="*/ 97 w 348"/>
                <a:gd name="T11" fmla="*/ 119 h 395"/>
                <a:gd name="T12" fmla="*/ 95 w 348"/>
                <a:gd name="T13" fmla="*/ 132 h 395"/>
                <a:gd name="T14" fmla="*/ 105 w 348"/>
                <a:gd name="T15" fmla="*/ 142 h 395"/>
                <a:gd name="T16" fmla="*/ 82 w 348"/>
                <a:gd name="T17" fmla="*/ 159 h 395"/>
                <a:gd name="T18" fmla="*/ 65 w 348"/>
                <a:gd name="T19" fmla="*/ 176 h 395"/>
                <a:gd name="T20" fmla="*/ 52 w 348"/>
                <a:gd name="T21" fmla="*/ 184 h 395"/>
                <a:gd name="T22" fmla="*/ 40 w 348"/>
                <a:gd name="T23" fmla="*/ 184 h 395"/>
                <a:gd name="T24" fmla="*/ 35 w 348"/>
                <a:gd name="T25" fmla="*/ 191 h 395"/>
                <a:gd name="T26" fmla="*/ 20 w 348"/>
                <a:gd name="T27" fmla="*/ 191 h 395"/>
                <a:gd name="T28" fmla="*/ 20 w 348"/>
                <a:gd name="T29" fmla="*/ 201 h 395"/>
                <a:gd name="T30" fmla="*/ 0 w 348"/>
                <a:gd name="T31" fmla="*/ 201 h 395"/>
                <a:gd name="T32" fmla="*/ 37 w 348"/>
                <a:gd name="T33" fmla="*/ 246 h 395"/>
                <a:gd name="T34" fmla="*/ 57 w 348"/>
                <a:gd name="T35" fmla="*/ 258 h 395"/>
                <a:gd name="T36" fmla="*/ 179 w 348"/>
                <a:gd name="T37" fmla="*/ 358 h 395"/>
                <a:gd name="T38" fmla="*/ 197 w 348"/>
                <a:gd name="T39" fmla="*/ 365 h 395"/>
                <a:gd name="T40" fmla="*/ 201 w 348"/>
                <a:gd name="T41" fmla="*/ 395 h 395"/>
                <a:gd name="T42" fmla="*/ 216 w 348"/>
                <a:gd name="T43" fmla="*/ 390 h 395"/>
                <a:gd name="T44" fmla="*/ 219 w 348"/>
                <a:gd name="T45" fmla="*/ 380 h 395"/>
                <a:gd name="T46" fmla="*/ 246 w 348"/>
                <a:gd name="T47" fmla="*/ 380 h 395"/>
                <a:gd name="T48" fmla="*/ 261 w 348"/>
                <a:gd name="T49" fmla="*/ 365 h 395"/>
                <a:gd name="T50" fmla="*/ 271 w 348"/>
                <a:gd name="T51" fmla="*/ 360 h 395"/>
                <a:gd name="T52" fmla="*/ 274 w 348"/>
                <a:gd name="T53" fmla="*/ 348 h 395"/>
                <a:gd name="T54" fmla="*/ 303 w 348"/>
                <a:gd name="T55" fmla="*/ 338 h 395"/>
                <a:gd name="T56" fmla="*/ 311 w 348"/>
                <a:gd name="T57" fmla="*/ 326 h 395"/>
                <a:gd name="T58" fmla="*/ 326 w 348"/>
                <a:gd name="T59" fmla="*/ 313 h 395"/>
                <a:gd name="T60" fmla="*/ 343 w 348"/>
                <a:gd name="T61" fmla="*/ 306 h 395"/>
                <a:gd name="T62" fmla="*/ 348 w 348"/>
                <a:gd name="T63" fmla="*/ 298 h 395"/>
                <a:gd name="T64" fmla="*/ 346 w 348"/>
                <a:gd name="T65" fmla="*/ 281 h 395"/>
                <a:gd name="T66" fmla="*/ 318 w 348"/>
                <a:gd name="T67" fmla="*/ 276 h 395"/>
                <a:gd name="T68" fmla="*/ 308 w 348"/>
                <a:gd name="T69" fmla="*/ 266 h 395"/>
                <a:gd name="T70" fmla="*/ 308 w 348"/>
                <a:gd name="T71" fmla="*/ 246 h 395"/>
                <a:gd name="T72" fmla="*/ 311 w 348"/>
                <a:gd name="T73" fmla="*/ 127 h 395"/>
                <a:gd name="T74" fmla="*/ 301 w 348"/>
                <a:gd name="T75" fmla="*/ 124 h 395"/>
                <a:gd name="T76" fmla="*/ 298 w 348"/>
                <a:gd name="T77" fmla="*/ 104 h 395"/>
                <a:gd name="T78" fmla="*/ 281 w 348"/>
                <a:gd name="T79" fmla="*/ 99 h 395"/>
                <a:gd name="T80" fmla="*/ 274 w 348"/>
                <a:gd name="T81" fmla="*/ 80 h 395"/>
                <a:gd name="T82" fmla="*/ 279 w 348"/>
                <a:gd name="T83" fmla="*/ 60 h 395"/>
                <a:gd name="T84" fmla="*/ 296 w 348"/>
                <a:gd name="T85" fmla="*/ 55 h 395"/>
                <a:gd name="T86" fmla="*/ 286 w 348"/>
                <a:gd name="T87" fmla="*/ 40 h 395"/>
                <a:gd name="T88" fmla="*/ 288 w 348"/>
                <a:gd name="T89" fmla="*/ 27 h 395"/>
                <a:gd name="T90" fmla="*/ 298 w 348"/>
                <a:gd name="T91" fmla="*/ 27 h 395"/>
                <a:gd name="T92" fmla="*/ 293 w 348"/>
                <a:gd name="T93" fmla="*/ 2 h 395"/>
                <a:gd name="T94" fmla="*/ 241 w 348"/>
                <a:gd name="T95" fmla="*/ 0 h 395"/>
                <a:gd name="T96" fmla="*/ 216 w 348"/>
                <a:gd name="T97" fmla="*/ 2 h 395"/>
                <a:gd name="T98" fmla="*/ 197 w 348"/>
                <a:gd name="T99" fmla="*/ 12 h 395"/>
                <a:gd name="T100" fmla="*/ 159 w 348"/>
                <a:gd name="T101" fmla="*/ 15 h 395"/>
                <a:gd name="T102" fmla="*/ 144 w 348"/>
                <a:gd name="T103" fmla="*/ 27 h 395"/>
                <a:gd name="T104" fmla="*/ 119 w 348"/>
                <a:gd name="T105" fmla="*/ 30 h 395"/>
                <a:gd name="T106" fmla="*/ 110 w 348"/>
                <a:gd name="T107" fmla="*/ 5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8" h="395">
                  <a:moveTo>
                    <a:pt x="110" y="50"/>
                  </a:moveTo>
                  <a:lnTo>
                    <a:pt x="124" y="65"/>
                  </a:lnTo>
                  <a:lnTo>
                    <a:pt x="114" y="80"/>
                  </a:lnTo>
                  <a:lnTo>
                    <a:pt x="124" y="87"/>
                  </a:lnTo>
                  <a:lnTo>
                    <a:pt x="117" y="117"/>
                  </a:lnTo>
                  <a:lnTo>
                    <a:pt x="97" y="119"/>
                  </a:lnTo>
                  <a:lnTo>
                    <a:pt x="95" y="132"/>
                  </a:lnTo>
                  <a:lnTo>
                    <a:pt x="105" y="142"/>
                  </a:lnTo>
                  <a:lnTo>
                    <a:pt x="82" y="159"/>
                  </a:lnTo>
                  <a:lnTo>
                    <a:pt x="65" y="176"/>
                  </a:lnTo>
                  <a:lnTo>
                    <a:pt x="52" y="184"/>
                  </a:lnTo>
                  <a:lnTo>
                    <a:pt x="40" y="184"/>
                  </a:lnTo>
                  <a:lnTo>
                    <a:pt x="35" y="191"/>
                  </a:lnTo>
                  <a:lnTo>
                    <a:pt x="20" y="191"/>
                  </a:lnTo>
                  <a:lnTo>
                    <a:pt x="20" y="201"/>
                  </a:lnTo>
                  <a:lnTo>
                    <a:pt x="0" y="201"/>
                  </a:lnTo>
                  <a:lnTo>
                    <a:pt x="37" y="246"/>
                  </a:lnTo>
                  <a:lnTo>
                    <a:pt x="57" y="258"/>
                  </a:lnTo>
                  <a:lnTo>
                    <a:pt x="179" y="358"/>
                  </a:lnTo>
                  <a:lnTo>
                    <a:pt x="197" y="365"/>
                  </a:lnTo>
                  <a:lnTo>
                    <a:pt x="201" y="395"/>
                  </a:lnTo>
                  <a:lnTo>
                    <a:pt x="216" y="390"/>
                  </a:lnTo>
                  <a:lnTo>
                    <a:pt x="219" y="380"/>
                  </a:lnTo>
                  <a:lnTo>
                    <a:pt x="246" y="380"/>
                  </a:lnTo>
                  <a:lnTo>
                    <a:pt x="261" y="365"/>
                  </a:lnTo>
                  <a:lnTo>
                    <a:pt x="271" y="360"/>
                  </a:lnTo>
                  <a:lnTo>
                    <a:pt x="274" y="348"/>
                  </a:lnTo>
                  <a:lnTo>
                    <a:pt x="303" y="338"/>
                  </a:lnTo>
                  <a:lnTo>
                    <a:pt x="311" y="326"/>
                  </a:lnTo>
                  <a:lnTo>
                    <a:pt x="326" y="313"/>
                  </a:lnTo>
                  <a:lnTo>
                    <a:pt x="343" y="306"/>
                  </a:lnTo>
                  <a:lnTo>
                    <a:pt x="348" y="298"/>
                  </a:lnTo>
                  <a:lnTo>
                    <a:pt x="346" y="281"/>
                  </a:lnTo>
                  <a:lnTo>
                    <a:pt x="318" y="276"/>
                  </a:lnTo>
                  <a:lnTo>
                    <a:pt x="308" y="266"/>
                  </a:lnTo>
                  <a:lnTo>
                    <a:pt x="308" y="246"/>
                  </a:lnTo>
                  <a:lnTo>
                    <a:pt x="311" y="127"/>
                  </a:lnTo>
                  <a:lnTo>
                    <a:pt x="301" y="124"/>
                  </a:lnTo>
                  <a:lnTo>
                    <a:pt x="298" y="104"/>
                  </a:lnTo>
                  <a:lnTo>
                    <a:pt x="281" y="99"/>
                  </a:lnTo>
                  <a:lnTo>
                    <a:pt x="274" y="80"/>
                  </a:lnTo>
                  <a:lnTo>
                    <a:pt x="279" y="60"/>
                  </a:lnTo>
                  <a:lnTo>
                    <a:pt x="296" y="55"/>
                  </a:lnTo>
                  <a:lnTo>
                    <a:pt x="286" y="40"/>
                  </a:lnTo>
                  <a:lnTo>
                    <a:pt x="288" y="27"/>
                  </a:lnTo>
                  <a:lnTo>
                    <a:pt x="298" y="27"/>
                  </a:lnTo>
                  <a:lnTo>
                    <a:pt x="293" y="2"/>
                  </a:lnTo>
                  <a:lnTo>
                    <a:pt x="241" y="0"/>
                  </a:lnTo>
                  <a:lnTo>
                    <a:pt x="216" y="2"/>
                  </a:lnTo>
                  <a:lnTo>
                    <a:pt x="197" y="12"/>
                  </a:lnTo>
                  <a:lnTo>
                    <a:pt x="159" y="15"/>
                  </a:lnTo>
                  <a:lnTo>
                    <a:pt x="144" y="27"/>
                  </a:lnTo>
                  <a:lnTo>
                    <a:pt x="119" y="30"/>
                  </a:lnTo>
                  <a:lnTo>
                    <a:pt x="11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63"/>
            <p:cNvSpPr>
              <a:spLocks/>
            </p:cNvSpPr>
            <p:nvPr/>
          </p:nvSpPr>
          <p:spPr bwMode="auto">
            <a:xfrm>
              <a:off x="5345511" y="4716311"/>
              <a:ext cx="200053" cy="415939"/>
            </a:xfrm>
            <a:custGeom>
              <a:avLst/>
              <a:gdLst>
                <a:gd name="T0" fmla="*/ 107 w 139"/>
                <a:gd name="T1" fmla="*/ 3 h 289"/>
                <a:gd name="T2" fmla="*/ 104 w 139"/>
                <a:gd name="T3" fmla="*/ 28 h 289"/>
                <a:gd name="T4" fmla="*/ 100 w 139"/>
                <a:gd name="T5" fmla="*/ 32 h 289"/>
                <a:gd name="T6" fmla="*/ 97 w 139"/>
                <a:gd name="T7" fmla="*/ 50 h 289"/>
                <a:gd name="T8" fmla="*/ 85 w 139"/>
                <a:gd name="T9" fmla="*/ 50 h 289"/>
                <a:gd name="T10" fmla="*/ 80 w 139"/>
                <a:gd name="T11" fmla="*/ 57 h 289"/>
                <a:gd name="T12" fmla="*/ 77 w 139"/>
                <a:gd name="T13" fmla="*/ 67 h 289"/>
                <a:gd name="T14" fmla="*/ 67 w 139"/>
                <a:gd name="T15" fmla="*/ 75 h 289"/>
                <a:gd name="T16" fmla="*/ 65 w 139"/>
                <a:gd name="T17" fmla="*/ 85 h 289"/>
                <a:gd name="T18" fmla="*/ 57 w 139"/>
                <a:gd name="T19" fmla="*/ 85 h 289"/>
                <a:gd name="T20" fmla="*/ 55 w 139"/>
                <a:gd name="T21" fmla="*/ 75 h 289"/>
                <a:gd name="T22" fmla="*/ 45 w 139"/>
                <a:gd name="T23" fmla="*/ 75 h 289"/>
                <a:gd name="T24" fmla="*/ 42 w 139"/>
                <a:gd name="T25" fmla="*/ 82 h 289"/>
                <a:gd name="T26" fmla="*/ 30 w 139"/>
                <a:gd name="T27" fmla="*/ 87 h 289"/>
                <a:gd name="T28" fmla="*/ 27 w 139"/>
                <a:gd name="T29" fmla="*/ 102 h 289"/>
                <a:gd name="T30" fmla="*/ 20 w 139"/>
                <a:gd name="T31" fmla="*/ 105 h 289"/>
                <a:gd name="T32" fmla="*/ 22 w 139"/>
                <a:gd name="T33" fmla="*/ 154 h 289"/>
                <a:gd name="T34" fmla="*/ 27 w 139"/>
                <a:gd name="T35" fmla="*/ 157 h 289"/>
                <a:gd name="T36" fmla="*/ 30 w 139"/>
                <a:gd name="T37" fmla="*/ 169 h 289"/>
                <a:gd name="T38" fmla="*/ 25 w 139"/>
                <a:gd name="T39" fmla="*/ 174 h 289"/>
                <a:gd name="T40" fmla="*/ 20 w 139"/>
                <a:gd name="T41" fmla="*/ 192 h 289"/>
                <a:gd name="T42" fmla="*/ 13 w 139"/>
                <a:gd name="T43" fmla="*/ 197 h 289"/>
                <a:gd name="T44" fmla="*/ 10 w 139"/>
                <a:gd name="T45" fmla="*/ 204 h 289"/>
                <a:gd name="T46" fmla="*/ 0 w 139"/>
                <a:gd name="T47" fmla="*/ 206 h 289"/>
                <a:gd name="T48" fmla="*/ 0 w 139"/>
                <a:gd name="T49" fmla="*/ 231 h 289"/>
                <a:gd name="T50" fmla="*/ 13 w 139"/>
                <a:gd name="T51" fmla="*/ 231 h 289"/>
                <a:gd name="T52" fmla="*/ 13 w 139"/>
                <a:gd name="T53" fmla="*/ 279 h 289"/>
                <a:gd name="T54" fmla="*/ 25 w 139"/>
                <a:gd name="T55" fmla="*/ 279 h 289"/>
                <a:gd name="T56" fmla="*/ 30 w 139"/>
                <a:gd name="T57" fmla="*/ 286 h 289"/>
                <a:gd name="T58" fmla="*/ 40 w 139"/>
                <a:gd name="T59" fmla="*/ 289 h 289"/>
                <a:gd name="T60" fmla="*/ 50 w 139"/>
                <a:gd name="T61" fmla="*/ 279 h 289"/>
                <a:gd name="T62" fmla="*/ 62 w 139"/>
                <a:gd name="T63" fmla="*/ 276 h 289"/>
                <a:gd name="T64" fmla="*/ 70 w 139"/>
                <a:gd name="T65" fmla="*/ 271 h 289"/>
                <a:gd name="T66" fmla="*/ 80 w 139"/>
                <a:gd name="T67" fmla="*/ 266 h 289"/>
                <a:gd name="T68" fmla="*/ 85 w 139"/>
                <a:gd name="T69" fmla="*/ 241 h 289"/>
                <a:gd name="T70" fmla="*/ 95 w 139"/>
                <a:gd name="T71" fmla="*/ 239 h 289"/>
                <a:gd name="T72" fmla="*/ 95 w 139"/>
                <a:gd name="T73" fmla="*/ 206 h 289"/>
                <a:gd name="T74" fmla="*/ 100 w 139"/>
                <a:gd name="T75" fmla="*/ 204 h 289"/>
                <a:gd name="T76" fmla="*/ 100 w 139"/>
                <a:gd name="T77" fmla="*/ 162 h 289"/>
                <a:gd name="T78" fmla="*/ 112 w 139"/>
                <a:gd name="T79" fmla="*/ 154 h 289"/>
                <a:gd name="T80" fmla="*/ 119 w 139"/>
                <a:gd name="T81" fmla="*/ 147 h 289"/>
                <a:gd name="T82" fmla="*/ 119 w 139"/>
                <a:gd name="T83" fmla="*/ 112 h 289"/>
                <a:gd name="T84" fmla="*/ 129 w 139"/>
                <a:gd name="T85" fmla="*/ 105 h 289"/>
                <a:gd name="T86" fmla="*/ 132 w 139"/>
                <a:gd name="T87" fmla="*/ 77 h 289"/>
                <a:gd name="T88" fmla="*/ 139 w 139"/>
                <a:gd name="T89" fmla="*/ 77 h 289"/>
                <a:gd name="T90" fmla="*/ 139 w 139"/>
                <a:gd name="T91" fmla="*/ 35 h 289"/>
                <a:gd name="T92" fmla="*/ 129 w 139"/>
                <a:gd name="T93" fmla="*/ 28 h 289"/>
                <a:gd name="T94" fmla="*/ 127 w 139"/>
                <a:gd name="T95" fmla="*/ 8 h 289"/>
                <a:gd name="T96" fmla="*/ 117 w 139"/>
                <a:gd name="T97" fmla="*/ 0 h 289"/>
                <a:gd name="T98" fmla="*/ 107 w 139"/>
                <a:gd name="T99" fmla="*/ 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9" h="289">
                  <a:moveTo>
                    <a:pt x="107" y="3"/>
                  </a:moveTo>
                  <a:lnTo>
                    <a:pt x="104" y="28"/>
                  </a:lnTo>
                  <a:lnTo>
                    <a:pt x="100" y="32"/>
                  </a:lnTo>
                  <a:lnTo>
                    <a:pt x="97" y="50"/>
                  </a:lnTo>
                  <a:lnTo>
                    <a:pt x="85" y="50"/>
                  </a:lnTo>
                  <a:lnTo>
                    <a:pt x="80" y="57"/>
                  </a:lnTo>
                  <a:lnTo>
                    <a:pt x="77" y="67"/>
                  </a:lnTo>
                  <a:lnTo>
                    <a:pt x="67" y="75"/>
                  </a:lnTo>
                  <a:lnTo>
                    <a:pt x="65" y="85"/>
                  </a:lnTo>
                  <a:lnTo>
                    <a:pt x="57" y="85"/>
                  </a:lnTo>
                  <a:lnTo>
                    <a:pt x="55" y="75"/>
                  </a:lnTo>
                  <a:lnTo>
                    <a:pt x="45" y="75"/>
                  </a:lnTo>
                  <a:lnTo>
                    <a:pt x="42" y="82"/>
                  </a:lnTo>
                  <a:lnTo>
                    <a:pt x="30" y="87"/>
                  </a:lnTo>
                  <a:lnTo>
                    <a:pt x="27" y="102"/>
                  </a:lnTo>
                  <a:lnTo>
                    <a:pt x="20" y="105"/>
                  </a:lnTo>
                  <a:lnTo>
                    <a:pt x="22" y="154"/>
                  </a:lnTo>
                  <a:lnTo>
                    <a:pt x="27" y="157"/>
                  </a:lnTo>
                  <a:lnTo>
                    <a:pt x="30" y="169"/>
                  </a:lnTo>
                  <a:lnTo>
                    <a:pt x="25" y="174"/>
                  </a:lnTo>
                  <a:lnTo>
                    <a:pt x="20" y="192"/>
                  </a:lnTo>
                  <a:lnTo>
                    <a:pt x="13" y="197"/>
                  </a:lnTo>
                  <a:lnTo>
                    <a:pt x="10" y="204"/>
                  </a:lnTo>
                  <a:lnTo>
                    <a:pt x="0" y="206"/>
                  </a:lnTo>
                  <a:lnTo>
                    <a:pt x="0" y="231"/>
                  </a:lnTo>
                  <a:lnTo>
                    <a:pt x="13" y="231"/>
                  </a:lnTo>
                  <a:lnTo>
                    <a:pt x="13" y="279"/>
                  </a:lnTo>
                  <a:lnTo>
                    <a:pt x="25" y="279"/>
                  </a:lnTo>
                  <a:lnTo>
                    <a:pt x="30" y="286"/>
                  </a:lnTo>
                  <a:lnTo>
                    <a:pt x="40" y="289"/>
                  </a:lnTo>
                  <a:lnTo>
                    <a:pt x="50" y="279"/>
                  </a:lnTo>
                  <a:lnTo>
                    <a:pt x="62" y="276"/>
                  </a:lnTo>
                  <a:lnTo>
                    <a:pt x="70" y="271"/>
                  </a:lnTo>
                  <a:lnTo>
                    <a:pt x="80" y="266"/>
                  </a:lnTo>
                  <a:lnTo>
                    <a:pt x="85" y="241"/>
                  </a:lnTo>
                  <a:lnTo>
                    <a:pt x="95" y="239"/>
                  </a:lnTo>
                  <a:lnTo>
                    <a:pt x="95" y="206"/>
                  </a:lnTo>
                  <a:lnTo>
                    <a:pt x="100" y="204"/>
                  </a:lnTo>
                  <a:lnTo>
                    <a:pt x="100" y="162"/>
                  </a:lnTo>
                  <a:lnTo>
                    <a:pt x="112" y="154"/>
                  </a:lnTo>
                  <a:lnTo>
                    <a:pt x="119" y="147"/>
                  </a:lnTo>
                  <a:lnTo>
                    <a:pt x="119" y="112"/>
                  </a:lnTo>
                  <a:lnTo>
                    <a:pt x="129" y="105"/>
                  </a:lnTo>
                  <a:lnTo>
                    <a:pt x="132" y="77"/>
                  </a:lnTo>
                  <a:lnTo>
                    <a:pt x="139" y="77"/>
                  </a:lnTo>
                  <a:lnTo>
                    <a:pt x="139" y="35"/>
                  </a:lnTo>
                  <a:lnTo>
                    <a:pt x="129" y="28"/>
                  </a:lnTo>
                  <a:lnTo>
                    <a:pt x="127" y="8"/>
                  </a:lnTo>
                  <a:lnTo>
                    <a:pt x="117" y="0"/>
                  </a:lnTo>
                  <a:lnTo>
                    <a:pt x="107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64"/>
            <p:cNvSpPr>
              <a:spLocks/>
            </p:cNvSpPr>
            <p:nvPr/>
          </p:nvSpPr>
          <p:spPr bwMode="auto">
            <a:xfrm>
              <a:off x="4440232" y="3972226"/>
              <a:ext cx="240353" cy="368444"/>
            </a:xfrm>
            <a:custGeom>
              <a:avLst/>
              <a:gdLst>
                <a:gd name="T0" fmla="*/ 0 w 167"/>
                <a:gd name="T1" fmla="*/ 194 h 256"/>
                <a:gd name="T2" fmla="*/ 32 w 167"/>
                <a:gd name="T3" fmla="*/ 167 h 256"/>
                <a:gd name="T4" fmla="*/ 42 w 167"/>
                <a:gd name="T5" fmla="*/ 152 h 256"/>
                <a:gd name="T6" fmla="*/ 57 w 167"/>
                <a:gd name="T7" fmla="*/ 139 h 256"/>
                <a:gd name="T8" fmla="*/ 77 w 167"/>
                <a:gd name="T9" fmla="*/ 124 h 256"/>
                <a:gd name="T10" fmla="*/ 87 w 167"/>
                <a:gd name="T11" fmla="*/ 105 h 256"/>
                <a:gd name="T12" fmla="*/ 97 w 167"/>
                <a:gd name="T13" fmla="*/ 70 h 256"/>
                <a:gd name="T14" fmla="*/ 102 w 167"/>
                <a:gd name="T15" fmla="*/ 62 h 256"/>
                <a:gd name="T16" fmla="*/ 112 w 167"/>
                <a:gd name="T17" fmla="*/ 55 h 256"/>
                <a:gd name="T18" fmla="*/ 114 w 167"/>
                <a:gd name="T19" fmla="*/ 30 h 256"/>
                <a:gd name="T20" fmla="*/ 112 w 167"/>
                <a:gd name="T21" fmla="*/ 0 h 256"/>
                <a:gd name="T22" fmla="*/ 119 w 167"/>
                <a:gd name="T23" fmla="*/ 0 h 256"/>
                <a:gd name="T24" fmla="*/ 122 w 167"/>
                <a:gd name="T25" fmla="*/ 13 h 256"/>
                <a:gd name="T26" fmla="*/ 127 w 167"/>
                <a:gd name="T27" fmla="*/ 23 h 256"/>
                <a:gd name="T28" fmla="*/ 134 w 167"/>
                <a:gd name="T29" fmla="*/ 37 h 256"/>
                <a:gd name="T30" fmla="*/ 134 w 167"/>
                <a:gd name="T31" fmla="*/ 47 h 256"/>
                <a:gd name="T32" fmla="*/ 127 w 167"/>
                <a:gd name="T33" fmla="*/ 52 h 256"/>
                <a:gd name="T34" fmla="*/ 132 w 167"/>
                <a:gd name="T35" fmla="*/ 55 h 256"/>
                <a:gd name="T36" fmla="*/ 134 w 167"/>
                <a:gd name="T37" fmla="*/ 67 h 256"/>
                <a:gd name="T38" fmla="*/ 142 w 167"/>
                <a:gd name="T39" fmla="*/ 75 h 256"/>
                <a:gd name="T40" fmla="*/ 139 w 167"/>
                <a:gd name="T41" fmla="*/ 85 h 256"/>
                <a:gd name="T42" fmla="*/ 132 w 167"/>
                <a:gd name="T43" fmla="*/ 90 h 256"/>
                <a:gd name="T44" fmla="*/ 132 w 167"/>
                <a:gd name="T45" fmla="*/ 100 h 256"/>
                <a:gd name="T46" fmla="*/ 147 w 167"/>
                <a:gd name="T47" fmla="*/ 117 h 256"/>
                <a:gd name="T48" fmla="*/ 157 w 167"/>
                <a:gd name="T49" fmla="*/ 137 h 256"/>
                <a:gd name="T50" fmla="*/ 147 w 167"/>
                <a:gd name="T51" fmla="*/ 147 h 256"/>
                <a:gd name="T52" fmla="*/ 139 w 167"/>
                <a:gd name="T53" fmla="*/ 172 h 256"/>
                <a:gd name="T54" fmla="*/ 152 w 167"/>
                <a:gd name="T55" fmla="*/ 192 h 256"/>
                <a:gd name="T56" fmla="*/ 162 w 167"/>
                <a:gd name="T57" fmla="*/ 216 h 256"/>
                <a:gd name="T58" fmla="*/ 167 w 167"/>
                <a:gd name="T59" fmla="*/ 226 h 256"/>
                <a:gd name="T60" fmla="*/ 112 w 167"/>
                <a:gd name="T61" fmla="*/ 234 h 256"/>
                <a:gd name="T62" fmla="*/ 85 w 167"/>
                <a:gd name="T63" fmla="*/ 236 h 256"/>
                <a:gd name="T64" fmla="*/ 75 w 167"/>
                <a:gd name="T65" fmla="*/ 246 h 256"/>
                <a:gd name="T66" fmla="*/ 75 w 167"/>
                <a:gd name="T67" fmla="*/ 254 h 256"/>
                <a:gd name="T68" fmla="*/ 47 w 167"/>
                <a:gd name="T69" fmla="*/ 256 h 256"/>
                <a:gd name="T70" fmla="*/ 45 w 167"/>
                <a:gd name="T71" fmla="*/ 239 h 256"/>
                <a:gd name="T72" fmla="*/ 55 w 167"/>
                <a:gd name="T73" fmla="*/ 219 h 256"/>
                <a:gd name="T74" fmla="*/ 45 w 167"/>
                <a:gd name="T75" fmla="*/ 209 h 256"/>
                <a:gd name="T76" fmla="*/ 27 w 167"/>
                <a:gd name="T77" fmla="*/ 201 h 256"/>
                <a:gd name="T78" fmla="*/ 0 w 167"/>
                <a:gd name="T79" fmla="*/ 19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" h="256">
                  <a:moveTo>
                    <a:pt x="0" y="194"/>
                  </a:moveTo>
                  <a:lnTo>
                    <a:pt x="32" y="167"/>
                  </a:lnTo>
                  <a:lnTo>
                    <a:pt x="42" y="152"/>
                  </a:lnTo>
                  <a:lnTo>
                    <a:pt x="57" y="139"/>
                  </a:lnTo>
                  <a:lnTo>
                    <a:pt x="77" y="124"/>
                  </a:lnTo>
                  <a:lnTo>
                    <a:pt x="87" y="105"/>
                  </a:lnTo>
                  <a:lnTo>
                    <a:pt x="97" y="70"/>
                  </a:lnTo>
                  <a:lnTo>
                    <a:pt x="102" y="62"/>
                  </a:lnTo>
                  <a:lnTo>
                    <a:pt x="112" y="55"/>
                  </a:lnTo>
                  <a:lnTo>
                    <a:pt x="114" y="30"/>
                  </a:lnTo>
                  <a:lnTo>
                    <a:pt x="112" y="0"/>
                  </a:lnTo>
                  <a:lnTo>
                    <a:pt x="119" y="0"/>
                  </a:lnTo>
                  <a:lnTo>
                    <a:pt x="122" y="13"/>
                  </a:lnTo>
                  <a:lnTo>
                    <a:pt x="127" y="23"/>
                  </a:lnTo>
                  <a:lnTo>
                    <a:pt x="134" y="37"/>
                  </a:lnTo>
                  <a:lnTo>
                    <a:pt x="134" y="47"/>
                  </a:lnTo>
                  <a:lnTo>
                    <a:pt x="127" y="52"/>
                  </a:lnTo>
                  <a:lnTo>
                    <a:pt x="132" y="55"/>
                  </a:lnTo>
                  <a:lnTo>
                    <a:pt x="134" y="67"/>
                  </a:lnTo>
                  <a:lnTo>
                    <a:pt x="142" y="75"/>
                  </a:lnTo>
                  <a:lnTo>
                    <a:pt x="139" y="85"/>
                  </a:lnTo>
                  <a:lnTo>
                    <a:pt x="132" y="90"/>
                  </a:lnTo>
                  <a:lnTo>
                    <a:pt x="132" y="100"/>
                  </a:lnTo>
                  <a:lnTo>
                    <a:pt x="147" y="117"/>
                  </a:lnTo>
                  <a:lnTo>
                    <a:pt x="157" y="137"/>
                  </a:lnTo>
                  <a:lnTo>
                    <a:pt x="147" y="147"/>
                  </a:lnTo>
                  <a:lnTo>
                    <a:pt x="139" y="172"/>
                  </a:lnTo>
                  <a:lnTo>
                    <a:pt x="152" y="192"/>
                  </a:lnTo>
                  <a:lnTo>
                    <a:pt x="162" y="216"/>
                  </a:lnTo>
                  <a:lnTo>
                    <a:pt x="167" y="226"/>
                  </a:lnTo>
                  <a:lnTo>
                    <a:pt x="112" y="234"/>
                  </a:lnTo>
                  <a:lnTo>
                    <a:pt x="85" y="236"/>
                  </a:lnTo>
                  <a:lnTo>
                    <a:pt x="75" y="246"/>
                  </a:lnTo>
                  <a:lnTo>
                    <a:pt x="75" y="254"/>
                  </a:lnTo>
                  <a:lnTo>
                    <a:pt x="47" y="256"/>
                  </a:lnTo>
                  <a:lnTo>
                    <a:pt x="45" y="239"/>
                  </a:lnTo>
                  <a:lnTo>
                    <a:pt x="55" y="219"/>
                  </a:lnTo>
                  <a:lnTo>
                    <a:pt x="45" y="209"/>
                  </a:lnTo>
                  <a:lnTo>
                    <a:pt x="27" y="201"/>
                  </a:lnTo>
                  <a:lnTo>
                    <a:pt x="0" y="19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65"/>
            <p:cNvSpPr>
              <a:spLocks/>
            </p:cNvSpPr>
            <p:nvPr/>
          </p:nvSpPr>
          <p:spPr bwMode="auto">
            <a:xfrm>
              <a:off x="2272743" y="4025478"/>
              <a:ext cx="292165" cy="437528"/>
            </a:xfrm>
            <a:custGeom>
              <a:avLst/>
              <a:gdLst>
                <a:gd name="T0" fmla="*/ 29 w 203"/>
                <a:gd name="T1" fmla="*/ 117 h 304"/>
                <a:gd name="T2" fmla="*/ 32 w 203"/>
                <a:gd name="T3" fmla="*/ 77 h 304"/>
                <a:gd name="T4" fmla="*/ 49 w 203"/>
                <a:gd name="T5" fmla="*/ 92 h 304"/>
                <a:gd name="T6" fmla="*/ 52 w 203"/>
                <a:gd name="T7" fmla="*/ 65 h 304"/>
                <a:gd name="T8" fmla="*/ 69 w 203"/>
                <a:gd name="T9" fmla="*/ 58 h 304"/>
                <a:gd name="T10" fmla="*/ 72 w 203"/>
                <a:gd name="T11" fmla="*/ 38 h 304"/>
                <a:gd name="T12" fmla="*/ 92 w 203"/>
                <a:gd name="T13" fmla="*/ 23 h 304"/>
                <a:gd name="T14" fmla="*/ 111 w 203"/>
                <a:gd name="T15" fmla="*/ 23 h 304"/>
                <a:gd name="T16" fmla="*/ 116 w 203"/>
                <a:gd name="T17" fmla="*/ 5 h 304"/>
                <a:gd name="T18" fmla="*/ 131 w 203"/>
                <a:gd name="T19" fmla="*/ 0 h 304"/>
                <a:gd name="T20" fmla="*/ 139 w 203"/>
                <a:gd name="T21" fmla="*/ 5 h 304"/>
                <a:gd name="T22" fmla="*/ 126 w 203"/>
                <a:gd name="T23" fmla="*/ 23 h 304"/>
                <a:gd name="T24" fmla="*/ 116 w 203"/>
                <a:gd name="T25" fmla="*/ 53 h 304"/>
                <a:gd name="T26" fmla="*/ 107 w 203"/>
                <a:gd name="T27" fmla="*/ 60 h 304"/>
                <a:gd name="T28" fmla="*/ 121 w 203"/>
                <a:gd name="T29" fmla="*/ 82 h 304"/>
                <a:gd name="T30" fmla="*/ 116 w 203"/>
                <a:gd name="T31" fmla="*/ 102 h 304"/>
                <a:gd name="T32" fmla="*/ 149 w 203"/>
                <a:gd name="T33" fmla="*/ 105 h 304"/>
                <a:gd name="T34" fmla="*/ 149 w 203"/>
                <a:gd name="T35" fmla="*/ 117 h 304"/>
                <a:gd name="T36" fmla="*/ 176 w 203"/>
                <a:gd name="T37" fmla="*/ 130 h 304"/>
                <a:gd name="T38" fmla="*/ 203 w 203"/>
                <a:gd name="T39" fmla="*/ 140 h 304"/>
                <a:gd name="T40" fmla="*/ 203 w 203"/>
                <a:gd name="T41" fmla="*/ 174 h 304"/>
                <a:gd name="T42" fmla="*/ 198 w 203"/>
                <a:gd name="T43" fmla="*/ 194 h 304"/>
                <a:gd name="T44" fmla="*/ 201 w 203"/>
                <a:gd name="T45" fmla="*/ 212 h 304"/>
                <a:gd name="T46" fmla="*/ 171 w 203"/>
                <a:gd name="T47" fmla="*/ 222 h 304"/>
                <a:gd name="T48" fmla="*/ 164 w 203"/>
                <a:gd name="T49" fmla="*/ 234 h 304"/>
                <a:gd name="T50" fmla="*/ 171 w 203"/>
                <a:gd name="T51" fmla="*/ 244 h 304"/>
                <a:gd name="T52" fmla="*/ 164 w 203"/>
                <a:gd name="T53" fmla="*/ 251 h 304"/>
                <a:gd name="T54" fmla="*/ 166 w 203"/>
                <a:gd name="T55" fmla="*/ 286 h 304"/>
                <a:gd name="T56" fmla="*/ 166 w 203"/>
                <a:gd name="T57" fmla="*/ 301 h 304"/>
                <a:gd name="T58" fmla="*/ 149 w 203"/>
                <a:gd name="T59" fmla="*/ 304 h 304"/>
                <a:gd name="T60" fmla="*/ 134 w 203"/>
                <a:gd name="T61" fmla="*/ 291 h 304"/>
                <a:gd name="T62" fmla="*/ 102 w 203"/>
                <a:gd name="T63" fmla="*/ 289 h 304"/>
                <a:gd name="T64" fmla="*/ 87 w 203"/>
                <a:gd name="T65" fmla="*/ 269 h 304"/>
                <a:gd name="T66" fmla="*/ 69 w 203"/>
                <a:gd name="T67" fmla="*/ 256 h 304"/>
                <a:gd name="T68" fmla="*/ 54 w 203"/>
                <a:gd name="T69" fmla="*/ 244 h 304"/>
                <a:gd name="T70" fmla="*/ 27 w 203"/>
                <a:gd name="T71" fmla="*/ 247 h 304"/>
                <a:gd name="T72" fmla="*/ 0 w 203"/>
                <a:gd name="T73" fmla="*/ 232 h 304"/>
                <a:gd name="T74" fmla="*/ 15 w 203"/>
                <a:gd name="T75" fmla="*/ 212 h 304"/>
                <a:gd name="T76" fmla="*/ 17 w 203"/>
                <a:gd name="T77" fmla="*/ 199 h 304"/>
                <a:gd name="T78" fmla="*/ 34 w 203"/>
                <a:gd name="T79" fmla="*/ 197 h 304"/>
                <a:gd name="T80" fmla="*/ 29 w 203"/>
                <a:gd name="T81" fmla="*/ 117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3" h="304">
                  <a:moveTo>
                    <a:pt x="29" y="117"/>
                  </a:moveTo>
                  <a:lnTo>
                    <a:pt x="32" y="77"/>
                  </a:lnTo>
                  <a:lnTo>
                    <a:pt x="49" y="92"/>
                  </a:lnTo>
                  <a:lnTo>
                    <a:pt x="52" y="65"/>
                  </a:lnTo>
                  <a:lnTo>
                    <a:pt x="69" y="58"/>
                  </a:lnTo>
                  <a:lnTo>
                    <a:pt x="72" y="38"/>
                  </a:lnTo>
                  <a:lnTo>
                    <a:pt x="92" y="23"/>
                  </a:lnTo>
                  <a:lnTo>
                    <a:pt x="111" y="23"/>
                  </a:lnTo>
                  <a:lnTo>
                    <a:pt x="116" y="5"/>
                  </a:lnTo>
                  <a:lnTo>
                    <a:pt x="131" y="0"/>
                  </a:lnTo>
                  <a:lnTo>
                    <a:pt x="139" y="5"/>
                  </a:lnTo>
                  <a:lnTo>
                    <a:pt x="126" y="23"/>
                  </a:lnTo>
                  <a:lnTo>
                    <a:pt x="116" y="53"/>
                  </a:lnTo>
                  <a:lnTo>
                    <a:pt x="107" y="60"/>
                  </a:lnTo>
                  <a:lnTo>
                    <a:pt x="121" y="82"/>
                  </a:lnTo>
                  <a:lnTo>
                    <a:pt x="116" y="102"/>
                  </a:lnTo>
                  <a:lnTo>
                    <a:pt x="149" y="105"/>
                  </a:lnTo>
                  <a:lnTo>
                    <a:pt x="149" y="117"/>
                  </a:lnTo>
                  <a:lnTo>
                    <a:pt x="176" y="130"/>
                  </a:lnTo>
                  <a:lnTo>
                    <a:pt x="203" y="140"/>
                  </a:lnTo>
                  <a:lnTo>
                    <a:pt x="203" y="174"/>
                  </a:lnTo>
                  <a:lnTo>
                    <a:pt x="198" y="194"/>
                  </a:lnTo>
                  <a:lnTo>
                    <a:pt x="201" y="212"/>
                  </a:lnTo>
                  <a:lnTo>
                    <a:pt x="171" y="222"/>
                  </a:lnTo>
                  <a:lnTo>
                    <a:pt x="164" y="234"/>
                  </a:lnTo>
                  <a:lnTo>
                    <a:pt x="171" y="244"/>
                  </a:lnTo>
                  <a:lnTo>
                    <a:pt x="164" y="251"/>
                  </a:lnTo>
                  <a:lnTo>
                    <a:pt x="166" y="286"/>
                  </a:lnTo>
                  <a:lnTo>
                    <a:pt x="166" y="301"/>
                  </a:lnTo>
                  <a:lnTo>
                    <a:pt x="149" y="304"/>
                  </a:lnTo>
                  <a:lnTo>
                    <a:pt x="134" y="291"/>
                  </a:lnTo>
                  <a:lnTo>
                    <a:pt x="102" y="289"/>
                  </a:lnTo>
                  <a:lnTo>
                    <a:pt x="87" y="269"/>
                  </a:lnTo>
                  <a:lnTo>
                    <a:pt x="69" y="256"/>
                  </a:lnTo>
                  <a:lnTo>
                    <a:pt x="54" y="244"/>
                  </a:lnTo>
                  <a:lnTo>
                    <a:pt x="27" y="247"/>
                  </a:lnTo>
                  <a:lnTo>
                    <a:pt x="0" y="232"/>
                  </a:lnTo>
                  <a:lnTo>
                    <a:pt x="15" y="212"/>
                  </a:lnTo>
                  <a:lnTo>
                    <a:pt x="17" y="199"/>
                  </a:lnTo>
                  <a:lnTo>
                    <a:pt x="34" y="197"/>
                  </a:lnTo>
                  <a:lnTo>
                    <a:pt x="29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66"/>
            <p:cNvSpPr>
              <a:spLocks/>
            </p:cNvSpPr>
            <p:nvPr/>
          </p:nvSpPr>
          <p:spPr bwMode="auto">
            <a:xfrm>
              <a:off x="5453454" y="2676915"/>
              <a:ext cx="936943" cy="476386"/>
            </a:xfrm>
            <a:custGeom>
              <a:avLst/>
              <a:gdLst>
                <a:gd name="T0" fmla="*/ 636 w 651"/>
                <a:gd name="T1" fmla="*/ 95 h 331"/>
                <a:gd name="T2" fmla="*/ 596 w 651"/>
                <a:gd name="T3" fmla="*/ 70 h 331"/>
                <a:gd name="T4" fmla="*/ 554 w 651"/>
                <a:gd name="T5" fmla="*/ 20 h 331"/>
                <a:gd name="T6" fmla="*/ 502 w 651"/>
                <a:gd name="T7" fmla="*/ 30 h 331"/>
                <a:gd name="T8" fmla="*/ 482 w 651"/>
                <a:gd name="T9" fmla="*/ 13 h 331"/>
                <a:gd name="T10" fmla="*/ 432 w 651"/>
                <a:gd name="T11" fmla="*/ 5 h 331"/>
                <a:gd name="T12" fmla="*/ 363 w 651"/>
                <a:gd name="T13" fmla="*/ 8 h 331"/>
                <a:gd name="T14" fmla="*/ 325 w 651"/>
                <a:gd name="T15" fmla="*/ 5 h 331"/>
                <a:gd name="T16" fmla="*/ 310 w 651"/>
                <a:gd name="T17" fmla="*/ 40 h 331"/>
                <a:gd name="T18" fmla="*/ 293 w 651"/>
                <a:gd name="T19" fmla="*/ 48 h 331"/>
                <a:gd name="T20" fmla="*/ 293 w 651"/>
                <a:gd name="T21" fmla="*/ 52 h 331"/>
                <a:gd name="T22" fmla="*/ 300 w 651"/>
                <a:gd name="T23" fmla="*/ 72 h 331"/>
                <a:gd name="T24" fmla="*/ 273 w 651"/>
                <a:gd name="T25" fmla="*/ 77 h 331"/>
                <a:gd name="T26" fmla="*/ 218 w 651"/>
                <a:gd name="T27" fmla="*/ 60 h 331"/>
                <a:gd name="T28" fmla="*/ 204 w 651"/>
                <a:gd name="T29" fmla="*/ 43 h 331"/>
                <a:gd name="T30" fmla="*/ 131 w 651"/>
                <a:gd name="T31" fmla="*/ 13 h 331"/>
                <a:gd name="T32" fmla="*/ 82 w 651"/>
                <a:gd name="T33" fmla="*/ 15 h 331"/>
                <a:gd name="T34" fmla="*/ 54 w 651"/>
                <a:gd name="T35" fmla="*/ 8 h 331"/>
                <a:gd name="T36" fmla="*/ 0 w 651"/>
                <a:gd name="T37" fmla="*/ 70 h 331"/>
                <a:gd name="T38" fmla="*/ 29 w 651"/>
                <a:gd name="T39" fmla="*/ 105 h 331"/>
                <a:gd name="T40" fmla="*/ 15 w 651"/>
                <a:gd name="T41" fmla="*/ 147 h 331"/>
                <a:gd name="T42" fmla="*/ 29 w 651"/>
                <a:gd name="T43" fmla="*/ 172 h 331"/>
                <a:gd name="T44" fmla="*/ 59 w 651"/>
                <a:gd name="T45" fmla="*/ 169 h 331"/>
                <a:gd name="T46" fmla="*/ 67 w 651"/>
                <a:gd name="T47" fmla="*/ 199 h 331"/>
                <a:gd name="T48" fmla="*/ 47 w 651"/>
                <a:gd name="T49" fmla="*/ 209 h 331"/>
                <a:gd name="T50" fmla="*/ 37 w 651"/>
                <a:gd name="T51" fmla="*/ 234 h 331"/>
                <a:gd name="T52" fmla="*/ 25 w 651"/>
                <a:gd name="T53" fmla="*/ 246 h 331"/>
                <a:gd name="T54" fmla="*/ 59 w 651"/>
                <a:gd name="T55" fmla="*/ 264 h 331"/>
                <a:gd name="T56" fmla="*/ 72 w 651"/>
                <a:gd name="T57" fmla="*/ 279 h 331"/>
                <a:gd name="T58" fmla="*/ 99 w 651"/>
                <a:gd name="T59" fmla="*/ 306 h 331"/>
                <a:gd name="T60" fmla="*/ 129 w 651"/>
                <a:gd name="T61" fmla="*/ 304 h 331"/>
                <a:gd name="T62" fmla="*/ 146 w 651"/>
                <a:gd name="T63" fmla="*/ 321 h 331"/>
                <a:gd name="T64" fmla="*/ 196 w 651"/>
                <a:gd name="T65" fmla="*/ 202 h 331"/>
                <a:gd name="T66" fmla="*/ 213 w 651"/>
                <a:gd name="T67" fmla="*/ 177 h 331"/>
                <a:gd name="T68" fmla="*/ 248 w 651"/>
                <a:gd name="T69" fmla="*/ 207 h 331"/>
                <a:gd name="T70" fmla="*/ 251 w 651"/>
                <a:gd name="T71" fmla="*/ 226 h 331"/>
                <a:gd name="T72" fmla="*/ 268 w 651"/>
                <a:gd name="T73" fmla="*/ 264 h 331"/>
                <a:gd name="T74" fmla="*/ 310 w 651"/>
                <a:gd name="T75" fmla="*/ 261 h 331"/>
                <a:gd name="T76" fmla="*/ 333 w 651"/>
                <a:gd name="T77" fmla="*/ 296 h 331"/>
                <a:gd name="T78" fmla="*/ 363 w 651"/>
                <a:gd name="T79" fmla="*/ 323 h 331"/>
                <a:gd name="T80" fmla="*/ 392 w 651"/>
                <a:gd name="T81" fmla="*/ 316 h 331"/>
                <a:gd name="T82" fmla="*/ 442 w 651"/>
                <a:gd name="T83" fmla="*/ 291 h 331"/>
                <a:gd name="T84" fmla="*/ 412 w 651"/>
                <a:gd name="T85" fmla="*/ 281 h 331"/>
                <a:gd name="T86" fmla="*/ 405 w 651"/>
                <a:gd name="T87" fmla="*/ 256 h 331"/>
                <a:gd name="T88" fmla="*/ 402 w 651"/>
                <a:gd name="T89" fmla="*/ 239 h 331"/>
                <a:gd name="T90" fmla="*/ 432 w 651"/>
                <a:gd name="T91" fmla="*/ 246 h 331"/>
                <a:gd name="T92" fmla="*/ 462 w 651"/>
                <a:gd name="T93" fmla="*/ 226 h 331"/>
                <a:gd name="T94" fmla="*/ 514 w 651"/>
                <a:gd name="T95" fmla="*/ 231 h 331"/>
                <a:gd name="T96" fmla="*/ 557 w 651"/>
                <a:gd name="T97" fmla="*/ 249 h 331"/>
                <a:gd name="T98" fmla="*/ 564 w 651"/>
                <a:gd name="T99" fmla="*/ 217 h 331"/>
                <a:gd name="T100" fmla="*/ 606 w 651"/>
                <a:gd name="T101" fmla="*/ 212 h 331"/>
                <a:gd name="T102" fmla="*/ 621 w 651"/>
                <a:gd name="T103" fmla="*/ 164 h 331"/>
                <a:gd name="T104" fmla="*/ 641 w 651"/>
                <a:gd name="T105" fmla="*/ 1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1" h="331">
                  <a:moveTo>
                    <a:pt x="651" y="139"/>
                  </a:moveTo>
                  <a:lnTo>
                    <a:pt x="636" y="95"/>
                  </a:lnTo>
                  <a:lnTo>
                    <a:pt x="606" y="85"/>
                  </a:lnTo>
                  <a:lnTo>
                    <a:pt x="596" y="70"/>
                  </a:lnTo>
                  <a:lnTo>
                    <a:pt x="579" y="70"/>
                  </a:lnTo>
                  <a:lnTo>
                    <a:pt x="554" y="20"/>
                  </a:lnTo>
                  <a:lnTo>
                    <a:pt x="529" y="20"/>
                  </a:lnTo>
                  <a:lnTo>
                    <a:pt x="502" y="30"/>
                  </a:lnTo>
                  <a:lnTo>
                    <a:pt x="482" y="28"/>
                  </a:lnTo>
                  <a:lnTo>
                    <a:pt x="482" y="13"/>
                  </a:lnTo>
                  <a:lnTo>
                    <a:pt x="465" y="0"/>
                  </a:lnTo>
                  <a:lnTo>
                    <a:pt x="432" y="5"/>
                  </a:lnTo>
                  <a:lnTo>
                    <a:pt x="405" y="13"/>
                  </a:lnTo>
                  <a:lnTo>
                    <a:pt x="363" y="8"/>
                  </a:lnTo>
                  <a:lnTo>
                    <a:pt x="338" y="3"/>
                  </a:lnTo>
                  <a:lnTo>
                    <a:pt x="325" y="5"/>
                  </a:lnTo>
                  <a:lnTo>
                    <a:pt x="330" y="30"/>
                  </a:lnTo>
                  <a:lnTo>
                    <a:pt x="310" y="40"/>
                  </a:lnTo>
                  <a:lnTo>
                    <a:pt x="303" y="45"/>
                  </a:lnTo>
                  <a:lnTo>
                    <a:pt x="293" y="48"/>
                  </a:lnTo>
                  <a:lnTo>
                    <a:pt x="291" y="50"/>
                  </a:lnTo>
                  <a:lnTo>
                    <a:pt x="293" y="52"/>
                  </a:lnTo>
                  <a:lnTo>
                    <a:pt x="295" y="60"/>
                  </a:lnTo>
                  <a:lnTo>
                    <a:pt x="300" y="72"/>
                  </a:lnTo>
                  <a:lnTo>
                    <a:pt x="291" y="82"/>
                  </a:lnTo>
                  <a:lnTo>
                    <a:pt x="273" y="77"/>
                  </a:lnTo>
                  <a:lnTo>
                    <a:pt x="241" y="57"/>
                  </a:lnTo>
                  <a:lnTo>
                    <a:pt x="218" y="60"/>
                  </a:lnTo>
                  <a:lnTo>
                    <a:pt x="201" y="55"/>
                  </a:lnTo>
                  <a:lnTo>
                    <a:pt x="204" y="43"/>
                  </a:lnTo>
                  <a:lnTo>
                    <a:pt x="159" y="15"/>
                  </a:lnTo>
                  <a:lnTo>
                    <a:pt x="131" y="13"/>
                  </a:lnTo>
                  <a:lnTo>
                    <a:pt x="104" y="8"/>
                  </a:lnTo>
                  <a:lnTo>
                    <a:pt x="82" y="15"/>
                  </a:lnTo>
                  <a:lnTo>
                    <a:pt x="74" y="30"/>
                  </a:lnTo>
                  <a:lnTo>
                    <a:pt x="54" y="8"/>
                  </a:lnTo>
                  <a:lnTo>
                    <a:pt x="25" y="43"/>
                  </a:lnTo>
                  <a:lnTo>
                    <a:pt x="0" y="70"/>
                  </a:lnTo>
                  <a:lnTo>
                    <a:pt x="7" y="92"/>
                  </a:lnTo>
                  <a:lnTo>
                    <a:pt x="29" y="105"/>
                  </a:lnTo>
                  <a:lnTo>
                    <a:pt x="32" y="127"/>
                  </a:lnTo>
                  <a:lnTo>
                    <a:pt x="15" y="147"/>
                  </a:lnTo>
                  <a:lnTo>
                    <a:pt x="7" y="177"/>
                  </a:lnTo>
                  <a:lnTo>
                    <a:pt x="29" y="172"/>
                  </a:lnTo>
                  <a:lnTo>
                    <a:pt x="54" y="179"/>
                  </a:lnTo>
                  <a:lnTo>
                    <a:pt x="59" y="169"/>
                  </a:lnTo>
                  <a:lnTo>
                    <a:pt x="72" y="177"/>
                  </a:lnTo>
                  <a:lnTo>
                    <a:pt x="67" y="199"/>
                  </a:lnTo>
                  <a:lnTo>
                    <a:pt x="72" y="209"/>
                  </a:lnTo>
                  <a:lnTo>
                    <a:pt x="47" y="209"/>
                  </a:lnTo>
                  <a:lnTo>
                    <a:pt x="37" y="219"/>
                  </a:lnTo>
                  <a:lnTo>
                    <a:pt x="37" y="234"/>
                  </a:lnTo>
                  <a:lnTo>
                    <a:pt x="22" y="234"/>
                  </a:lnTo>
                  <a:lnTo>
                    <a:pt x="25" y="246"/>
                  </a:lnTo>
                  <a:lnTo>
                    <a:pt x="32" y="264"/>
                  </a:lnTo>
                  <a:lnTo>
                    <a:pt x="59" y="264"/>
                  </a:lnTo>
                  <a:lnTo>
                    <a:pt x="67" y="296"/>
                  </a:lnTo>
                  <a:lnTo>
                    <a:pt x="72" y="279"/>
                  </a:lnTo>
                  <a:lnTo>
                    <a:pt x="94" y="281"/>
                  </a:lnTo>
                  <a:lnTo>
                    <a:pt x="99" y="306"/>
                  </a:lnTo>
                  <a:lnTo>
                    <a:pt x="114" y="299"/>
                  </a:lnTo>
                  <a:lnTo>
                    <a:pt x="129" y="304"/>
                  </a:lnTo>
                  <a:lnTo>
                    <a:pt x="129" y="316"/>
                  </a:lnTo>
                  <a:lnTo>
                    <a:pt x="146" y="321"/>
                  </a:lnTo>
                  <a:lnTo>
                    <a:pt x="159" y="231"/>
                  </a:lnTo>
                  <a:lnTo>
                    <a:pt x="196" y="202"/>
                  </a:lnTo>
                  <a:lnTo>
                    <a:pt x="213" y="199"/>
                  </a:lnTo>
                  <a:lnTo>
                    <a:pt x="213" y="177"/>
                  </a:lnTo>
                  <a:lnTo>
                    <a:pt x="248" y="177"/>
                  </a:lnTo>
                  <a:lnTo>
                    <a:pt x="248" y="207"/>
                  </a:lnTo>
                  <a:lnTo>
                    <a:pt x="258" y="219"/>
                  </a:lnTo>
                  <a:lnTo>
                    <a:pt x="251" y="226"/>
                  </a:lnTo>
                  <a:lnTo>
                    <a:pt x="263" y="249"/>
                  </a:lnTo>
                  <a:lnTo>
                    <a:pt x="268" y="264"/>
                  </a:lnTo>
                  <a:lnTo>
                    <a:pt x="291" y="256"/>
                  </a:lnTo>
                  <a:lnTo>
                    <a:pt x="310" y="261"/>
                  </a:lnTo>
                  <a:lnTo>
                    <a:pt x="330" y="269"/>
                  </a:lnTo>
                  <a:lnTo>
                    <a:pt x="333" y="296"/>
                  </a:lnTo>
                  <a:lnTo>
                    <a:pt x="338" y="311"/>
                  </a:lnTo>
                  <a:lnTo>
                    <a:pt x="363" y="323"/>
                  </a:lnTo>
                  <a:lnTo>
                    <a:pt x="373" y="331"/>
                  </a:lnTo>
                  <a:lnTo>
                    <a:pt x="392" y="316"/>
                  </a:lnTo>
                  <a:lnTo>
                    <a:pt x="435" y="301"/>
                  </a:lnTo>
                  <a:lnTo>
                    <a:pt x="442" y="291"/>
                  </a:lnTo>
                  <a:lnTo>
                    <a:pt x="427" y="279"/>
                  </a:lnTo>
                  <a:lnTo>
                    <a:pt x="412" y="281"/>
                  </a:lnTo>
                  <a:lnTo>
                    <a:pt x="397" y="269"/>
                  </a:lnTo>
                  <a:lnTo>
                    <a:pt x="405" y="256"/>
                  </a:lnTo>
                  <a:lnTo>
                    <a:pt x="402" y="244"/>
                  </a:lnTo>
                  <a:lnTo>
                    <a:pt x="402" y="239"/>
                  </a:lnTo>
                  <a:lnTo>
                    <a:pt x="415" y="229"/>
                  </a:lnTo>
                  <a:lnTo>
                    <a:pt x="432" y="246"/>
                  </a:lnTo>
                  <a:lnTo>
                    <a:pt x="440" y="231"/>
                  </a:lnTo>
                  <a:lnTo>
                    <a:pt x="462" y="226"/>
                  </a:lnTo>
                  <a:lnTo>
                    <a:pt x="474" y="239"/>
                  </a:lnTo>
                  <a:lnTo>
                    <a:pt x="514" y="231"/>
                  </a:lnTo>
                  <a:lnTo>
                    <a:pt x="537" y="234"/>
                  </a:lnTo>
                  <a:lnTo>
                    <a:pt x="557" y="249"/>
                  </a:lnTo>
                  <a:lnTo>
                    <a:pt x="564" y="241"/>
                  </a:lnTo>
                  <a:lnTo>
                    <a:pt x="564" y="217"/>
                  </a:lnTo>
                  <a:lnTo>
                    <a:pt x="584" y="207"/>
                  </a:lnTo>
                  <a:lnTo>
                    <a:pt x="606" y="212"/>
                  </a:lnTo>
                  <a:lnTo>
                    <a:pt x="614" y="172"/>
                  </a:lnTo>
                  <a:lnTo>
                    <a:pt x="621" y="164"/>
                  </a:lnTo>
                  <a:lnTo>
                    <a:pt x="636" y="159"/>
                  </a:lnTo>
                  <a:lnTo>
                    <a:pt x="641" y="147"/>
                  </a:lnTo>
                  <a:lnTo>
                    <a:pt x="651" y="13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67"/>
            <p:cNvSpPr>
              <a:spLocks/>
            </p:cNvSpPr>
            <p:nvPr/>
          </p:nvSpPr>
          <p:spPr bwMode="auto">
            <a:xfrm>
              <a:off x="5990289" y="3002182"/>
              <a:ext cx="264819" cy="201493"/>
            </a:xfrm>
            <a:custGeom>
              <a:avLst/>
              <a:gdLst>
                <a:gd name="T0" fmla="*/ 144 w 184"/>
                <a:gd name="T1" fmla="*/ 40 h 140"/>
                <a:gd name="T2" fmla="*/ 156 w 184"/>
                <a:gd name="T3" fmla="*/ 48 h 140"/>
                <a:gd name="T4" fmla="*/ 156 w 184"/>
                <a:gd name="T5" fmla="*/ 95 h 140"/>
                <a:gd name="T6" fmla="*/ 141 w 184"/>
                <a:gd name="T7" fmla="*/ 102 h 140"/>
                <a:gd name="T8" fmla="*/ 134 w 184"/>
                <a:gd name="T9" fmla="*/ 112 h 140"/>
                <a:gd name="T10" fmla="*/ 104 w 184"/>
                <a:gd name="T11" fmla="*/ 120 h 140"/>
                <a:gd name="T12" fmla="*/ 106 w 184"/>
                <a:gd name="T13" fmla="*/ 130 h 140"/>
                <a:gd name="T14" fmla="*/ 99 w 184"/>
                <a:gd name="T15" fmla="*/ 140 h 140"/>
                <a:gd name="T16" fmla="*/ 82 w 184"/>
                <a:gd name="T17" fmla="*/ 95 h 140"/>
                <a:gd name="T18" fmla="*/ 62 w 184"/>
                <a:gd name="T19" fmla="*/ 110 h 140"/>
                <a:gd name="T20" fmla="*/ 42 w 184"/>
                <a:gd name="T21" fmla="*/ 112 h 140"/>
                <a:gd name="T22" fmla="*/ 0 w 184"/>
                <a:gd name="T23" fmla="*/ 105 h 140"/>
                <a:gd name="T24" fmla="*/ 19 w 184"/>
                <a:gd name="T25" fmla="*/ 90 h 140"/>
                <a:gd name="T26" fmla="*/ 62 w 184"/>
                <a:gd name="T27" fmla="*/ 75 h 140"/>
                <a:gd name="T28" fmla="*/ 69 w 184"/>
                <a:gd name="T29" fmla="*/ 65 h 140"/>
                <a:gd name="T30" fmla="*/ 54 w 184"/>
                <a:gd name="T31" fmla="*/ 53 h 140"/>
                <a:gd name="T32" fmla="*/ 39 w 184"/>
                <a:gd name="T33" fmla="*/ 55 h 140"/>
                <a:gd name="T34" fmla="*/ 24 w 184"/>
                <a:gd name="T35" fmla="*/ 43 h 140"/>
                <a:gd name="T36" fmla="*/ 32 w 184"/>
                <a:gd name="T37" fmla="*/ 30 h 140"/>
                <a:gd name="T38" fmla="*/ 29 w 184"/>
                <a:gd name="T39" fmla="*/ 13 h 140"/>
                <a:gd name="T40" fmla="*/ 42 w 184"/>
                <a:gd name="T41" fmla="*/ 3 h 140"/>
                <a:gd name="T42" fmla="*/ 59 w 184"/>
                <a:gd name="T43" fmla="*/ 20 h 140"/>
                <a:gd name="T44" fmla="*/ 67 w 184"/>
                <a:gd name="T45" fmla="*/ 5 h 140"/>
                <a:gd name="T46" fmla="*/ 89 w 184"/>
                <a:gd name="T47" fmla="*/ 0 h 140"/>
                <a:gd name="T48" fmla="*/ 101 w 184"/>
                <a:gd name="T49" fmla="*/ 13 h 140"/>
                <a:gd name="T50" fmla="*/ 141 w 184"/>
                <a:gd name="T51" fmla="*/ 5 h 140"/>
                <a:gd name="T52" fmla="*/ 164 w 184"/>
                <a:gd name="T53" fmla="*/ 8 h 140"/>
                <a:gd name="T54" fmla="*/ 184 w 184"/>
                <a:gd name="T55" fmla="*/ 23 h 140"/>
                <a:gd name="T56" fmla="*/ 144 w 184"/>
                <a:gd name="T57" fmla="*/ 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4" h="140">
                  <a:moveTo>
                    <a:pt x="144" y="40"/>
                  </a:moveTo>
                  <a:lnTo>
                    <a:pt x="156" y="48"/>
                  </a:lnTo>
                  <a:lnTo>
                    <a:pt x="156" y="95"/>
                  </a:lnTo>
                  <a:lnTo>
                    <a:pt x="141" y="102"/>
                  </a:lnTo>
                  <a:lnTo>
                    <a:pt x="134" y="112"/>
                  </a:lnTo>
                  <a:lnTo>
                    <a:pt x="104" y="120"/>
                  </a:lnTo>
                  <a:lnTo>
                    <a:pt x="106" y="130"/>
                  </a:lnTo>
                  <a:lnTo>
                    <a:pt x="99" y="140"/>
                  </a:lnTo>
                  <a:lnTo>
                    <a:pt x="82" y="95"/>
                  </a:lnTo>
                  <a:lnTo>
                    <a:pt x="62" y="110"/>
                  </a:lnTo>
                  <a:lnTo>
                    <a:pt x="42" y="112"/>
                  </a:lnTo>
                  <a:lnTo>
                    <a:pt x="0" y="105"/>
                  </a:lnTo>
                  <a:lnTo>
                    <a:pt x="19" y="90"/>
                  </a:lnTo>
                  <a:lnTo>
                    <a:pt x="62" y="75"/>
                  </a:lnTo>
                  <a:lnTo>
                    <a:pt x="69" y="65"/>
                  </a:lnTo>
                  <a:lnTo>
                    <a:pt x="54" y="53"/>
                  </a:lnTo>
                  <a:lnTo>
                    <a:pt x="39" y="55"/>
                  </a:lnTo>
                  <a:lnTo>
                    <a:pt x="24" y="43"/>
                  </a:lnTo>
                  <a:lnTo>
                    <a:pt x="32" y="30"/>
                  </a:lnTo>
                  <a:lnTo>
                    <a:pt x="29" y="13"/>
                  </a:lnTo>
                  <a:lnTo>
                    <a:pt x="42" y="3"/>
                  </a:lnTo>
                  <a:lnTo>
                    <a:pt x="59" y="20"/>
                  </a:lnTo>
                  <a:lnTo>
                    <a:pt x="67" y="5"/>
                  </a:lnTo>
                  <a:lnTo>
                    <a:pt x="89" y="0"/>
                  </a:lnTo>
                  <a:lnTo>
                    <a:pt x="101" y="13"/>
                  </a:lnTo>
                  <a:lnTo>
                    <a:pt x="141" y="5"/>
                  </a:lnTo>
                  <a:lnTo>
                    <a:pt x="164" y="8"/>
                  </a:lnTo>
                  <a:lnTo>
                    <a:pt x="184" y="23"/>
                  </a:lnTo>
                  <a:lnTo>
                    <a:pt x="144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70"/>
            <p:cNvSpPr>
              <a:spLocks/>
            </p:cNvSpPr>
            <p:nvPr/>
          </p:nvSpPr>
          <p:spPr bwMode="auto">
            <a:xfrm>
              <a:off x="5203027" y="2992107"/>
              <a:ext cx="153999" cy="115139"/>
            </a:xfrm>
            <a:custGeom>
              <a:avLst/>
              <a:gdLst>
                <a:gd name="T0" fmla="*/ 0 w 107"/>
                <a:gd name="T1" fmla="*/ 22 h 80"/>
                <a:gd name="T2" fmla="*/ 37 w 107"/>
                <a:gd name="T3" fmla="*/ 0 h 80"/>
                <a:gd name="T4" fmla="*/ 59 w 107"/>
                <a:gd name="T5" fmla="*/ 12 h 80"/>
                <a:gd name="T6" fmla="*/ 74 w 107"/>
                <a:gd name="T7" fmla="*/ 12 h 80"/>
                <a:gd name="T8" fmla="*/ 89 w 107"/>
                <a:gd name="T9" fmla="*/ 27 h 80"/>
                <a:gd name="T10" fmla="*/ 107 w 107"/>
                <a:gd name="T11" fmla="*/ 47 h 80"/>
                <a:gd name="T12" fmla="*/ 97 w 107"/>
                <a:gd name="T13" fmla="*/ 70 h 80"/>
                <a:gd name="T14" fmla="*/ 77 w 107"/>
                <a:gd name="T15" fmla="*/ 77 h 80"/>
                <a:gd name="T16" fmla="*/ 54 w 107"/>
                <a:gd name="T17" fmla="*/ 80 h 80"/>
                <a:gd name="T18" fmla="*/ 49 w 107"/>
                <a:gd name="T19" fmla="*/ 62 h 80"/>
                <a:gd name="T20" fmla="*/ 42 w 107"/>
                <a:gd name="T21" fmla="*/ 47 h 80"/>
                <a:gd name="T22" fmla="*/ 17 w 107"/>
                <a:gd name="T23" fmla="*/ 40 h 80"/>
                <a:gd name="T24" fmla="*/ 0 w 107"/>
                <a:gd name="T25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80">
                  <a:moveTo>
                    <a:pt x="0" y="22"/>
                  </a:moveTo>
                  <a:lnTo>
                    <a:pt x="37" y="0"/>
                  </a:lnTo>
                  <a:lnTo>
                    <a:pt x="59" y="12"/>
                  </a:lnTo>
                  <a:lnTo>
                    <a:pt x="74" y="12"/>
                  </a:lnTo>
                  <a:lnTo>
                    <a:pt x="89" y="27"/>
                  </a:lnTo>
                  <a:lnTo>
                    <a:pt x="107" y="47"/>
                  </a:lnTo>
                  <a:lnTo>
                    <a:pt x="97" y="70"/>
                  </a:lnTo>
                  <a:lnTo>
                    <a:pt x="77" y="77"/>
                  </a:lnTo>
                  <a:lnTo>
                    <a:pt x="54" y="80"/>
                  </a:lnTo>
                  <a:lnTo>
                    <a:pt x="49" y="62"/>
                  </a:lnTo>
                  <a:lnTo>
                    <a:pt x="42" y="47"/>
                  </a:lnTo>
                  <a:lnTo>
                    <a:pt x="17" y="40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71"/>
            <p:cNvSpPr>
              <a:spLocks/>
            </p:cNvSpPr>
            <p:nvPr/>
          </p:nvSpPr>
          <p:spPr bwMode="auto">
            <a:xfrm>
              <a:off x="4584155" y="2069557"/>
              <a:ext cx="27346" cy="14392"/>
            </a:xfrm>
            <a:custGeom>
              <a:avLst/>
              <a:gdLst>
                <a:gd name="T0" fmla="*/ 7 w 19"/>
                <a:gd name="T1" fmla="*/ 0 h 10"/>
                <a:gd name="T2" fmla="*/ 0 w 19"/>
                <a:gd name="T3" fmla="*/ 10 h 10"/>
                <a:gd name="T4" fmla="*/ 14 w 19"/>
                <a:gd name="T5" fmla="*/ 10 h 10"/>
                <a:gd name="T6" fmla="*/ 19 w 19"/>
                <a:gd name="T7" fmla="*/ 0 h 10"/>
                <a:gd name="T8" fmla="*/ 7 w 1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7" y="0"/>
                  </a:moveTo>
                  <a:lnTo>
                    <a:pt x="0" y="10"/>
                  </a:lnTo>
                  <a:lnTo>
                    <a:pt x="14" y="10"/>
                  </a:lnTo>
                  <a:lnTo>
                    <a:pt x="19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72"/>
            <p:cNvSpPr>
              <a:spLocks/>
            </p:cNvSpPr>
            <p:nvPr/>
          </p:nvSpPr>
          <p:spPr bwMode="auto">
            <a:xfrm>
              <a:off x="4633089" y="2043651"/>
              <a:ext cx="28785" cy="57569"/>
            </a:xfrm>
            <a:custGeom>
              <a:avLst/>
              <a:gdLst>
                <a:gd name="T0" fmla="*/ 0 w 20"/>
                <a:gd name="T1" fmla="*/ 0 h 40"/>
                <a:gd name="T2" fmla="*/ 3 w 20"/>
                <a:gd name="T3" fmla="*/ 18 h 40"/>
                <a:gd name="T4" fmla="*/ 13 w 20"/>
                <a:gd name="T5" fmla="*/ 20 h 40"/>
                <a:gd name="T6" fmla="*/ 15 w 20"/>
                <a:gd name="T7" fmla="*/ 40 h 40"/>
                <a:gd name="T8" fmla="*/ 20 w 20"/>
                <a:gd name="T9" fmla="*/ 28 h 40"/>
                <a:gd name="T10" fmla="*/ 20 w 20"/>
                <a:gd name="T11" fmla="*/ 15 h 40"/>
                <a:gd name="T12" fmla="*/ 18 w 20"/>
                <a:gd name="T13" fmla="*/ 0 h 40"/>
                <a:gd name="T14" fmla="*/ 0 w 20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40">
                  <a:moveTo>
                    <a:pt x="0" y="0"/>
                  </a:moveTo>
                  <a:lnTo>
                    <a:pt x="3" y="18"/>
                  </a:lnTo>
                  <a:lnTo>
                    <a:pt x="13" y="20"/>
                  </a:lnTo>
                  <a:lnTo>
                    <a:pt x="15" y="40"/>
                  </a:lnTo>
                  <a:lnTo>
                    <a:pt x="20" y="28"/>
                  </a:lnTo>
                  <a:lnTo>
                    <a:pt x="20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73"/>
            <p:cNvSpPr>
              <a:spLocks/>
            </p:cNvSpPr>
            <p:nvPr/>
          </p:nvSpPr>
          <p:spPr bwMode="auto">
            <a:xfrm>
              <a:off x="4676266" y="2047968"/>
              <a:ext cx="21589" cy="21589"/>
            </a:xfrm>
            <a:custGeom>
              <a:avLst/>
              <a:gdLst>
                <a:gd name="T0" fmla="*/ 0 w 15"/>
                <a:gd name="T1" fmla="*/ 5 h 15"/>
                <a:gd name="T2" fmla="*/ 8 w 15"/>
                <a:gd name="T3" fmla="*/ 15 h 15"/>
                <a:gd name="T4" fmla="*/ 15 w 15"/>
                <a:gd name="T5" fmla="*/ 0 h 15"/>
                <a:gd name="T6" fmla="*/ 0 w 15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5"/>
                  </a:moveTo>
                  <a:lnTo>
                    <a:pt x="8" y="15"/>
                  </a:lnTo>
                  <a:lnTo>
                    <a:pt x="1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74"/>
            <p:cNvSpPr>
              <a:spLocks/>
            </p:cNvSpPr>
            <p:nvPr/>
          </p:nvSpPr>
          <p:spPr bwMode="auto">
            <a:xfrm>
              <a:off x="6802018" y="4072973"/>
              <a:ext cx="125213" cy="246109"/>
            </a:xfrm>
            <a:custGeom>
              <a:avLst/>
              <a:gdLst>
                <a:gd name="T0" fmla="*/ 55 w 87"/>
                <a:gd name="T1" fmla="*/ 57 h 171"/>
                <a:gd name="T2" fmla="*/ 30 w 87"/>
                <a:gd name="T3" fmla="*/ 44 h 171"/>
                <a:gd name="T4" fmla="*/ 15 w 87"/>
                <a:gd name="T5" fmla="*/ 0 h 171"/>
                <a:gd name="T6" fmla="*/ 0 w 87"/>
                <a:gd name="T7" fmla="*/ 17 h 171"/>
                <a:gd name="T8" fmla="*/ 2 w 87"/>
                <a:gd name="T9" fmla="*/ 44 h 171"/>
                <a:gd name="T10" fmla="*/ 10 w 87"/>
                <a:gd name="T11" fmla="*/ 114 h 171"/>
                <a:gd name="T12" fmla="*/ 32 w 87"/>
                <a:gd name="T13" fmla="*/ 144 h 171"/>
                <a:gd name="T14" fmla="*/ 50 w 87"/>
                <a:gd name="T15" fmla="*/ 164 h 171"/>
                <a:gd name="T16" fmla="*/ 87 w 87"/>
                <a:gd name="T17" fmla="*/ 171 h 171"/>
                <a:gd name="T18" fmla="*/ 87 w 87"/>
                <a:gd name="T19" fmla="*/ 156 h 171"/>
                <a:gd name="T20" fmla="*/ 82 w 87"/>
                <a:gd name="T21" fmla="*/ 97 h 171"/>
                <a:gd name="T22" fmla="*/ 55 w 87"/>
                <a:gd name="T23" fmla="*/ 5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71">
                  <a:moveTo>
                    <a:pt x="55" y="57"/>
                  </a:moveTo>
                  <a:lnTo>
                    <a:pt x="30" y="44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2" y="44"/>
                  </a:lnTo>
                  <a:lnTo>
                    <a:pt x="10" y="114"/>
                  </a:lnTo>
                  <a:lnTo>
                    <a:pt x="32" y="144"/>
                  </a:lnTo>
                  <a:lnTo>
                    <a:pt x="50" y="164"/>
                  </a:lnTo>
                  <a:lnTo>
                    <a:pt x="87" y="171"/>
                  </a:lnTo>
                  <a:lnTo>
                    <a:pt x="87" y="156"/>
                  </a:lnTo>
                  <a:lnTo>
                    <a:pt x="82" y="97"/>
                  </a:lnTo>
                  <a:lnTo>
                    <a:pt x="5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75"/>
            <p:cNvSpPr>
              <a:spLocks/>
            </p:cNvSpPr>
            <p:nvPr/>
          </p:nvSpPr>
          <p:spPr bwMode="auto">
            <a:xfrm>
              <a:off x="4765499" y="4891897"/>
              <a:ext cx="240353" cy="279212"/>
            </a:xfrm>
            <a:custGeom>
              <a:avLst/>
              <a:gdLst>
                <a:gd name="T0" fmla="*/ 58 w 167"/>
                <a:gd name="T1" fmla="*/ 2 h 194"/>
                <a:gd name="T2" fmla="*/ 105 w 167"/>
                <a:gd name="T3" fmla="*/ 5 h 194"/>
                <a:gd name="T4" fmla="*/ 112 w 167"/>
                <a:gd name="T5" fmla="*/ 32 h 194"/>
                <a:gd name="T6" fmla="*/ 112 w 167"/>
                <a:gd name="T7" fmla="*/ 45 h 194"/>
                <a:gd name="T8" fmla="*/ 122 w 167"/>
                <a:gd name="T9" fmla="*/ 50 h 194"/>
                <a:gd name="T10" fmla="*/ 127 w 167"/>
                <a:gd name="T11" fmla="*/ 65 h 194"/>
                <a:gd name="T12" fmla="*/ 137 w 167"/>
                <a:gd name="T13" fmla="*/ 67 h 194"/>
                <a:gd name="T14" fmla="*/ 142 w 167"/>
                <a:gd name="T15" fmla="*/ 84 h 194"/>
                <a:gd name="T16" fmla="*/ 150 w 167"/>
                <a:gd name="T17" fmla="*/ 87 h 194"/>
                <a:gd name="T18" fmla="*/ 167 w 167"/>
                <a:gd name="T19" fmla="*/ 94 h 194"/>
                <a:gd name="T20" fmla="*/ 164 w 167"/>
                <a:gd name="T21" fmla="*/ 104 h 194"/>
                <a:gd name="T22" fmla="*/ 152 w 167"/>
                <a:gd name="T23" fmla="*/ 114 h 194"/>
                <a:gd name="T24" fmla="*/ 142 w 167"/>
                <a:gd name="T25" fmla="*/ 124 h 194"/>
                <a:gd name="T26" fmla="*/ 130 w 167"/>
                <a:gd name="T27" fmla="*/ 132 h 194"/>
                <a:gd name="T28" fmla="*/ 125 w 167"/>
                <a:gd name="T29" fmla="*/ 149 h 194"/>
                <a:gd name="T30" fmla="*/ 112 w 167"/>
                <a:gd name="T31" fmla="*/ 152 h 194"/>
                <a:gd name="T32" fmla="*/ 105 w 167"/>
                <a:gd name="T33" fmla="*/ 162 h 194"/>
                <a:gd name="T34" fmla="*/ 95 w 167"/>
                <a:gd name="T35" fmla="*/ 174 h 194"/>
                <a:gd name="T36" fmla="*/ 77 w 167"/>
                <a:gd name="T37" fmla="*/ 174 h 194"/>
                <a:gd name="T38" fmla="*/ 65 w 167"/>
                <a:gd name="T39" fmla="*/ 167 h 194"/>
                <a:gd name="T40" fmla="*/ 55 w 167"/>
                <a:gd name="T41" fmla="*/ 167 h 194"/>
                <a:gd name="T42" fmla="*/ 50 w 167"/>
                <a:gd name="T43" fmla="*/ 176 h 194"/>
                <a:gd name="T44" fmla="*/ 45 w 167"/>
                <a:gd name="T45" fmla="*/ 186 h 194"/>
                <a:gd name="T46" fmla="*/ 35 w 167"/>
                <a:gd name="T47" fmla="*/ 194 h 194"/>
                <a:gd name="T48" fmla="*/ 13 w 167"/>
                <a:gd name="T49" fmla="*/ 189 h 194"/>
                <a:gd name="T50" fmla="*/ 8 w 167"/>
                <a:gd name="T51" fmla="*/ 169 h 194"/>
                <a:gd name="T52" fmla="*/ 0 w 167"/>
                <a:gd name="T53" fmla="*/ 162 h 194"/>
                <a:gd name="T54" fmla="*/ 0 w 167"/>
                <a:gd name="T55" fmla="*/ 99 h 194"/>
                <a:gd name="T56" fmla="*/ 8 w 167"/>
                <a:gd name="T57" fmla="*/ 94 h 194"/>
                <a:gd name="T58" fmla="*/ 18 w 167"/>
                <a:gd name="T59" fmla="*/ 87 h 194"/>
                <a:gd name="T60" fmla="*/ 18 w 167"/>
                <a:gd name="T61" fmla="*/ 25 h 194"/>
                <a:gd name="T62" fmla="*/ 28 w 167"/>
                <a:gd name="T63" fmla="*/ 7 h 194"/>
                <a:gd name="T64" fmla="*/ 48 w 167"/>
                <a:gd name="T65" fmla="*/ 0 h 194"/>
                <a:gd name="T66" fmla="*/ 58 w 167"/>
                <a:gd name="T67" fmla="*/ 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194">
                  <a:moveTo>
                    <a:pt x="58" y="2"/>
                  </a:moveTo>
                  <a:lnTo>
                    <a:pt x="105" y="5"/>
                  </a:lnTo>
                  <a:lnTo>
                    <a:pt x="112" y="32"/>
                  </a:lnTo>
                  <a:lnTo>
                    <a:pt x="112" y="45"/>
                  </a:lnTo>
                  <a:lnTo>
                    <a:pt x="122" y="50"/>
                  </a:lnTo>
                  <a:lnTo>
                    <a:pt x="127" y="65"/>
                  </a:lnTo>
                  <a:lnTo>
                    <a:pt x="137" y="67"/>
                  </a:lnTo>
                  <a:lnTo>
                    <a:pt x="142" y="84"/>
                  </a:lnTo>
                  <a:lnTo>
                    <a:pt x="150" y="87"/>
                  </a:lnTo>
                  <a:lnTo>
                    <a:pt x="167" y="94"/>
                  </a:lnTo>
                  <a:lnTo>
                    <a:pt x="164" y="104"/>
                  </a:lnTo>
                  <a:lnTo>
                    <a:pt x="152" y="114"/>
                  </a:lnTo>
                  <a:lnTo>
                    <a:pt x="142" y="124"/>
                  </a:lnTo>
                  <a:lnTo>
                    <a:pt x="130" y="132"/>
                  </a:lnTo>
                  <a:lnTo>
                    <a:pt x="125" y="149"/>
                  </a:lnTo>
                  <a:lnTo>
                    <a:pt x="112" y="152"/>
                  </a:lnTo>
                  <a:lnTo>
                    <a:pt x="105" y="162"/>
                  </a:lnTo>
                  <a:lnTo>
                    <a:pt x="95" y="174"/>
                  </a:lnTo>
                  <a:lnTo>
                    <a:pt x="77" y="174"/>
                  </a:lnTo>
                  <a:lnTo>
                    <a:pt x="65" y="167"/>
                  </a:lnTo>
                  <a:lnTo>
                    <a:pt x="55" y="167"/>
                  </a:lnTo>
                  <a:lnTo>
                    <a:pt x="50" y="176"/>
                  </a:lnTo>
                  <a:lnTo>
                    <a:pt x="45" y="186"/>
                  </a:lnTo>
                  <a:lnTo>
                    <a:pt x="35" y="194"/>
                  </a:lnTo>
                  <a:lnTo>
                    <a:pt x="13" y="189"/>
                  </a:lnTo>
                  <a:lnTo>
                    <a:pt x="8" y="169"/>
                  </a:lnTo>
                  <a:lnTo>
                    <a:pt x="0" y="162"/>
                  </a:lnTo>
                  <a:lnTo>
                    <a:pt x="0" y="99"/>
                  </a:lnTo>
                  <a:lnTo>
                    <a:pt x="8" y="94"/>
                  </a:lnTo>
                  <a:lnTo>
                    <a:pt x="18" y="87"/>
                  </a:lnTo>
                  <a:lnTo>
                    <a:pt x="18" y="25"/>
                  </a:lnTo>
                  <a:lnTo>
                    <a:pt x="28" y="7"/>
                  </a:lnTo>
                  <a:lnTo>
                    <a:pt x="48" y="0"/>
                  </a:lnTo>
                  <a:lnTo>
                    <a:pt x="58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76"/>
            <p:cNvSpPr>
              <a:spLocks/>
            </p:cNvSpPr>
            <p:nvPr/>
          </p:nvSpPr>
          <p:spPr bwMode="auto">
            <a:xfrm>
              <a:off x="7102817" y="4670255"/>
              <a:ext cx="1016100" cy="869298"/>
            </a:xfrm>
            <a:custGeom>
              <a:avLst/>
              <a:gdLst>
                <a:gd name="T0" fmla="*/ 365 w 706"/>
                <a:gd name="T1" fmla="*/ 40 h 604"/>
                <a:gd name="T2" fmla="*/ 318 w 706"/>
                <a:gd name="T3" fmla="*/ 62 h 604"/>
                <a:gd name="T4" fmla="*/ 313 w 706"/>
                <a:gd name="T5" fmla="*/ 89 h 604"/>
                <a:gd name="T6" fmla="*/ 283 w 706"/>
                <a:gd name="T7" fmla="*/ 79 h 604"/>
                <a:gd name="T8" fmla="*/ 246 w 706"/>
                <a:gd name="T9" fmla="*/ 74 h 604"/>
                <a:gd name="T10" fmla="*/ 226 w 706"/>
                <a:gd name="T11" fmla="*/ 104 h 604"/>
                <a:gd name="T12" fmla="*/ 201 w 706"/>
                <a:gd name="T13" fmla="*/ 124 h 604"/>
                <a:gd name="T14" fmla="*/ 194 w 706"/>
                <a:gd name="T15" fmla="*/ 139 h 604"/>
                <a:gd name="T16" fmla="*/ 179 w 706"/>
                <a:gd name="T17" fmla="*/ 156 h 604"/>
                <a:gd name="T18" fmla="*/ 129 w 706"/>
                <a:gd name="T19" fmla="*/ 199 h 604"/>
                <a:gd name="T20" fmla="*/ 37 w 706"/>
                <a:gd name="T21" fmla="*/ 243 h 604"/>
                <a:gd name="T22" fmla="*/ 12 w 706"/>
                <a:gd name="T23" fmla="*/ 306 h 604"/>
                <a:gd name="T24" fmla="*/ 22 w 706"/>
                <a:gd name="T25" fmla="*/ 325 h 604"/>
                <a:gd name="T26" fmla="*/ 0 w 706"/>
                <a:gd name="T27" fmla="*/ 333 h 604"/>
                <a:gd name="T28" fmla="*/ 22 w 706"/>
                <a:gd name="T29" fmla="*/ 385 h 604"/>
                <a:gd name="T30" fmla="*/ 22 w 706"/>
                <a:gd name="T31" fmla="*/ 425 h 604"/>
                <a:gd name="T32" fmla="*/ 32 w 706"/>
                <a:gd name="T33" fmla="*/ 465 h 604"/>
                <a:gd name="T34" fmla="*/ 15 w 706"/>
                <a:gd name="T35" fmla="*/ 480 h 604"/>
                <a:gd name="T36" fmla="*/ 44 w 706"/>
                <a:gd name="T37" fmla="*/ 522 h 604"/>
                <a:gd name="T38" fmla="*/ 67 w 706"/>
                <a:gd name="T39" fmla="*/ 517 h 604"/>
                <a:gd name="T40" fmla="*/ 102 w 706"/>
                <a:gd name="T41" fmla="*/ 507 h 604"/>
                <a:gd name="T42" fmla="*/ 176 w 706"/>
                <a:gd name="T43" fmla="*/ 482 h 604"/>
                <a:gd name="T44" fmla="*/ 251 w 706"/>
                <a:gd name="T45" fmla="*/ 462 h 604"/>
                <a:gd name="T46" fmla="*/ 286 w 706"/>
                <a:gd name="T47" fmla="*/ 450 h 604"/>
                <a:gd name="T48" fmla="*/ 303 w 706"/>
                <a:gd name="T49" fmla="*/ 455 h 604"/>
                <a:gd name="T50" fmla="*/ 343 w 706"/>
                <a:gd name="T51" fmla="*/ 470 h 604"/>
                <a:gd name="T52" fmla="*/ 358 w 706"/>
                <a:gd name="T53" fmla="*/ 514 h 604"/>
                <a:gd name="T54" fmla="*/ 383 w 706"/>
                <a:gd name="T55" fmla="*/ 504 h 604"/>
                <a:gd name="T56" fmla="*/ 407 w 706"/>
                <a:gd name="T57" fmla="*/ 470 h 604"/>
                <a:gd name="T58" fmla="*/ 402 w 706"/>
                <a:gd name="T59" fmla="*/ 502 h 604"/>
                <a:gd name="T60" fmla="*/ 405 w 706"/>
                <a:gd name="T61" fmla="*/ 519 h 604"/>
                <a:gd name="T62" fmla="*/ 415 w 706"/>
                <a:gd name="T63" fmla="*/ 499 h 604"/>
                <a:gd name="T64" fmla="*/ 417 w 706"/>
                <a:gd name="T65" fmla="*/ 519 h 604"/>
                <a:gd name="T66" fmla="*/ 430 w 706"/>
                <a:gd name="T67" fmla="*/ 544 h 604"/>
                <a:gd name="T68" fmla="*/ 440 w 706"/>
                <a:gd name="T69" fmla="*/ 579 h 604"/>
                <a:gd name="T70" fmla="*/ 524 w 706"/>
                <a:gd name="T71" fmla="*/ 604 h 604"/>
                <a:gd name="T72" fmla="*/ 604 w 706"/>
                <a:gd name="T73" fmla="*/ 567 h 604"/>
                <a:gd name="T74" fmla="*/ 641 w 706"/>
                <a:gd name="T75" fmla="*/ 509 h 604"/>
                <a:gd name="T76" fmla="*/ 686 w 706"/>
                <a:gd name="T77" fmla="*/ 450 h 604"/>
                <a:gd name="T78" fmla="*/ 696 w 706"/>
                <a:gd name="T79" fmla="*/ 388 h 604"/>
                <a:gd name="T80" fmla="*/ 706 w 706"/>
                <a:gd name="T81" fmla="*/ 308 h 604"/>
                <a:gd name="T82" fmla="*/ 673 w 706"/>
                <a:gd name="T83" fmla="*/ 246 h 604"/>
                <a:gd name="T84" fmla="*/ 644 w 706"/>
                <a:gd name="T85" fmla="*/ 204 h 604"/>
                <a:gd name="T86" fmla="*/ 606 w 706"/>
                <a:gd name="T87" fmla="*/ 144 h 604"/>
                <a:gd name="T88" fmla="*/ 571 w 706"/>
                <a:gd name="T89" fmla="*/ 74 h 604"/>
                <a:gd name="T90" fmla="*/ 569 w 706"/>
                <a:gd name="T91" fmla="*/ 22 h 604"/>
                <a:gd name="T92" fmla="*/ 539 w 706"/>
                <a:gd name="T93" fmla="*/ 22 h 604"/>
                <a:gd name="T94" fmla="*/ 529 w 706"/>
                <a:gd name="T95" fmla="*/ 109 h 604"/>
                <a:gd name="T96" fmla="*/ 512 w 706"/>
                <a:gd name="T97" fmla="*/ 139 h 604"/>
                <a:gd name="T98" fmla="*/ 472 w 706"/>
                <a:gd name="T99" fmla="*/ 122 h 604"/>
                <a:gd name="T100" fmla="*/ 435 w 706"/>
                <a:gd name="T101" fmla="*/ 99 h 604"/>
                <a:gd name="T102" fmla="*/ 427 w 706"/>
                <a:gd name="T103" fmla="*/ 74 h 604"/>
                <a:gd name="T104" fmla="*/ 445 w 706"/>
                <a:gd name="T105" fmla="*/ 55 h 604"/>
                <a:gd name="T106" fmla="*/ 427 w 706"/>
                <a:gd name="T107" fmla="*/ 30 h 604"/>
                <a:gd name="T108" fmla="*/ 378 w 706"/>
                <a:gd name="T109" fmla="*/ 15 h 604"/>
                <a:gd name="T110" fmla="*/ 348 w 706"/>
                <a:gd name="T111" fmla="*/ 17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6" h="604">
                  <a:moveTo>
                    <a:pt x="360" y="25"/>
                  </a:moveTo>
                  <a:lnTo>
                    <a:pt x="365" y="40"/>
                  </a:lnTo>
                  <a:lnTo>
                    <a:pt x="330" y="45"/>
                  </a:lnTo>
                  <a:lnTo>
                    <a:pt x="318" y="62"/>
                  </a:lnTo>
                  <a:lnTo>
                    <a:pt x="315" y="72"/>
                  </a:lnTo>
                  <a:lnTo>
                    <a:pt x="313" y="89"/>
                  </a:lnTo>
                  <a:lnTo>
                    <a:pt x="291" y="94"/>
                  </a:lnTo>
                  <a:lnTo>
                    <a:pt x="283" y="79"/>
                  </a:lnTo>
                  <a:lnTo>
                    <a:pt x="273" y="67"/>
                  </a:lnTo>
                  <a:lnTo>
                    <a:pt x="246" y="74"/>
                  </a:lnTo>
                  <a:lnTo>
                    <a:pt x="241" y="89"/>
                  </a:lnTo>
                  <a:lnTo>
                    <a:pt x="226" y="104"/>
                  </a:lnTo>
                  <a:lnTo>
                    <a:pt x="211" y="112"/>
                  </a:lnTo>
                  <a:lnTo>
                    <a:pt x="201" y="124"/>
                  </a:lnTo>
                  <a:lnTo>
                    <a:pt x="201" y="139"/>
                  </a:lnTo>
                  <a:lnTo>
                    <a:pt x="194" y="139"/>
                  </a:lnTo>
                  <a:lnTo>
                    <a:pt x="184" y="124"/>
                  </a:lnTo>
                  <a:lnTo>
                    <a:pt x="179" y="156"/>
                  </a:lnTo>
                  <a:lnTo>
                    <a:pt x="154" y="189"/>
                  </a:lnTo>
                  <a:lnTo>
                    <a:pt x="129" y="199"/>
                  </a:lnTo>
                  <a:lnTo>
                    <a:pt x="67" y="216"/>
                  </a:lnTo>
                  <a:lnTo>
                    <a:pt x="37" y="243"/>
                  </a:lnTo>
                  <a:lnTo>
                    <a:pt x="7" y="246"/>
                  </a:lnTo>
                  <a:lnTo>
                    <a:pt x="12" y="306"/>
                  </a:lnTo>
                  <a:lnTo>
                    <a:pt x="25" y="313"/>
                  </a:lnTo>
                  <a:lnTo>
                    <a:pt x="22" y="325"/>
                  </a:lnTo>
                  <a:lnTo>
                    <a:pt x="2" y="313"/>
                  </a:lnTo>
                  <a:lnTo>
                    <a:pt x="0" y="333"/>
                  </a:lnTo>
                  <a:lnTo>
                    <a:pt x="10" y="365"/>
                  </a:lnTo>
                  <a:lnTo>
                    <a:pt x="22" y="385"/>
                  </a:lnTo>
                  <a:lnTo>
                    <a:pt x="22" y="408"/>
                  </a:lnTo>
                  <a:lnTo>
                    <a:pt x="22" y="425"/>
                  </a:lnTo>
                  <a:lnTo>
                    <a:pt x="30" y="430"/>
                  </a:lnTo>
                  <a:lnTo>
                    <a:pt x="32" y="465"/>
                  </a:lnTo>
                  <a:lnTo>
                    <a:pt x="22" y="465"/>
                  </a:lnTo>
                  <a:lnTo>
                    <a:pt x="15" y="480"/>
                  </a:lnTo>
                  <a:lnTo>
                    <a:pt x="7" y="490"/>
                  </a:lnTo>
                  <a:lnTo>
                    <a:pt x="44" y="522"/>
                  </a:lnTo>
                  <a:lnTo>
                    <a:pt x="59" y="527"/>
                  </a:lnTo>
                  <a:lnTo>
                    <a:pt x="67" y="517"/>
                  </a:lnTo>
                  <a:lnTo>
                    <a:pt x="74" y="504"/>
                  </a:lnTo>
                  <a:lnTo>
                    <a:pt x="102" y="507"/>
                  </a:lnTo>
                  <a:lnTo>
                    <a:pt x="164" y="497"/>
                  </a:lnTo>
                  <a:lnTo>
                    <a:pt x="176" y="482"/>
                  </a:lnTo>
                  <a:lnTo>
                    <a:pt x="194" y="467"/>
                  </a:lnTo>
                  <a:lnTo>
                    <a:pt x="251" y="462"/>
                  </a:lnTo>
                  <a:lnTo>
                    <a:pt x="263" y="450"/>
                  </a:lnTo>
                  <a:lnTo>
                    <a:pt x="286" y="450"/>
                  </a:lnTo>
                  <a:lnTo>
                    <a:pt x="300" y="445"/>
                  </a:lnTo>
                  <a:lnTo>
                    <a:pt x="303" y="455"/>
                  </a:lnTo>
                  <a:lnTo>
                    <a:pt x="328" y="457"/>
                  </a:lnTo>
                  <a:lnTo>
                    <a:pt x="343" y="470"/>
                  </a:lnTo>
                  <a:lnTo>
                    <a:pt x="355" y="492"/>
                  </a:lnTo>
                  <a:lnTo>
                    <a:pt x="358" y="514"/>
                  </a:lnTo>
                  <a:lnTo>
                    <a:pt x="368" y="512"/>
                  </a:lnTo>
                  <a:lnTo>
                    <a:pt x="383" y="504"/>
                  </a:lnTo>
                  <a:lnTo>
                    <a:pt x="397" y="490"/>
                  </a:lnTo>
                  <a:lnTo>
                    <a:pt x="407" y="470"/>
                  </a:lnTo>
                  <a:lnTo>
                    <a:pt x="407" y="487"/>
                  </a:lnTo>
                  <a:lnTo>
                    <a:pt x="402" y="502"/>
                  </a:lnTo>
                  <a:lnTo>
                    <a:pt x="390" y="517"/>
                  </a:lnTo>
                  <a:lnTo>
                    <a:pt x="405" y="519"/>
                  </a:lnTo>
                  <a:lnTo>
                    <a:pt x="407" y="507"/>
                  </a:lnTo>
                  <a:lnTo>
                    <a:pt x="415" y="499"/>
                  </a:lnTo>
                  <a:lnTo>
                    <a:pt x="415" y="507"/>
                  </a:lnTo>
                  <a:lnTo>
                    <a:pt x="417" y="519"/>
                  </a:lnTo>
                  <a:lnTo>
                    <a:pt x="427" y="529"/>
                  </a:lnTo>
                  <a:lnTo>
                    <a:pt x="430" y="544"/>
                  </a:lnTo>
                  <a:lnTo>
                    <a:pt x="422" y="562"/>
                  </a:lnTo>
                  <a:lnTo>
                    <a:pt x="440" y="579"/>
                  </a:lnTo>
                  <a:lnTo>
                    <a:pt x="479" y="594"/>
                  </a:lnTo>
                  <a:lnTo>
                    <a:pt x="524" y="604"/>
                  </a:lnTo>
                  <a:lnTo>
                    <a:pt x="554" y="591"/>
                  </a:lnTo>
                  <a:lnTo>
                    <a:pt x="604" y="567"/>
                  </a:lnTo>
                  <a:lnTo>
                    <a:pt x="619" y="529"/>
                  </a:lnTo>
                  <a:lnTo>
                    <a:pt x="641" y="509"/>
                  </a:lnTo>
                  <a:lnTo>
                    <a:pt x="656" y="480"/>
                  </a:lnTo>
                  <a:lnTo>
                    <a:pt x="686" y="450"/>
                  </a:lnTo>
                  <a:lnTo>
                    <a:pt x="696" y="437"/>
                  </a:lnTo>
                  <a:lnTo>
                    <a:pt x="696" y="388"/>
                  </a:lnTo>
                  <a:lnTo>
                    <a:pt x="706" y="323"/>
                  </a:lnTo>
                  <a:lnTo>
                    <a:pt x="706" y="308"/>
                  </a:lnTo>
                  <a:lnTo>
                    <a:pt x="683" y="281"/>
                  </a:lnTo>
                  <a:lnTo>
                    <a:pt x="673" y="246"/>
                  </a:lnTo>
                  <a:lnTo>
                    <a:pt x="649" y="236"/>
                  </a:lnTo>
                  <a:lnTo>
                    <a:pt x="644" y="204"/>
                  </a:lnTo>
                  <a:lnTo>
                    <a:pt x="609" y="184"/>
                  </a:lnTo>
                  <a:lnTo>
                    <a:pt x="606" y="144"/>
                  </a:lnTo>
                  <a:lnTo>
                    <a:pt x="594" y="99"/>
                  </a:lnTo>
                  <a:lnTo>
                    <a:pt x="571" y="74"/>
                  </a:lnTo>
                  <a:lnTo>
                    <a:pt x="562" y="40"/>
                  </a:lnTo>
                  <a:lnTo>
                    <a:pt x="569" y="22"/>
                  </a:lnTo>
                  <a:lnTo>
                    <a:pt x="552" y="0"/>
                  </a:lnTo>
                  <a:lnTo>
                    <a:pt x="539" y="22"/>
                  </a:lnTo>
                  <a:lnTo>
                    <a:pt x="529" y="35"/>
                  </a:lnTo>
                  <a:lnTo>
                    <a:pt x="529" y="109"/>
                  </a:lnTo>
                  <a:lnTo>
                    <a:pt x="519" y="127"/>
                  </a:lnTo>
                  <a:lnTo>
                    <a:pt x="512" y="139"/>
                  </a:lnTo>
                  <a:lnTo>
                    <a:pt x="492" y="139"/>
                  </a:lnTo>
                  <a:lnTo>
                    <a:pt x="472" y="122"/>
                  </a:lnTo>
                  <a:lnTo>
                    <a:pt x="450" y="114"/>
                  </a:lnTo>
                  <a:lnTo>
                    <a:pt x="435" y="99"/>
                  </a:lnTo>
                  <a:lnTo>
                    <a:pt x="420" y="94"/>
                  </a:lnTo>
                  <a:lnTo>
                    <a:pt x="427" y="74"/>
                  </a:lnTo>
                  <a:lnTo>
                    <a:pt x="432" y="60"/>
                  </a:lnTo>
                  <a:lnTo>
                    <a:pt x="445" y="55"/>
                  </a:lnTo>
                  <a:lnTo>
                    <a:pt x="452" y="35"/>
                  </a:lnTo>
                  <a:lnTo>
                    <a:pt x="427" y="30"/>
                  </a:lnTo>
                  <a:lnTo>
                    <a:pt x="405" y="27"/>
                  </a:lnTo>
                  <a:lnTo>
                    <a:pt x="378" y="15"/>
                  </a:lnTo>
                  <a:lnTo>
                    <a:pt x="350" y="10"/>
                  </a:lnTo>
                  <a:lnTo>
                    <a:pt x="348" y="17"/>
                  </a:lnTo>
                  <a:lnTo>
                    <a:pt x="36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77"/>
            <p:cNvSpPr>
              <a:spLocks/>
            </p:cNvSpPr>
            <p:nvPr/>
          </p:nvSpPr>
          <p:spPr bwMode="auto">
            <a:xfrm>
              <a:off x="7818118" y="5611515"/>
              <a:ext cx="86354" cy="89233"/>
            </a:xfrm>
            <a:custGeom>
              <a:avLst/>
              <a:gdLst>
                <a:gd name="T0" fmla="*/ 2 w 60"/>
                <a:gd name="T1" fmla="*/ 0 h 62"/>
                <a:gd name="T2" fmla="*/ 27 w 60"/>
                <a:gd name="T3" fmla="*/ 5 h 62"/>
                <a:gd name="T4" fmla="*/ 60 w 60"/>
                <a:gd name="T5" fmla="*/ 5 h 62"/>
                <a:gd name="T6" fmla="*/ 60 w 60"/>
                <a:gd name="T7" fmla="*/ 24 h 62"/>
                <a:gd name="T8" fmla="*/ 47 w 60"/>
                <a:gd name="T9" fmla="*/ 39 h 62"/>
                <a:gd name="T10" fmla="*/ 45 w 60"/>
                <a:gd name="T11" fmla="*/ 54 h 62"/>
                <a:gd name="T12" fmla="*/ 27 w 60"/>
                <a:gd name="T13" fmla="*/ 59 h 62"/>
                <a:gd name="T14" fmla="*/ 12 w 60"/>
                <a:gd name="T15" fmla="*/ 62 h 62"/>
                <a:gd name="T16" fmla="*/ 0 w 60"/>
                <a:gd name="T17" fmla="*/ 54 h 62"/>
                <a:gd name="T18" fmla="*/ 2 w 60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2">
                  <a:moveTo>
                    <a:pt x="2" y="0"/>
                  </a:moveTo>
                  <a:lnTo>
                    <a:pt x="27" y="5"/>
                  </a:lnTo>
                  <a:lnTo>
                    <a:pt x="60" y="5"/>
                  </a:lnTo>
                  <a:lnTo>
                    <a:pt x="60" y="24"/>
                  </a:lnTo>
                  <a:lnTo>
                    <a:pt x="47" y="39"/>
                  </a:lnTo>
                  <a:lnTo>
                    <a:pt x="45" y="54"/>
                  </a:lnTo>
                  <a:lnTo>
                    <a:pt x="27" y="59"/>
                  </a:lnTo>
                  <a:lnTo>
                    <a:pt x="12" y="62"/>
                  </a:lnTo>
                  <a:lnTo>
                    <a:pt x="0" y="5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78"/>
            <p:cNvSpPr>
              <a:spLocks/>
            </p:cNvSpPr>
            <p:nvPr/>
          </p:nvSpPr>
          <p:spPr bwMode="auto">
            <a:xfrm>
              <a:off x="8557885" y="5402826"/>
              <a:ext cx="119456" cy="233156"/>
            </a:xfrm>
            <a:custGeom>
              <a:avLst/>
              <a:gdLst>
                <a:gd name="T0" fmla="*/ 8 w 83"/>
                <a:gd name="T1" fmla="*/ 0 h 162"/>
                <a:gd name="T2" fmla="*/ 8 w 83"/>
                <a:gd name="T3" fmla="*/ 20 h 162"/>
                <a:gd name="T4" fmla="*/ 15 w 83"/>
                <a:gd name="T5" fmla="*/ 43 h 162"/>
                <a:gd name="T6" fmla="*/ 25 w 83"/>
                <a:gd name="T7" fmla="*/ 60 h 162"/>
                <a:gd name="T8" fmla="*/ 18 w 83"/>
                <a:gd name="T9" fmla="*/ 82 h 162"/>
                <a:gd name="T10" fmla="*/ 0 w 83"/>
                <a:gd name="T11" fmla="*/ 102 h 162"/>
                <a:gd name="T12" fmla="*/ 3 w 83"/>
                <a:gd name="T13" fmla="*/ 117 h 162"/>
                <a:gd name="T14" fmla="*/ 8 w 83"/>
                <a:gd name="T15" fmla="*/ 155 h 162"/>
                <a:gd name="T16" fmla="*/ 25 w 83"/>
                <a:gd name="T17" fmla="*/ 162 h 162"/>
                <a:gd name="T18" fmla="*/ 30 w 83"/>
                <a:gd name="T19" fmla="*/ 137 h 162"/>
                <a:gd name="T20" fmla="*/ 48 w 83"/>
                <a:gd name="T21" fmla="*/ 120 h 162"/>
                <a:gd name="T22" fmla="*/ 75 w 83"/>
                <a:gd name="T23" fmla="*/ 105 h 162"/>
                <a:gd name="T24" fmla="*/ 83 w 83"/>
                <a:gd name="T25" fmla="*/ 85 h 162"/>
                <a:gd name="T26" fmla="*/ 80 w 83"/>
                <a:gd name="T27" fmla="*/ 70 h 162"/>
                <a:gd name="T28" fmla="*/ 50 w 83"/>
                <a:gd name="T29" fmla="*/ 70 h 162"/>
                <a:gd name="T30" fmla="*/ 48 w 83"/>
                <a:gd name="T31" fmla="*/ 45 h 162"/>
                <a:gd name="T32" fmla="*/ 40 w 83"/>
                <a:gd name="T33" fmla="*/ 45 h 162"/>
                <a:gd name="T34" fmla="*/ 28 w 83"/>
                <a:gd name="T35" fmla="*/ 40 h 162"/>
                <a:gd name="T36" fmla="*/ 30 w 83"/>
                <a:gd name="T37" fmla="*/ 18 h 162"/>
                <a:gd name="T38" fmla="*/ 23 w 83"/>
                <a:gd name="T39" fmla="*/ 3 h 162"/>
                <a:gd name="T40" fmla="*/ 8 w 83"/>
                <a:gd name="T4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3" h="162">
                  <a:moveTo>
                    <a:pt x="8" y="0"/>
                  </a:moveTo>
                  <a:lnTo>
                    <a:pt x="8" y="20"/>
                  </a:lnTo>
                  <a:lnTo>
                    <a:pt x="15" y="43"/>
                  </a:lnTo>
                  <a:lnTo>
                    <a:pt x="25" y="60"/>
                  </a:lnTo>
                  <a:lnTo>
                    <a:pt x="18" y="82"/>
                  </a:lnTo>
                  <a:lnTo>
                    <a:pt x="0" y="102"/>
                  </a:lnTo>
                  <a:lnTo>
                    <a:pt x="3" y="117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30" y="137"/>
                  </a:lnTo>
                  <a:lnTo>
                    <a:pt x="48" y="120"/>
                  </a:lnTo>
                  <a:lnTo>
                    <a:pt x="75" y="105"/>
                  </a:lnTo>
                  <a:lnTo>
                    <a:pt x="83" y="85"/>
                  </a:lnTo>
                  <a:lnTo>
                    <a:pt x="80" y="70"/>
                  </a:lnTo>
                  <a:lnTo>
                    <a:pt x="50" y="70"/>
                  </a:lnTo>
                  <a:lnTo>
                    <a:pt x="48" y="45"/>
                  </a:lnTo>
                  <a:lnTo>
                    <a:pt x="40" y="45"/>
                  </a:lnTo>
                  <a:lnTo>
                    <a:pt x="28" y="40"/>
                  </a:lnTo>
                  <a:lnTo>
                    <a:pt x="30" y="18"/>
                  </a:lnTo>
                  <a:lnTo>
                    <a:pt x="23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79"/>
            <p:cNvSpPr>
              <a:spLocks/>
            </p:cNvSpPr>
            <p:nvPr/>
          </p:nvSpPr>
          <p:spPr bwMode="auto">
            <a:xfrm>
              <a:off x="8321850" y="5597123"/>
              <a:ext cx="223081" cy="221642"/>
            </a:xfrm>
            <a:custGeom>
              <a:avLst/>
              <a:gdLst>
                <a:gd name="T0" fmla="*/ 122 w 155"/>
                <a:gd name="T1" fmla="*/ 0 h 154"/>
                <a:gd name="T2" fmla="*/ 117 w 155"/>
                <a:gd name="T3" fmla="*/ 25 h 154"/>
                <a:gd name="T4" fmla="*/ 92 w 155"/>
                <a:gd name="T5" fmla="*/ 37 h 154"/>
                <a:gd name="T6" fmla="*/ 75 w 155"/>
                <a:gd name="T7" fmla="*/ 62 h 154"/>
                <a:gd name="T8" fmla="*/ 30 w 155"/>
                <a:gd name="T9" fmla="*/ 82 h 154"/>
                <a:gd name="T10" fmla="*/ 0 w 155"/>
                <a:gd name="T11" fmla="*/ 109 h 154"/>
                <a:gd name="T12" fmla="*/ 8 w 155"/>
                <a:gd name="T13" fmla="*/ 126 h 154"/>
                <a:gd name="T14" fmla="*/ 33 w 155"/>
                <a:gd name="T15" fmla="*/ 154 h 154"/>
                <a:gd name="T16" fmla="*/ 68 w 155"/>
                <a:gd name="T17" fmla="*/ 124 h 154"/>
                <a:gd name="T18" fmla="*/ 77 w 155"/>
                <a:gd name="T19" fmla="*/ 99 h 154"/>
                <a:gd name="T20" fmla="*/ 102 w 155"/>
                <a:gd name="T21" fmla="*/ 79 h 154"/>
                <a:gd name="T22" fmla="*/ 115 w 155"/>
                <a:gd name="T23" fmla="*/ 79 h 154"/>
                <a:gd name="T24" fmla="*/ 125 w 155"/>
                <a:gd name="T25" fmla="*/ 59 h 154"/>
                <a:gd name="T26" fmla="*/ 140 w 155"/>
                <a:gd name="T27" fmla="*/ 39 h 154"/>
                <a:gd name="T28" fmla="*/ 155 w 155"/>
                <a:gd name="T29" fmla="*/ 25 h 154"/>
                <a:gd name="T30" fmla="*/ 147 w 155"/>
                <a:gd name="T31" fmla="*/ 5 h 154"/>
                <a:gd name="T32" fmla="*/ 140 w 155"/>
                <a:gd name="T33" fmla="*/ 15 h 154"/>
                <a:gd name="T34" fmla="*/ 137 w 155"/>
                <a:gd name="T35" fmla="*/ 0 h 154"/>
                <a:gd name="T36" fmla="*/ 122 w 155"/>
                <a:gd name="T3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4">
                  <a:moveTo>
                    <a:pt x="122" y="0"/>
                  </a:moveTo>
                  <a:lnTo>
                    <a:pt x="117" y="25"/>
                  </a:lnTo>
                  <a:lnTo>
                    <a:pt x="92" y="37"/>
                  </a:lnTo>
                  <a:lnTo>
                    <a:pt x="75" y="62"/>
                  </a:lnTo>
                  <a:lnTo>
                    <a:pt x="30" y="82"/>
                  </a:lnTo>
                  <a:lnTo>
                    <a:pt x="0" y="109"/>
                  </a:lnTo>
                  <a:lnTo>
                    <a:pt x="8" y="126"/>
                  </a:lnTo>
                  <a:lnTo>
                    <a:pt x="33" y="154"/>
                  </a:lnTo>
                  <a:lnTo>
                    <a:pt x="68" y="124"/>
                  </a:lnTo>
                  <a:lnTo>
                    <a:pt x="77" y="99"/>
                  </a:lnTo>
                  <a:lnTo>
                    <a:pt x="102" y="79"/>
                  </a:lnTo>
                  <a:lnTo>
                    <a:pt x="115" y="79"/>
                  </a:lnTo>
                  <a:lnTo>
                    <a:pt x="125" y="59"/>
                  </a:lnTo>
                  <a:lnTo>
                    <a:pt x="140" y="39"/>
                  </a:lnTo>
                  <a:lnTo>
                    <a:pt x="155" y="25"/>
                  </a:lnTo>
                  <a:lnTo>
                    <a:pt x="147" y="5"/>
                  </a:lnTo>
                  <a:lnTo>
                    <a:pt x="140" y="15"/>
                  </a:lnTo>
                  <a:lnTo>
                    <a:pt x="137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80"/>
            <p:cNvSpPr>
              <a:spLocks/>
            </p:cNvSpPr>
            <p:nvPr/>
          </p:nvSpPr>
          <p:spPr bwMode="auto">
            <a:xfrm>
              <a:off x="7688587" y="2938855"/>
              <a:ext cx="122335" cy="156876"/>
            </a:xfrm>
            <a:custGeom>
              <a:avLst/>
              <a:gdLst>
                <a:gd name="T0" fmla="*/ 13 w 85"/>
                <a:gd name="T1" fmla="*/ 10 h 109"/>
                <a:gd name="T2" fmla="*/ 18 w 85"/>
                <a:gd name="T3" fmla="*/ 35 h 109"/>
                <a:gd name="T4" fmla="*/ 20 w 85"/>
                <a:gd name="T5" fmla="*/ 54 h 109"/>
                <a:gd name="T6" fmla="*/ 8 w 85"/>
                <a:gd name="T7" fmla="*/ 74 h 109"/>
                <a:gd name="T8" fmla="*/ 0 w 85"/>
                <a:gd name="T9" fmla="*/ 92 h 109"/>
                <a:gd name="T10" fmla="*/ 10 w 85"/>
                <a:gd name="T11" fmla="*/ 99 h 109"/>
                <a:gd name="T12" fmla="*/ 30 w 85"/>
                <a:gd name="T13" fmla="*/ 92 h 109"/>
                <a:gd name="T14" fmla="*/ 50 w 85"/>
                <a:gd name="T15" fmla="*/ 97 h 109"/>
                <a:gd name="T16" fmla="*/ 55 w 85"/>
                <a:gd name="T17" fmla="*/ 104 h 109"/>
                <a:gd name="T18" fmla="*/ 58 w 85"/>
                <a:gd name="T19" fmla="*/ 109 h 109"/>
                <a:gd name="T20" fmla="*/ 60 w 85"/>
                <a:gd name="T21" fmla="*/ 109 h 109"/>
                <a:gd name="T22" fmla="*/ 65 w 85"/>
                <a:gd name="T23" fmla="*/ 94 h 109"/>
                <a:gd name="T24" fmla="*/ 72 w 85"/>
                <a:gd name="T25" fmla="*/ 84 h 109"/>
                <a:gd name="T26" fmla="*/ 85 w 85"/>
                <a:gd name="T27" fmla="*/ 77 h 109"/>
                <a:gd name="T28" fmla="*/ 80 w 85"/>
                <a:gd name="T29" fmla="*/ 54 h 109"/>
                <a:gd name="T30" fmla="*/ 63 w 85"/>
                <a:gd name="T31" fmla="*/ 47 h 109"/>
                <a:gd name="T32" fmla="*/ 38 w 85"/>
                <a:gd name="T33" fmla="*/ 37 h 109"/>
                <a:gd name="T34" fmla="*/ 30 w 85"/>
                <a:gd name="T35" fmla="*/ 17 h 109"/>
                <a:gd name="T36" fmla="*/ 20 w 85"/>
                <a:gd name="T37" fmla="*/ 0 h 109"/>
                <a:gd name="T38" fmla="*/ 13 w 85"/>
                <a:gd name="T39" fmla="*/ 1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13" y="10"/>
                  </a:moveTo>
                  <a:lnTo>
                    <a:pt x="18" y="35"/>
                  </a:lnTo>
                  <a:lnTo>
                    <a:pt x="20" y="54"/>
                  </a:lnTo>
                  <a:lnTo>
                    <a:pt x="8" y="74"/>
                  </a:lnTo>
                  <a:lnTo>
                    <a:pt x="0" y="92"/>
                  </a:lnTo>
                  <a:lnTo>
                    <a:pt x="10" y="99"/>
                  </a:lnTo>
                  <a:lnTo>
                    <a:pt x="30" y="92"/>
                  </a:lnTo>
                  <a:lnTo>
                    <a:pt x="50" y="97"/>
                  </a:lnTo>
                  <a:lnTo>
                    <a:pt x="55" y="104"/>
                  </a:lnTo>
                  <a:lnTo>
                    <a:pt x="58" y="109"/>
                  </a:lnTo>
                  <a:lnTo>
                    <a:pt x="60" y="109"/>
                  </a:lnTo>
                  <a:lnTo>
                    <a:pt x="65" y="94"/>
                  </a:lnTo>
                  <a:lnTo>
                    <a:pt x="72" y="84"/>
                  </a:lnTo>
                  <a:lnTo>
                    <a:pt x="85" y="77"/>
                  </a:lnTo>
                  <a:lnTo>
                    <a:pt x="80" y="54"/>
                  </a:lnTo>
                  <a:lnTo>
                    <a:pt x="63" y="47"/>
                  </a:lnTo>
                  <a:lnTo>
                    <a:pt x="38" y="37"/>
                  </a:lnTo>
                  <a:lnTo>
                    <a:pt x="30" y="17"/>
                  </a:lnTo>
                  <a:lnTo>
                    <a:pt x="20" y="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81"/>
            <p:cNvSpPr>
              <a:spLocks/>
            </p:cNvSpPr>
            <p:nvPr/>
          </p:nvSpPr>
          <p:spPr bwMode="auto">
            <a:xfrm>
              <a:off x="7541785" y="3110124"/>
              <a:ext cx="240352" cy="250427"/>
            </a:xfrm>
            <a:custGeom>
              <a:avLst/>
              <a:gdLst>
                <a:gd name="T0" fmla="*/ 122 w 167"/>
                <a:gd name="T1" fmla="*/ 0 h 174"/>
                <a:gd name="T2" fmla="*/ 140 w 167"/>
                <a:gd name="T3" fmla="*/ 0 h 174"/>
                <a:gd name="T4" fmla="*/ 147 w 167"/>
                <a:gd name="T5" fmla="*/ 30 h 174"/>
                <a:gd name="T6" fmla="*/ 152 w 167"/>
                <a:gd name="T7" fmla="*/ 42 h 174"/>
                <a:gd name="T8" fmla="*/ 167 w 167"/>
                <a:gd name="T9" fmla="*/ 55 h 174"/>
                <a:gd name="T10" fmla="*/ 145 w 167"/>
                <a:gd name="T11" fmla="*/ 75 h 174"/>
                <a:gd name="T12" fmla="*/ 155 w 167"/>
                <a:gd name="T13" fmla="*/ 107 h 174"/>
                <a:gd name="T14" fmla="*/ 150 w 167"/>
                <a:gd name="T15" fmla="*/ 127 h 174"/>
                <a:gd name="T16" fmla="*/ 140 w 167"/>
                <a:gd name="T17" fmla="*/ 137 h 174"/>
                <a:gd name="T18" fmla="*/ 132 w 167"/>
                <a:gd name="T19" fmla="*/ 139 h 174"/>
                <a:gd name="T20" fmla="*/ 125 w 167"/>
                <a:gd name="T21" fmla="*/ 157 h 174"/>
                <a:gd name="T22" fmla="*/ 112 w 167"/>
                <a:gd name="T23" fmla="*/ 142 h 174"/>
                <a:gd name="T24" fmla="*/ 107 w 167"/>
                <a:gd name="T25" fmla="*/ 149 h 174"/>
                <a:gd name="T26" fmla="*/ 82 w 167"/>
                <a:gd name="T27" fmla="*/ 152 h 174"/>
                <a:gd name="T28" fmla="*/ 78 w 167"/>
                <a:gd name="T29" fmla="*/ 139 h 174"/>
                <a:gd name="T30" fmla="*/ 70 w 167"/>
                <a:gd name="T31" fmla="*/ 144 h 174"/>
                <a:gd name="T32" fmla="*/ 70 w 167"/>
                <a:gd name="T33" fmla="*/ 172 h 174"/>
                <a:gd name="T34" fmla="*/ 58 w 167"/>
                <a:gd name="T35" fmla="*/ 164 h 174"/>
                <a:gd name="T36" fmla="*/ 50 w 167"/>
                <a:gd name="T37" fmla="*/ 154 h 174"/>
                <a:gd name="T38" fmla="*/ 45 w 167"/>
                <a:gd name="T39" fmla="*/ 172 h 174"/>
                <a:gd name="T40" fmla="*/ 33 w 167"/>
                <a:gd name="T41" fmla="*/ 174 h 174"/>
                <a:gd name="T42" fmla="*/ 23 w 167"/>
                <a:gd name="T43" fmla="*/ 162 h 174"/>
                <a:gd name="T44" fmla="*/ 8 w 167"/>
                <a:gd name="T45" fmla="*/ 159 h 174"/>
                <a:gd name="T46" fmla="*/ 0 w 167"/>
                <a:gd name="T47" fmla="*/ 152 h 174"/>
                <a:gd name="T48" fmla="*/ 15 w 167"/>
                <a:gd name="T49" fmla="*/ 137 h 174"/>
                <a:gd name="T50" fmla="*/ 30 w 167"/>
                <a:gd name="T51" fmla="*/ 129 h 174"/>
                <a:gd name="T52" fmla="*/ 40 w 167"/>
                <a:gd name="T53" fmla="*/ 119 h 174"/>
                <a:gd name="T54" fmla="*/ 68 w 167"/>
                <a:gd name="T55" fmla="*/ 122 h 174"/>
                <a:gd name="T56" fmla="*/ 70 w 167"/>
                <a:gd name="T57" fmla="*/ 104 h 174"/>
                <a:gd name="T58" fmla="*/ 75 w 167"/>
                <a:gd name="T59" fmla="*/ 90 h 174"/>
                <a:gd name="T60" fmla="*/ 85 w 167"/>
                <a:gd name="T61" fmla="*/ 92 h 174"/>
                <a:gd name="T62" fmla="*/ 110 w 167"/>
                <a:gd name="T63" fmla="*/ 90 h 174"/>
                <a:gd name="T64" fmla="*/ 112 w 167"/>
                <a:gd name="T65" fmla="*/ 77 h 174"/>
                <a:gd name="T66" fmla="*/ 112 w 167"/>
                <a:gd name="T67" fmla="*/ 55 h 174"/>
                <a:gd name="T68" fmla="*/ 120 w 167"/>
                <a:gd name="T69" fmla="*/ 42 h 174"/>
                <a:gd name="T70" fmla="*/ 115 w 167"/>
                <a:gd name="T71" fmla="*/ 12 h 174"/>
                <a:gd name="T72" fmla="*/ 122 w 167"/>
                <a:gd name="T7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74">
                  <a:moveTo>
                    <a:pt x="122" y="0"/>
                  </a:moveTo>
                  <a:lnTo>
                    <a:pt x="140" y="0"/>
                  </a:lnTo>
                  <a:lnTo>
                    <a:pt x="147" y="30"/>
                  </a:lnTo>
                  <a:lnTo>
                    <a:pt x="152" y="42"/>
                  </a:lnTo>
                  <a:lnTo>
                    <a:pt x="167" y="55"/>
                  </a:lnTo>
                  <a:lnTo>
                    <a:pt x="145" y="75"/>
                  </a:lnTo>
                  <a:lnTo>
                    <a:pt x="155" y="107"/>
                  </a:lnTo>
                  <a:lnTo>
                    <a:pt x="150" y="127"/>
                  </a:lnTo>
                  <a:lnTo>
                    <a:pt x="140" y="137"/>
                  </a:lnTo>
                  <a:lnTo>
                    <a:pt x="132" y="139"/>
                  </a:lnTo>
                  <a:lnTo>
                    <a:pt x="125" y="157"/>
                  </a:lnTo>
                  <a:lnTo>
                    <a:pt x="112" y="142"/>
                  </a:lnTo>
                  <a:lnTo>
                    <a:pt x="107" y="149"/>
                  </a:lnTo>
                  <a:lnTo>
                    <a:pt x="82" y="152"/>
                  </a:lnTo>
                  <a:lnTo>
                    <a:pt x="78" y="139"/>
                  </a:lnTo>
                  <a:lnTo>
                    <a:pt x="70" y="144"/>
                  </a:lnTo>
                  <a:lnTo>
                    <a:pt x="70" y="172"/>
                  </a:lnTo>
                  <a:lnTo>
                    <a:pt x="58" y="164"/>
                  </a:lnTo>
                  <a:lnTo>
                    <a:pt x="50" y="154"/>
                  </a:lnTo>
                  <a:lnTo>
                    <a:pt x="45" y="172"/>
                  </a:lnTo>
                  <a:lnTo>
                    <a:pt x="33" y="174"/>
                  </a:lnTo>
                  <a:lnTo>
                    <a:pt x="23" y="162"/>
                  </a:lnTo>
                  <a:lnTo>
                    <a:pt x="8" y="159"/>
                  </a:lnTo>
                  <a:lnTo>
                    <a:pt x="0" y="152"/>
                  </a:lnTo>
                  <a:lnTo>
                    <a:pt x="15" y="137"/>
                  </a:lnTo>
                  <a:lnTo>
                    <a:pt x="30" y="129"/>
                  </a:lnTo>
                  <a:lnTo>
                    <a:pt x="40" y="119"/>
                  </a:lnTo>
                  <a:lnTo>
                    <a:pt x="68" y="122"/>
                  </a:lnTo>
                  <a:lnTo>
                    <a:pt x="70" y="104"/>
                  </a:lnTo>
                  <a:lnTo>
                    <a:pt x="75" y="90"/>
                  </a:lnTo>
                  <a:lnTo>
                    <a:pt x="85" y="92"/>
                  </a:lnTo>
                  <a:lnTo>
                    <a:pt x="110" y="90"/>
                  </a:lnTo>
                  <a:lnTo>
                    <a:pt x="112" y="77"/>
                  </a:lnTo>
                  <a:lnTo>
                    <a:pt x="112" y="55"/>
                  </a:lnTo>
                  <a:lnTo>
                    <a:pt x="120" y="42"/>
                  </a:lnTo>
                  <a:lnTo>
                    <a:pt x="115" y="12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82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83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84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85"/>
            <p:cNvSpPr>
              <a:spLocks/>
            </p:cNvSpPr>
            <p:nvPr/>
          </p:nvSpPr>
          <p:spPr bwMode="auto">
            <a:xfrm>
              <a:off x="7485654" y="3350477"/>
              <a:ext cx="56131" cy="92111"/>
            </a:xfrm>
            <a:custGeom>
              <a:avLst/>
              <a:gdLst>
                <a:gd name="T0" fmla="*/ 17 w 39"/>
                <a:gd name="T1" fmla="*/ 5 h 64"/>
                <a:gd name="T2" fmla="*/ 10 w 39"/>
                <a:gd name="T3" fmla="*/ 17 h 64"/>
                <a:gd name="T4" fmla="*/ 0 w 39"/>
                <a:gd name="T5" fmla="*/ 24 h 64"/>
                <a:gd name="T6" fmla="*/ 7 w 39"/>
                <a:gd name="T7" fmla="*/ 42 h 64"/>
                <a:gd name="T8" fmla="*/ 17 w 39"/>
                <a:gd name="T9" fmla="*/ 34 h 64"/>
                <a:gd name="T10" fmla="*/ 25 w 39"/>
                <a:gd name="T11" fmla="*/ 37 h 64"/>
                <a:gd name="T12" fmla="*/ 22 w 39"/>
                <a:gd name="T13" fmla="*/ 49 h 64"/>
                <a:gd name="T14" fmla="*/ 30 w 39"/>
                <a:gd name="T15" fmla="*/ 64 h 64"/>
                <a:gd name="T16" fmla="*/ 39 w 39"/>
                <a:gd name="T17" fmla="*/ 57 h 64"/>
                <a:gd name="T18" fmla="*/ 39 w 39"/>
                <a:gd name="T19" fmla="*/ 37 h 64"/>
                <a:gd name="T20" fmla="*/ 37 w 39"/>
                <a:gd name="T21" fmla="*/ 10 h 64"/>
                <a:gd name="T22" fmla="*/ 32 w 39"/>
                <a:gd name="T23" fmla="*/ 0 h 64"/>
                <a:gd name="T24" fmla="*/ 17 w 39"/>
                <a:gd name="T25" fmla="*/ 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64">
                  <a:moveTo>
                    <a:pt x="17" y="5"/>
                  </a:moveTo>
                  <a:lnTo>
                    <a:pt x="10" y="17"/>
                  </a:lnTo>
                  <a:lnTo>
                    <a:pt x="0" y="24"/>
                  </a:lnTo>
                  <a:lnTo>
                    <a:pt x="7" y="42"/>
                  </a:lnTo>
                  <a:lnTo>
                    <a:pt x="17" y="34"/>
                  </a:lnTo>
                  <a:lnTo>
                    <a:pt x="25" y="37"/>
                  </a:lnTo>
                  <a:lnTo>
                    <a:pt x="22" y="49"/>
                  </a:lnTo>
                  <a:lnTo>
                    <a:pt x="30" y="64"/>
                  </a:lnTo>
                  <a:lnTo>
                    <a:pt x="39" y="57"/>
                  </a:lnTo>
                  <a:lnTo>
                    <a:pt x="39" y="37"/>
                  </a:lnTo>
                  <a:lnTo>
                    <a:pt x="37" y="10"/>
                  </a:lnTo>
                  <a:lnTo>
                    <a:pt x="32" y="0"/>
                  </a:lnTo>
                  <a:lnTo>
                    <a:pt x="1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86"/>
            <p:cNvSpPr>
              <a:spLocks/>
            </p:cNvSpPr>
            <p:nvPr/>
          </p:nvSpPr>
          <p:spPr bwMode="auto">
            <a:xfrm>
              <a:off x="8419718" y="4971056"/>
              <a:ext cx="63326" cy="48934"/>
            </a:xfrm>
            <a:custGeom>
              <a:avLst/>
              <a:gdLst>
                <a:gd name="T0" fmla="*/ 12 w 44"/>
                <a:gd name="T1" fmla="*/ 0 h 34"/>
                <a:gd name="T2" fmla="*/ 0 w 44"/>
                <a:gd name="T3" fmla="*/ 7 h 34"/>
                <a:gd name="T4" fmla="*/ 7 w 44"/>
                <a:gd name="T5" fmla="*/ 17 h 34"/>
                <a:gd name="T6" fmla="*/ 22 w 44"/>
                <a:gd name="T7" fmla="*/ 27 h 34"/>
                <a:gd name="T8" fmla="*/ 39 w 44"/>
                <a:gd name="T9" fmla="*/ 34 h 34"/>
                <a:gd name="T10" fmla="*/ 44 w 44"/>
                <a:gd name="T11" fmla="*/ 25 h 34"/>
                <a:gd name="T12" fmla="*/ 32 w 44"/>
                <a:gd name="T13" fmla="*/ 7 h 34"/>
                <a:gd name="T14" fmla="*/ 12 w 4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4">
                  <a:moveTo>
                    <a:pt x="12" y="0"/>
                  </a:moveTo>
                  <a:lnTo>
                    <a:pt x="0" y="7"/>
                  </a:lnTo>
                  <a:lnTo>
                    <a:pt x="7" y="17"/>
                  </a:lnTo>
                  <a:lnTo>
                    <a:pt x="22" y="27"/>
                  </a:lnTo>
                  <a:lnTo>
                    <a:pt x="39" y="34"/>
                  </a:lnTo>
                  <a:lnTo>
                    <a:pt x="44" y="25"/>
                  </a:lnTo>
                  <a:lnTo>
                    <a:pt x="32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87"/>
            <p:cNvSpPr>
              <a:spLocks/>
            </p:cNvSpPr>
            <p:nvPr/>
          </p:nvSpPr>
          <p:spPr bwMode="auto">
            <a:xfrm>
              <a:off x="4490606" y="1561507"/>
              <a:ext cx="289286" cy="175587"/>
            </a:xfrm>
            <a:custGeom>
              <a:avLst/>
              <a:gdLst>
                <a:gd name="T0" fmla="*/ 79 w 201"/>
                <a:gd name="T1" fmla="*/ 5 h 122"/>
                <a:gd name="T2" fmla="*/ 75 w 201"/>
                <a:gd name="T3" fmla="*/ 30 h 122"/>
                <a:gd name="T4" fmla="*/ 52 w 201"/>
                <a:gd name="T5" fmla="*/ 15 h 122"/>
                <a:gd name="T6" fmla="*/ 35 w 201"/>
                <a:gd name="T7" fmla="*/ 25 h 122"/>
                <a:gd name="T8" fmla="*/ 25 w 201"/>
                <a:gd name="T9" fmla="*/ 5 h 122"/>
                <a:gd name="T10" fmla="*/ 0 w 201"/>
                <a:gd name="T11" fmla="*/ 22 h 122"/>
                <a:gd name="T12" fmla="*/ 5 w 201"/>
                <a:gd name="T13" fmla="*/ 35 h 122"/>
                <a:gd name="T14" fmla="*/ 10 w 201"/>
                <a:gd name="T15" fmla="*/ 57 h 122"/>
                <a:gd name="T16" fmla="*/ 37 w 201"/>
                <a:gd name="T17" fmla="*/ 59 h 122"/>
                <a:gd name="T18" fmla="*/ 52 w 201"/>
                <a:gd name="T19" fmla="*/ 44 h 122"/>
                <a:gd name="T20" fmla="*/ 65 w 201"/>
                <a:gd name="T21" fmla="*/ 47 h 122"/>
                <a:gd name="T22" fmla="*/ 57 w 201"/>
                <a:gd name="T23" fmla="*/ 64 h 122"/>
                <a:gd name="T24" fmla="*/ 55 w 201"/>
                <a:gd name="T25" fmla="*/ 79 h 122"/>
                <a:gd name="T26" fmla="*/ 70 w 201"/>
                <a:gd name="T27" fmla="*/ 94 h 122"/>
                <a:gd name="T28" fmla="*/ 82 w 201"/>
                <a:gd name="T29" fmla="*/ 114 h 122"/>
                <a:gd name="T30" fmla="*/ 99 w 201"/>
                <a:gd name="T31" fmla="*/ 122 h 122"/>
                <a:gd name="T32" fmla="*/ 107 w 201"/>
                <a:gd name="T33" fmla="*/ 89 h 122"/>
                <a:gd name="T34" fmla="*/ 132 w 201"/>
                <a:gd name="T35" fmla="*/ 62 h 122"/>
                <a:gd name="T36" fmla="*/ 147 w 201"/>
                <a:gd name="T37" fmla="*/ 72 h 122"/>
                <a:gd name="T38" fmla="*/ 147 w 201"/>
                <a:gd name="T39" fmla="*/ 94 h 122"/>
                <a:gd name="T40" fmla="*/ 176 w 201"/>
                <a:gd name="T41" fmla="*/ 89 h 122"/>
                <a:gd name="T42" fmla="*/ 191 w 201"/>
                <a:gd name="T43" fmla="*/ 97 h 122"/>
                <a:gd name="T44" fmla="*/ 201 w 201"/>
                <a:gd name="T45" fmla="*/ 74 h 122"/>
                <a:gd name="T46" fmla="*/ 132 w 201"/>
                <a:gd name="T47" fmla="*/ 37 h 122"/>
                <a:gd name="T48" fmla="*/ 109 w 201"/>
                <a:gd name="T49" fmla="*/ 0 h 122"/>
                <a:gd name="T50" fmla="*/ 79 w 201"/>
                <a:gd name="T5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1" h="122">
                  <a:moveTo>
                    <a:pt x="79" y="5"/>
                  </a:moveTo>
                  <a:lnTo>
                    <a:pt x="75" y="30"/>
                  </a:lnTo>
                  <a:lnTo>
                    <a:pt x="52" y="15"/>
                  </a:lnTo>
                  <a:lnTo>
                    <a:pt x="35" y="25"/>
                  </a:lnTo>
                  <a:lnTo>
                    <a:pt x="25" y="5"/>
                  </a:lnTo>
                  <a:lnTo>
                    <a:pt x="0" y="22"/>
                  </a:lnTo>
                  <a:lnTo>
                    <a:pt x="5" y="35"/>
                  </a:lnTo>
                  <a:lnTo>
                    <a:pt x="10" y="57"/>
                  </a:lnTo>
                  <a:lnTo>
                    <a:pt x="37" y="59"/>
                  </a:lnTo>
                  <a:lnTo>
                    <a:pt x="52" y="44"/>
                  </a:lnTo>
                  <a:lnTo>
                    <a:pt x="65" y="47"/>
                  </a:lnTo>
                  <a:lnTo>
                    <a:pt x="57" y="64"/>
                  </a:lnTo>
                  <a:lnTo>
                    <a:pt x="55" y="79"/>
                  </a:lnTo>
                  <a:lnTo>
                    <a:pt x="70" y="94"/>
                  </a:lnTo>
                  <a:lnTo>
                    <a:pt x="82" y="114"/>
                  </a:lnTo>
                  <a:lnTo>
                    <a:pt x="99" y="122"/>
                  </a:lnTo>
                  <a:lnTo>
                    <a:pt x="107" y="89"/>
                  </a:lnTo>
                  <a:lnTo>
                    <a:pt x="132" y="62"/>
                  </a:lnTo>
                  <a:lnTo>
                    <a:pt x="147" y="72"/>
                  </a:lnTo>
                  <a:lnTo>
                    <a:pt x="147" y="94"/>
                  </a:lnTo>
                  <a:lnTo>
                    <a:pt x="176" y="89"/>
                  </a:lnTo>
                  <a:lnTo>
                    <a:pt x="191" y="97"/>
                  </a:lnTo>
                  <a:lnTo>
                    <a:pt x="201" y="74"/>
                  </a:lnTo>
                  <a:lnTo>
                    <a:pt x="132" y="37"/>
                  </a:lnTo>
                  <a:lnTo>
                    <a:pt x="109" y="0"/>
                  </a:lnTo>
                  <a:lnTo>
                    <a:pt x="79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4683463" y="1539919"/>
              <a:ext cx="165512" cy="67644"/>
            </a:xfrm>
            <a:custGeom>
              <a:avLst/>
              <a:gdLst>
                <a:gd name="T0" fmla="*/ 0 w 115"/>
                <a:gd name="T1" fmla="*/ 5 h 47"/>
                <a:gd name="T2" fmla="*/ 8 w 115"/>
                <a:gd name="T3" fmla="*/ 35 h 47"/>
                <a:gd name="T4" fmla="*/ 52 w 115"/>
                <a:gd name="T5" fmla="*/ 47 h 47"/>
                <a:gd name="T6" fmla="*/ 87 w 115"/>
                <a:gd name="T7" fmla="*/ 35 h 47"/>
                <a:gd name="T8" fmla="*/ 115 w 115"/>
                <a:gd name="T9" fmla="*/ 7 h 47"/>
                <a:gd name="T10" fmla="*/ 65 w 115"/>
                <a:gd name="T11" fmla="*/ 7 h 47"/>
                <a:gd name="T12" fmla="*/ 37 w 115"/>
                <a:gd name="T13" fmla="*/ 0 h 47"/>
                <a:gd name="T14" fmla="*/ 0 w 115"/>
                <a:gd name="T15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47">
                  <a:moveTo>
                    <a:pt x="0" y="5"/>
                  </a:moveTo>
                  <a:lnTo>
                    <a:pt x="8" y="35"/>
                  </a:lnTo>
                  <a:lnTo>
                    <a:pt x="52" y="47"/>
                  </a:lnTo>
                  <a:lnTo>
                    <a:pt x="87" y="35"/>
                  </a:lnTo>
                  <a:lnTo>
                    <a:pt x="115" y="7"/>
                  </a:lnTo>
                  <a:lnTo>
                    <a:pt x="65" y="7"/>
                  </a:lnTo>
                  <a:lnTo>
                    <a:pt x="37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89"/>
            <p:cNvSpPr>
              <a:spLocks/>
            </p:cNvSpPr>
            <p:nvPr/>
          </p:nvSpPr>
          <p:spPr bwMode="auto">
            <a:xfrm>
              <a:off x="2029513" y="3851331"/>
              <a:ext cx="46056" cy="82036"/>
            </a:xfrm>
            <a:custGeom>
              <a:avLst/>
              <a:gdLst>
                <a:gd name="T0" fmla="*/ 0 w 32"/>
                <a:gd name="T1" fmla="*/ 15 h 57"/>
                <a:gd name="T2" fmla="*/ 10 w 32"/>
                <a:gd name="T3" fmla="*/ 10 h 57"/>
                <a:gd name="T4" fmla="*/ 32 w 32"/>
                <a:gd name="T5" fmla="*/ 0 h 57"/>
                <a:gd name="T6" fmla="*/ 27 w 32"/>
                <a:gd name="T7" fmla="*/ 22 h 57"/>
                <a:gd name="T8" fmla="*/ 32 w 32"/>
                <a:gd name="T9" fmla="*/ 47 h 57"/>
                <a:gd name="T10" fmla="*/ 19 w 32"/>
                <a:gd name="T11" fmla="*/ 57 h 57"/>
                <a:gd name="T12" fmla="*/ 7 w 32"/>
                <a:gd name="T13" fmla="*/ 57 h 57"/>
                <a:gd name="T14" fmla="*/ 0 w 32"/>
                <a:gd name="T15" fmla="*/ 54 h 57"/>
                <a:gd name="T16" fmla="*/ 0 w 32"/>
                <a:gd name="T17" fmla="*/ 37 h 57"/>
                <a:gd name="T18" fmla="*/ 0 w 32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7">
                  <a:moveTo>
                    <a:pt x="0" y="15"/>
                  </a:moveTo>
                  <a:lnTo>
                    <a:pt x="10" y="10"/>
                  </a:lnTo>
                  <a:lnTo>
                    <a:pt x="32" y="0"/>
                  </a:lnTo>
                  <a:lnTo>
                    <a:pt x="27" y="22"/>
                  </a:lnTo>
                  <a:lnTo>
                    <a:pt x="32" y="47"/>
                  </a:lnTo>
                  <a:lnTo>
                    <a:pt x="19" y="57"/>
                  </a:lnTo>
                  <a:lnTo>
                    <a:pt x="7" y="57"/>
                  </a:lnTo>
                  <a:lnTo>
                    <a:pt x="0" y="54"/>
                  </a:lnTo>
                  <a:lnTo>
                    <a:pt x="0" y="37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90"/>
            <p:cNvSpPr>
              <a:spLocks/>
            </p:cNvSpPr>
            <p:nvPr/>
          </p:nvSpPr>
          <p:spPr bwMode="auto">
            <a:xfrm>
              <a:off x="2107232" y="4072973"/>
              <a:ext cx="82036" cy="53251"/>
            </a:xfrm>
            <a:custGeom>
              <a:avLst/>
              <a:gdLst>
                <a:gd name="T0" fmla="*/ 40 w 57"/>
                <a:gd name="T1" fmla="*/ 0 h 37"/>
                <a:gd name="T2" fmla="*/ 0 w 57"/>
                <a:gd name="T3" fmla="*/ 0 h 37"/>
                <a:gd name="T4" fmla="*/ 0 w 57"/>
                <a:gd name="T5" fmla="*/ 12 h 37"/>
                <a:gd name="T6" fmla="*/ 8 w 57"/>
                <a:gd name="T7" fmla="*/ 27 h 37"/>
                <a:gd name="T8" fmla="*/ 43 w 57"/>
                <a:gd name="T9" fmla="*/ 37 h 37"/>
                <a:gd name="T10" fmla="*/ 57 w 57"/>
                <a:gd name="T11" fmla="*/ 30 h 37"/>
                <a:gd name="T12" fmla="*/ 57 w 57"/>
                <a:gd name="T13" fmla="*/ 12 h 37"/>
                <a:gd name="T14" fmla="*/ 40 w 5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">
                  <a:moveTo>
                    <a:pt x="4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8" y="27"/>
                  </a:lnTo>
                  <a:lnTo>
                    <a:pt x="43" y="37"/>
                  </a:lnTo>
                  <a:lnTo>
                    <a:pt x="57" y="30"/>
                  </a:lnTo>
                  <a:lnTo>
                    <a:pt x="57" y="1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91"/>
            <p:cNvSpPr>
              <a:spLocks/>
            </p:cNvSpPr>
            <p:nvPr/>
          </p:nvSpPr>
          <p:spPr bwMode="auto">
            <a:xfrm>
              <a:off x="2426742" y="4025478"/>
              <a:ext cx="335341" cy="341099"/>
            </a:xfrm>
            <a:custGeom>
              <a:avLst/>
              <a:gdLst>
                <a:gd name="T0" fmla="*/ 32 w 233"/>
                <a:gd name="T1" fmla="*/ 5 h 237"/>
                <a:gd name="T2" fmla="*/ 19 w 233"/>
                <a:gd name="T3" fmla="*/ 23 h 237"/>
                <a:gd name="T4" fmla="*/ 9 w 233"/>
                <a:gd name="T5" fmla="*/ 53 h 237"/>
                <a:gd name="T6" fmla="*/ 0 w 233"/>
                <a:gd name="T7" fmla="*/ 60 h 237"/>
                <a:gd name="T8" fmla="*/ 14 w 233"/>
                <a:gd name="T9" fmla="*/ 82 h 237"/>
                <a:gd name="T10" fmla="*/ 9 w 233"/>
                <a:gd name="T11" fmla="*/ 102 h 237"/>
                <a:gd name="T12" fmla="*/ 42 w 233"/>
                <a:gd name="T13" fmla="*/ 105 h 237"/>
                <a:gd name="T14" fmla="*/ 42 w 233"/>
                <a:gd name="T15" fmla="*/ 117 h 237"/>
                <a:gd name="T16" fmla="*/ 69 w 233"/>
                <a:gd name="T17" fmla="*/ 130 h 237"/>
                <a:gd name="T18" fmla="*/ 96 w 233"/>
                <a:gd name="T19" fmla="*/ 140 h 237"/>
                <a:gd name="T20" fmla="*/ 96 w 233"/>
                <a:gd name="T21" fmla="*/ 174 h 237"/>
                <a:gd name="T22" fmla="*/ 91 w 233"/>
                <a:gd name="T23" fmla="*/ 194 h 237"/>
                <a:gd name="T24" fmla="*/ 94 w 233"/>
                <a:gd name="T25" fmla="*/ 212 h 237"/>
                <a:gd name="T26" fmla="*/ 104 w 233"/>
                <a:gd name="T27" fmla="*/ 217 h 237"/>
                <a:gd name="T28" fmla="*/ 114 w 233"/>
                <a:gd name="T29" fmla="*/ 229 h 237"/>
                <a:gd name="T30" fmla="*/ 126 w 233"/>
                <a:gd name="T31" fmla="*/ 237 h 237"/>
                <a:gd name="T32" fmla="*/ 146 w 233"/>
                <a:gd name="T33" fmla="*/ 234 h 237"/>
                <a:gd name="T34" fmla="*/ 161 w 233"/>
                <a:gd name="T35" fmla="*/ 222 h 237"/>
                <a:gd name="T36" fmla="*/ 161 w 233"/>
                <a:gd name="T37" fmla="*/ 209 h 237"/>
                <a:gd name="T38" fmla="*/ 149 w 233"/>
                <a:gd name="T39" fmla="*/ 202 h 237"/>
                <a:gd name="T40" fmla="*/ 146 w 233"/>
                <a:gd name="T41" fmla="*/ 189 h 237"/>
                <a:gd name="T42" fmla="*/ 151 w 233"/>
                <a:gd name="T43" fmla="*/ 174 h 237"/>
                <a:gd name="T44" fmla="*/ 159 w 233"/>
                <a:gd name="T45" fmla="*/ 172 h 237"/>
                <a:gd name="T46" fmla="*/ 174 w 233"/>
                <a:gd name="T47" fmla="*/ 184 h 237"/>
                <a:gd name="T48" fmla="*/ 183 w 233"/>
                <a:gd name="T49" fmla="*/ 177 h 237"/>
                <a:gd name="T50" fmla="*/ 213 w 233"/>
                <a:gd name="T51" fmla="*/ 177 h 237"/>
                <a:gd name="T52" fmla="*/ 218 w 233"/>
                <a:gd name="T53" fmla="*/ 164 h 237"/>
                <a:gd name="T54" fmla="*/ 218 w 233"/>
                <a:gd name="T55" fmla="*/ 152 h 237"/>
                <a:gd name="T56" fmla="*/ 211 w 233"/>
                <a:gd name="T57" fmla="*/ 140 h 237"/>
                <a:gd name="T58" fmla="*/ 211 w 233"/>
                <a:gd name="T59" fmla="*/ 122 h 237"/>
                <a:gd name="T60" fmla="*/ 221 w 233"/>
                <a:gd name="T61" fmla="*/ 112 h 237"/>
                <a:gd name="T62" fmla="*/ 226 w 233"/>
                <a:gd name="T63" fmla="*/ 105 h 237"/>
                <a:gd name="T64" fmla="*/ 233 w 233"/>
                <a:gd name="T65" fmla="*/ 97 h 237"/>
                <a:gd name="T66" fmla="*/ 231 w 233"/>
                <a:gd name="T67" fmla="*/ 77 h 237"/>
                <a:gd name="T68" fmla="*/ 226 w 233"/>
                <a:gd name="T69" fmla="*/ 75 h 237"/>
                <a:gd name="T70" fmla="*/ 218 w 233"/>
                <a:gd name="T71" fmla="*/ 58 h 237"/>
                <a:gd name="T72" fmla="*/ 211 w 233"/>
                <a:gd name="T73" fmla="*/ 48 h 237"/>
                <a:gd name="T74" fmla="*/ 216 w 233"/>
                <a:gd name="T75" fmla="*/ 43 h 237"/>
                <a:gd name="T76" fmla="*/ 216 w 233"/>
                <a:gd name="T77" fmla="*/ 33 h 237"/>
                <a:gd name="T78" fmla="*/ 188 w 233"/>
                <a:gd name="T79" fmla="*/ 33 h 237"/>
                <a:gd name="T80" fmla="*/ 166 w 233"/>
                <a:gd name="T81" fmla="*/ 35 h 237"/>
                <a:gd name="T82" fmla="*/ 156 w 233"/>
                <a:gd name="T83" fmla="*/ 45 h 237"/>
                <a:gd name="T84" fmla="*/ 141 w 233"/>
                <a:gd name="T85" fmla="*/ 43 h 237"/>
                <a:gd name="T86" fmla="*/ 104 w 233"/>
                <a:gd name="T87" fmla="*/ 40 h 237"/>
                <a:gd name="T88" fmla="*/ 101 w 233"/>
                <a:gd name="T89" fmla="*/ 30 h 237"/>
                <a:gd name="T90" fmla="*/ 89 w 233"/>
                <a:gd name="T91" fmla="*/ 28 h 237"/>
                <a:gd name="T92" fmla="*/ 74 w 233"/>
                <a:gd name="T93" fmla="*/ 23 h 237"/>
                <a:gd name="T94" fmla="*/ 72 w 233"/>
                <a:gd name="T95" fmla="*/ 10 h 237"/>
                <a:gd name="T96" fmla="*/ 59 w 233"/>
                <a:gd name="T97" fmla="*/ 8 h 237"/>
                <a:gd name="T98" fmla="*/ 59 w 233"/>
                <a:gd name="T99" fmla="*/ 0 h 237"/>
                <a:gd name="T100" fmla="*/ 52 w 233"/>
                <a:gd name="T101" fmla="*/ 8 h 237"/>
                <a:gd name="T102" fmla="*/ 32 w 233"/>
                <a:gd name="T103" fmla="*/ 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3" h="237">
                  <a:moveTo>
                    <a:pt x="32" y="5"/>
                  </a:moveTo>
                  <a:lnTo>
                    <a:pt x="19" y="23"/>
                  </a:lnTo>
                  <a:lnTo>
                    <a:pt x="9" y="53"/>
                  </a:lnTo>
                  <a:lnTo>
                    <a:pt x="0" y="60"/>
                  </a:lnTo>
                  <a:lnTo>
                    <a:pt x="14" y="82"/>
                  </a:lnTo>
                  <a:lnTo>
                    <a:pt x="9" y="102"/>
                  </a:lnTo>
                  <a:lnTo>
                    <a:pt x="42" y="105"/>
                  </a:lnTo>
                  <a:lnTo>
                    <a:pt x="42" y="117"/>
                  </a:lnTo>
                  <a:lnTo>
                    <a:pt x="69" y="130"/>
                  </a:lnTo>
                  <a:lnTo>
                    <a:pt x="96" y="140"/>
                  </a:lnTo>
                  <a:lnTo>
                    <a:pt x="96" y="174"/>
                  </a:lnTo>
                  <a:lnTo>
                    <a:pt x="91" y="194"/>
                  </a:lnTo>
                  <a:lnTo>
                    <a:pt x="94" y="212"/>
                  </a:lnTo>
                  <a:lnTo>
                    <a:pt x="104" y="217"/>
                  </a:lnTo>
                  <a:lnTo>
                    <a:pt x="114" y="229"/>
                  </a:lnTo>
                  <a:lnTo>
                    <a:pt x="126" y="237"/>
                  </a:lnTo>
                  <a:lnTo>
                    <a:pt x="146" y="234"/>
                  </a:lnTo>
                  <a:lnTo>
                    <a:pt x="161" y="222"/>
                  </a:lnTo>
                  <a:lnTo>
                    <a:pt x="161" y="209"/>
                  </a:lnTo>
                  <a:lnTo>
                    <a:pt x="149" y="202"/>
                  </a:lnTo>
                  <a:lnTo>
                    <a:pt x="146" y="189"/>
                  </a:lnTo>
                  <a:lnTo>
                    <a:pt x="151" y="174"/>
                  </a:lnTo>
                  <a:lnTo>
                    <a:pt x="159" y="172"/>
                  </a:lnTo>
                  <a:lnTo>
                    <a:pt x="174" y="184"/>
                  </a:lnTo>
                  <a:lnTo>
                    <a:pt x="183" y="177"/>
                  </a:lnTo>
                  <a:lnTo>
                    <a:pt x="213" y="177"/>
                  </a:lnTo>
                  <a:lnTo>
                    <a:pt x="218" y="164"/>
                  </a:lnTo>
                  <a:lnTo>
                    <a:pt x="218" y="152"/>
                  </a:lnTo>
                  <a:lnTo>
                    <a:pt x="211" y="140"/>
                  </a:lnTo>
                  <a:lnTo>
                    <a:pt x="211" y="122"/>
                  </a:lnTo>
                  <a:lnTo>
                    <a:pt x="221" y="112"/>
                  </a:lnTo>
                  <a:lnTo>
                    <a:pt x="226" y="105"/>
                  </a:lnTo>
                  <a:lnTo>
                    <a:pt x="233" y="97"/>
                  </a:lnTo>
                  <a:lnTo>
                    <a:pt x="231" y="77"/>
                  </a:lnTo>
                  <a:lnTo>
                    <a:pt x="226" y="75"/>
                  </a:lnTo>
                  <a:lnTo>
                    <a:pt x="218" y="58"/>
                  </a:lnTo>
                  <a:lnTo>
                    <a:pt x="211" y="48"/>
                  </a:lnTo>
                  <a:lnTo>
                    <a:pt x="216" y="43"/>
                  </a:lnTo>
                  <a:lnTo>
                    <a:pt x="216" y="33"/>
                  </a:lnTo>
                  <a:lnTo>
                    <a:pt x="188" y="33"/>
                  </a:lnTo>
                  <a:lnTo>
                    <a:pt x="166" y="35"/>
                  </a:lnTo>
                  <a:lnTo>
                    <a:pt x="156" y="45"/>
                  </a:lnTo>
                  <a:lnTo>
                    <a:pt x="141" y="43"/>
                  </a:lnTo>
                  <a:lnTo>
                    <a:pt x="104" y="40"/>
                  </a:lnTo>
                  <a:lnTo>
                    <a:pt x="101" y="30"/>
                  </a:lnTo>
                  <a:lnTo>
                    <a:pt x="89" y="28"/>
                  </a:lnTo>
                  <a:lnTo>
                    <a:pt x="74" y="23"/>
                  </a:lnTo>
                  <a:lnTo>
                    <a:pt x="72" y="10"/>
                  </a:lnTo>
                  <a:lnTo>
                    <a:pt x="59" y="8"/>
                  </a:lnTo>
                  <a:lnTo>
                    <a:pt x="59" y="0"/>
                  </a:lnTo>
                  <a:lnTo>
                    <a:pt x="52" y="8"/>
                  </a:lnTo>
                  <a:lnTo>
                    <a:pt x="3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92"/>
            <p:cNvSpPr>
              <a:spLocks/>
            </p:cNvSpPr>
            <p:nvPr/>
          </p:nvSpPr>
          <p:spPr bwMode="auto">
            <a:xfrm>
              <a:off x="2644066" y="6054800"/>
              <a:ext cx="60448" cy="64766"/>
            </a:xfrm>
            <a:custGeom>
              <a:avLst/>
              <a:gdLst>
                <a:gd name="T0" fmla="*/ 40 w 42"/>
                <a:gd name="T1" fmla="*/ 7 h 45"/>
                <a:gd name="T2" fmla="*/ 28 w 42"/>
                <a:gd name="T3" fmla="*/ 45 h 45"/>
                <a:gd name="T4" fmla="*/ 0 w 42"/>
                <a:gd name="T5" fmla="*/ 30 h 45"/>
                <a:gd name="T6" fmla="*/ 8 w 42"/>
                <a:gd name="T7" fmla="*/ 7 h 45"/>
                <a:gd name="T8" fmla="*/ 20 w 42"/>
                <a:gd name="T9" fmla="*/ 0 h 45"/>
                <a:gd name="T10" fmla="*/ 42 w 42"/>
                <a:gd name="T11" fmla="*/ 7 h 45"/>
                <a:gd name="T12" fmla="*/ 40 w 42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40" y="7"/>
                  </a:moveTo>
                  <a:lnTo>
                    <a:pt x="28" y="45"/>
                  </a:lnTo>
                  <a:lnTo>
                    <a:pt x="0" y="30"/>
                  </a:lnTo>
                  <a:lnTo>
                    <a:pt x="8" y="7"/>
                  </a:lnTo>
                  <a:lnTo>
                    <a:pt x="20" y="0"/>
                  </a:lnTo>
                  <a:lnTo>
                    <a:pt x="42" y="7"/>
                  </a:lnTo>
                  <a:lnTo>
                    <a:pt x="4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93"/>
            <p:cNvSpPr>
              <a:spLocks/>
            </p:cNvSpPr>
            <p:nvPr/>
          </p:nvSpPr>
          <p:spPr bwMode="auto">
            <a:xfrm>
              <a:off x="2836924" y="5281931"/>
              <a:ext cx="136728" cy="153998"/>
            </a:xfrm>
            <a:custGeom>
              <a:avLst/>
              <a:gdLst>
                <a:gd name="T0" fmla="*/ 23 w 95"/>
                <a:gd name="T1" fmla="*/ 0 h 107"/>
                <a:gd name="T2" fmla="*/ 30 w 95"/>
                <a:gd name="T3" fmla="*/ 10 h 107"/>
                <a:gd name="T4" fmla="*/ 48 w 95"/>
                <a:gd name="T5" fmla="*/ 17 h 107"/>
                <a:gd name="T6" fmla="*/ 85 w 95"/>
                <a:gd name="T7" fmla="*/ 52 h 107"/>
                <a:gd name="T8" fmla="*/ 92 w 95"/>
                <a:gd name="T9" fmla="*/ 67 h 107"/>
                <a:gd name="T10" fmla="*/ 95 w 95"/>
                <a:gd name="T11" fmla="*/ 79 h 107"/>
                <a:gd name="T12" fmla="*/ 85 w 95"/>
                <a:gd name="T13" fmla="*/ 87 h 107"/>
                <a:gd name="T14" fmla="*/ 80 w 95"/>
                <a:gd name="T15" fmla="*/ 92 h 107"/>
                <a:gd name="T16" fmla="*/ 80 w 95"/>
                <a:gd name="T17" fmla="*/ 99 h 107"/>
                <a:gd name="T18" fmla="*/ 65 w 95"/>
                <a:gd name="T19" fmla="*/ 102 h 107"/>
                <a:gd name="T20" fmla="*/ 60 w 95"/>
                <a:gd name="T21" fmla="*/ 107 h 107"/>
                <a:gd name="T22" fmla="*/ 53 w 95"/>
                <a:gd name="T23" fmla="*/ 102 h 107"/>
                <a:gd name="T24" fmla="*/ 35 w 95"/>
                <a:gd name="T25" fmla="*/ 97 h 107"/>
                <a:gd name="T26" fmla="*/ 23 w 95"/>
                <a:gd name="T27" fmla="*/ 89 h 107"/>
                <a:gd name="T28" fmla="*/ 15 w 95"/>
                <a:gd name="T29" fmla="*/ 97 h 107"/>
                <a:gd name="T30" fmla="*/ 8 w 95"/>
                <a:gd name="T31" fmla="*/ 99 h 107"/>
                <a:gd name="T32" fmla="*/ 3 w 95"/>
                <a:gd name="T33" fmla="*/ 77 h 107"/>
                <a:gd name="T34" fmla="*/ 0 w 95"/>
                <a:gd name="T35" fmla="*/ 50 h 107"/>
                <a:gd name="T36" fmla="*/ 3 w 95"/>
                <a:gd name="T37" fmla="*/ 30 h 107"/>
                <a:gd name="T38" fmla="*/ 13 w 95"/>
                <a:gd name="T39" fmla="*/ 12 h 107"/>
                <a:gd name="T40" fmla="*/ 23 w 95"/>
                <a:gd name="T4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5" h="107">
                  <a:moveTo>
                    <a:pt x="23" y="0"/>
                  </a:moveTo>
                  <a:lnTo>
                    <a:pt x="30" y="10"/>
                  </a:lnTo>
                  <a:lnTo>
                    <a:pt x="48" y="17"/>
                  </a:lnTo>
                  <a:lnTo>
                    <a:pt x="85" y="52"/>
                  </a:lnTo>
                  <a:lnTo>
                    <a:pt x="92" y="67"/>
                  </a:lnTo>
                  <a:lnTo>
                    <a:pt x="95" y="79"/>
                  </a:lnTo>
                  <a:lnTo>
                    <a:pt x="85" y="87"/>
                  </a:lnTo>
                  <a:lnTo>
                    <a:pt x="80" y="92"/>
                  </a:lnTo>
                  <a:lnTo>
                    <a:pt x="80" y="99"/>
                  </a:lnTo>
                  <a:lnTo>
                    <a:pt x="65" y="102"/>
                  </a:lnTo>
                  <a:lnTo>
                    <a:pt x="60" y="107"/>
                  </a:lnTo>
                  <a:lnTo>
                    <a:pt x="53" y="102"/>
                  </a:lnTo>
                  <a:lnTo>
                    <a:pt x="35" y="97"/>
                  </a:lnTo>
                  <a:lnTo>
                    <a:pt x="23" y="89"/>
                  </a:lnTo>
                  <a:lnTo>
                    <a:pt x="15" y="97"/>
                  </a:lnTo>
                  <a:lnTo>
                    <a:pt x="8" y="99"/>
                  </a:lnTo>
                  <a:lnTo>
                    <a:pt x="3" y="77"/>
                  </a:lnTo>
                  <a:lnTo>
                    <a:pt x="0" y="50"/>
                  </a:lnTo>
                  <a:lnTo>
                    <a:pt x="3" y="30"/>
                  </a:lnTo>
                  <a:lnTo>
                    <a:pt x="13" y="1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94"/>
            <p:cNvSpPr>
              <a:spLocks/>
            </p:cNvSpPr>
            <p:nvPr/>
          </p:nvSpPr>
          <p:spPr bwMode="auto">
            <a:xfrm>
              <a:off x="2523170" y="4677452"/>
              <a:ext cx="313753" cy="392911"/>
            </a:xfrm>
            <a:custGeom>
              <a:avLst/>
              <a:gdLst>
                <a:gd name="T0" fmla="*/ 201 w 218"/>
                <a:gd name="T1" fmla="*/ 211 h 273"/>
                <a:gd name="T2" fmla="*/ 208 w 218"/>
                <a:gd name="T3" fmla="*/ 209 h 273"/>
                <a:gd name="T4" fmla="*/ 216 w 218"/>
                <a:gd name="T5" fmla="*/ 196 h 273"/>
                <a:gd name="T6" fmla="*/ 218 w 218"/>
                <a:gd name="T7" fmla="*/ 174 h 273"/>
                <a:gd name="T8" fmla="*/ 211 w 218"/>
                <a:gd name="T9" fmla="*/ 169 h 273"/>
                <a:gd name="T10" fmla="*/ 208 w 218"/>
                <a:gd name="T11" fmla="*/ 156 h 273"/>
                <a:gd name="T12" fmla="*/ 199 w 218"/>
                <a:gd name="T13" fmla="*/ 154 h 273"/>
                <a:gd name="T14" fmla="*/ 199 w 218"/>
                <a:gd name="T15" fmla="*/ 142 h 273"/>
                <a:gd name="T16" fmla="*/ 174 w 218"/>
                <a:gd name="T17" fmla="*/ 142 h 273"/>
                <a:gd name="T18" fmla="*/ 169 w 218"/>
                <a:gd name="T19" fmla="*/ 134 h 273"/>
                <a:gd name="T20" fmla="*/ 164 w 218"/>
                <a:gd name="T21" fmla="*/ 134 h 273"/>
                <a:gd name="T22" fmla="*/ 161 w 218"/>
                <a:gd name="T23" fmla="*/ 109 h 273"/>
                <a:gd name="T24" fmla="*/ 171 w 218"/>
                <a:gd name="T25" fmla="*/ 102 h 273"/>
                <a:gd name="T26" fmla="*/ 161 w 218"/>
                <a:gd name="T27" fmla="*/ 99 h 273"/>
                <a:gd name="T28" fmla="*/ 159 w 218"/>
                <a:gd name="T29" fmla="*/ 82 h 273"/>
                <a:gd name="T30" fmla="*/ 151 w 218"/>
                <a:gd name="T31" fmla="*/ 79 h 273"/>
                <a:gd name="T32" fmla="*/ 131 w 218"/>
                <a:gd name="T33" fmla="*/ 77 h 273"/>
                <a:gd name="T34" fmla="*/ 129 w 218"/>
                <a:gd name="T35" fmla="*/ 67 h 273"/>
                <a:gd name="T36" fmla="*/ 116 w 218"/>
                <a:gd name="T37" fmla="*/ 64 h 273"/>
                <a:gd name="T38" fmla="*/ 114 w 218"/>
                <a:gd name="T39" fmla="*/ 59 h 273"/>
                <a:gd name="T40" fmla="*/ 87 w 218"/>
                <a:gd name="T41" fmla="*/ 59 h 273"/>
                <a:gd name="T42" fmla="*/ 84 w 218"/>
                <a:gd name="T43" fmla="*/ 55 h 273"/>
                <a:gd name="T44" fmla="*/ 77 w 218"/>
                <a:gd name="T45" fmla="*/ 40 h 273"/>
                <a:gd name="T46" fmla="*/ 74 w 218"/>
                <a:gd name="T47" fmla="*/ 2 h 273"/>
                <a:gd name="T48" fmla="*/ 49 w 218"/>
                <a:gd name="T49" fmla="*/ 0 h 273"/>
                <a:gd name="T50" fmla="*/ 49 w 218"/>
                <a:gd name="T51" fmla="*/ 15 h 273"/>
                <a:gd name="T52" fmla="*/ 39 w 218"/>
                <a:gd name="T53" fmla="*/ 12 h 273"/>
                <a:gd name="T54" fmla="*/ 34 w 218"/>
                <a:gd name="T55" fmla="*/ 22 h 273"/>
                <a:gd name="T56" fmla="*/ 29 w 218"/>
                <a:gd name="T57" fmla="*/ 27 h 273"/>
                <a:gd name="T58" fmla="*/ 17 w 218"/>
                <a:gd name="T59" fmla="*/ 32 h 273"/>
                <a:gd name="T60" fmla="*/ 5 w 218"/>
                <a:gd name="T61" fmla="*/ 30 h 273"/>
                <a:gd name="T62" fmla="*/ 17 w 218"/>
                <a:gd name="T63" fmla="*/ 50 h 273"/>
                <a:gd name="T64" fmla="*/ 17 w 218"/>
                <a:gd name="T65" fmla="*/ 69 h 273"/>
                <a:gd name="T66" fmla="*/ 7 w 218"/>
                <a:gd name="T67" fmla="*/ 77 h 273"/>
                <a:gd name="T68" fmla="*/ 7 w 218"/>
                <a:gd name="T69" fmla="*/ 99 h 273"/>
                <a:gd name="T70" fmla="*/ 5 w 218"/>
                <a:gd name="T71" fmla="*/ 132 h 273"/>
                <a:gd name="T72" fmla="*/ 12 w 218"/>
                <a:gd name="T73" fmla="*/ 142 h 273"/>
                <a:gd name="T74" fmla="*/ 5 w 218"/>
                <a:gd name="T75" fmla="*/ 144 h 273"/>
                <a:gd name="T76" fmla="*/ 0 w 218"/>
                <a:gd name="T77" fmla="*/ 159 h 273"/>
                <a:gd name="T78" fmla="*/ 10 w 218"/>
                <a:gd name="T79" fmla="*/ 169 h 273"/>
                <a:gd name="T80" fmla="*/ 12 w 218"/>
                <a:gd name="T81" fmla="*/ 186 h 273"/>
                <a:gd name="T82" fmla="*/ 29 w 218"/>
                <a:gd name="T83" fmla="*/ 201 h 273"/>
                <a:gd name="T84" fmla="*/ 29 w 218"/>
                <a:gd name="T85" fmla="*/ 241 h 273"/>
                <a:gd name="T86" fmla="*/ 42 w 218"/>
                <a:gd name="T87" fmla="*/ 266 h 273"/>
                <a:gd name="T88" fmla="*/ 54 w 218"/>
                <a:gd name="T89" fmla="*/ 273 h 273"/>
                <a:gd name="T90" fmla="*/ 67 w 218"/>
                <a:gd name="T91" fmla="*/ 251 h 273"/>
                <a:gd name="T92" fmla="*/ 82 w 218"/>
                <a:gd name="T93" fmla="*/ 263 h 273"/>
                <a:gd name="T94" fmla="*/ 104 w 218"/>
                <a:gd name="T95" fmla="*/ 271 h 273"/>
                <a:gd name="T96" fmla="*/ 124 w 218"/>
                <a:gd name="T97" fmla="*/ 253 h 273"/>
                <a:gd name="T98" fmla="*/ 131 w 218"/>
                <a:gd name="T99" fmla="*/ 224 h 273"/>
                <a:gd name="T100" fmla="*/ 136 w 218"/>
                <a:gd name="T101" fmla="*/ 209 h 273"/>
                <a:gd name="T102" fmla="*/ 159 w 218"/>
                <a:gd name="T103" fmla="*/ 199 h 273"/>
                <a:gd name="T104" fmla="*/ 171 w 218"/>
                <a:gd name="T105" fmla="*/ 189 h 273"/>
                <a:gd name="T106" fmla="*/ 194 w 218"/>
                <a:gd name="T107" fmla="*/ 196 h 273"/>
                <a:gd name="T108" fmla="*/ 201 w 218"/>
                <a:gd name="T109" fmla="*/ 21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3">
                  <a:moveTo>
                    <a:pt x="201" y="211"/>
                  </a:moveTo>
                  <a:lnTo>
                    <a:pt x="208" y="209"/>
                  </a:lnTo>
                  <a:lnTo>
                    <a:pt x="216" y="196"/>
                  </a:lnTo>
                  <a:lnTo>
                    <a:pt x="218" y="174"/>
                  </a:lnTo>
                  <a:lnTo>
                    <a:pt x="211" y="169"/>
                  </a:lnTo>
                  <a:lnTo>
                    <a:pt x="208" y="156"/>
                  </a:lnTo>
                  <a:lnTo>
                    <a:pt x="199" y="154"/>
                  </a:lnTo>
                  <a:lnTo>
                    <a:pt x="199" y="142"/>
                  </a:lnTo>
                  <a:lnTo>
                    <a:pt x="174" y="142"/>
                  </a:lnTo>
                  <a:lnTo>
                    <a:pt x="169" y="134"/>
                  </a:lnTo>
                  <a:lnTo>
                    <a:pt x="164" y="134"/>
                  </a:lnTo>
                  <a:lnTo>
                    <a:pt x="161" y="109"/>
                  </a:lnTo>
                  <a:lnTo>
                    <a:pt x="171" y="102"/>
                  </a:lnTo>
                  <a:lnTo>
                    <a:pt x="161" y="99"/>
                  </a:lnTo>
                  <a:lnTo>
                    <a:pt x="159" y="82"/>
                  </a:lnTo>
                  <a:lnTo>
                    <a:pt x="151" y="79"/>
                  </a:lnTo>
                  <a:lnTo>
                    <a:pt x="131" y="77"/>
                  </a:lnTo>
                  <a:lnTo>
                    <a:pt x="129" y="67"/>
                  </a:lnTo>
                  <a:lnTo>
                    <a:pt x="116" y="64"/>
                  </a:lnTo>
                  <a:lnTo>
                    <a:pt x="114" y="59"/>
                  </a:lnTo>
                  <a:lnTo>
                    <a:pt x="87" y="59"/>
                  </a:lnTo>
                  <a:lnTo>
                    <a:pt x="84" y="55"/>
                  </a:lnTo>
                  <a:lnTo>
                    <a:pt x="77" y="40"/>
                  </a:lnTo>
                  <a:lnTo>
                    <a:pt x="74" y="2"/>
                  </a:lnTo>
                  <a:lnTo>
                    <a:pt x="49" y="0"/>
                  </a:lnTo>
                  <a:lnTo>
                    <a:pt x="49" y="15"/>
                  </a:lnTo>
                  <a:lnTo>
                    <a:pt x="39" y="12"/>
                  </a:lnTo>
                  <a:lnTo>
                    <a:pt x="34" y="22"/>
                  </a:lnTo>
                  <a:lnTo>
                    <a:pt x="29" y="27"/>
                  </a:lnTo>
                  <a:lnTo>
                    <a:pt x="17" y="32"/>
                  </a:lnTo>
                  <a:lnTo>
                    <a:pt x="5" y="30"/>
                  </a:lnTo>
                  <a:lnTo>
                    <a:pt x="17" y="50"/>
                  </a:lnTo>
                  <a:lnTo>
                    <a:pt x="17" y="69"/>
                  </a:lnTo>
                  <a:lnTo>
                    <a:pt x="7" y="77"/>
                  </a:lnTo>
                  <a:lnTo>
                    <a:pt x="7" y="99"/>
                  </a:lnTo>
                  <a:lnTo>
                    <a:pt x="5" y="132"/>
                  </a:lnTo>
                  <a:lnTo>
                    <a:pt x="12" y="142"/>
                  </a:lnTo>
                  <a:lnTo>
                    <a:pt x="5" y="144"/>
                  </a:lnTo>
                  <a:lnTo>
                    <a:pt x="0" y="159"/>
                  </a:lnTo>
                  <a:lnTo>
                    <a:pt x="10" y="169"/>
                  </a:lnTo>
                  <a:lnTo>
                    <a:pt x="12" y="186"/>
                  </a:lnTo>
                  <a:lnTo>
                    <a:pt x="29" y="201"/>
                  </a:lnTo>
                  <a:lnTo>
                    <a:pt x="29" y="241"/>
                  </a:lnTo>
                  <a:lnTo>
                    <a:pt x="42" y="266"/>
                  </a:lnTo>
                  <a:lnTo>
                    <a:pt x="54" y="273"/>
                  </a:lnTo>
                  <a:lnTo>
                    <a:pt x="67" y="251"/>
                  </a:lnTo>
                  <a:lnTo>
                    <a:pt x="82" y="263"/>
                  </a:lnTo>
                  <a:lnTo>
                    <a:pt x="104" y="271"/>
                  </a:lnTo>
                  <a:lnTo>
                    <a:pt x="124" y="253"/>
                  </a:lnTo>
                  <a:lnTo>
                    <a:pt x="131" y="224"/>
                  </a:lnTo>
                  <a:lnTo>
                    <a:pt x="136" y="209"/>
                  </a:lnTo>
                  <a:lnTo>
                    <a:pt x="159" y="199"/>
                  </a:lnTo>
                  <a:lnTo>
                    <a:pt x="171" y="189"/>
                  </a:lnTo>
                  <a:lnTo>
                    <a:pt x="194" y="196"/>
                  </a:lnTo>
                  <a:lnTo>
                    <a:pt x="201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95"/>
            <p:cNvSpPr>
              <a:spLocks/>
            </p:cNvSpPr>
            <p:nvPr/>
          </p:nvSpPr>
          <p:spPr bwMode="auto">
            <a:xfrm>
              <a:off x="2468479" y="4906290"/>
              <a:ext cx="182783" cy="1191687"/>
            </a:xfrm>
            <a:custGeom>
              <a:avLst/>
              <a:gdLst>
                <a:gd name="T0" fmla="*/ 70 w 127"/>
                <a:gd name="T1" fmla="*/ 768 h 828"/>
                <a:gd name="T2" fmla="*/ 50 w 127"/>
                <a:gd name="T3" fmla="*/ 733 h 828"/>
                <a:gd name="T4" fmla="*/ 58 w 127"/>
                <a:gd name="T5" fmla="*/ 676 h 828"/>
                <a:gd name="T6" fmla="*/ 60 w 127"/>
                <a:gd name="T7" fmla="*/ 587 h 828"/>
                <a:gd name="T8" fmla="*/ 53 w 127"/>
                <a:gd name="T9" fmla="*/ 537 h 828"/>
                <a:gd name="T10" fmla="*/ 40 w 127"/>
                <a:gd name="T11" fmla="*/ 487 h 828"/>
                <a:gd name="T12" fmla="*/ 55 w 127"/>
                <a:gd name="T13" fmla="*/ 455 h 828"/>
                <a:gd name="T14" fmla="*/ 50 w 127"/>
                <a:gd name="T15" fmla="*/ 400 h 828"/>
                <a:gd name="T16" fmla="*/ 50 w 127"/>
                <a:gd name="T17" fmla="*/ 378 h 828"/>
                <a:gd name="T18" fmla="*/ 60 w 127"/>
                <a:gd name="T19" fmla="*/ 348 h 828"/>
                <a:gd name="T20" fmla="*/ 50 w 127"/>
                <a:gd name="T21" fmla="*/ 326 h 828"/>
                <a:gd name="T22" fmla="*/ 58 w 127"/>
                <a:gd name="T23" fmla="*/ 288 h 828"/>
                <a:gd name="T24" fmla="*/ 53 w 127"/>
                <a:gd name="T25" fmla="*/ 244 h 828"/>
                <a:gd name="T26" fmla="*/ 60 w 127"/>
                <a:gd name="T27" fmla="*/ 214 h 828"/>
                <a:gd name="T28" fmla="*/ 77 w 127"/>
                <a:gd name="T29" fmla="*/ 189 h 828"/>
                <a:gd name="T30" fmla="*/ 80 w 127"/>
                <a:gd name="T31" fmla="*/ 164 h 828"/>
                <a:gd name="T32" fmla="*/ 90 w 127"/>
                <a:gd name="T33" fmla="*/ 137 h 828"/>
                <a:gd name="T34" fmla="*/ 80 w 127"/>
                <a:gd name="T35" fmla="*/ 107 h 828"/>
                <a:gd name="T36" fmla="*/ 67 w 127"/>
                <a:gd name="T37" fmla="*/ 42 h 828"/>
                <a:gd name="T38" fmla="*/ 48 w 127"/>
                <a:gd name="T39" fmla="*/ 10 h 828"/>
                <a:gd name="T40" fmla="*/ 25 w 127"/>
                <a:gd name="T41" fmla="*/ 12 h 828"/>
                <a:gd name="T42" fmla="*/ 35 w 127"/>
                <a:gd name="T43" fmla="*/ 47 h 828"/>
                <a:gd name="T44" fmla="*/ 28 w 127"/>
                <a:gd name="T45" fmla="*/ 127 h 828"/>
                <a:gd name="T46" fmla="*/ 35 w 127"/>
                <a:gd name="T47" fmla="*/ 137 h 828"/>
                <a:gd name="T48" fmla="*/ 30 w 127"/>
                <a:gd name="T49" fmla="*/ 179 h 828"/>
                <a:gd name="T50" fmla="*/ 15 w 127"/>
                <a:gd name="T51" fmla="*/ 229 h 828"/>
                <a:gd name="T52" fmla="*/ 18 w 127"/>
                <a:gd name="T53" fmla="*/ 263 h 828"/>
                <a:gd name="T54" fmla="*/ 18 w 127"/>
                <a:gd name="T55" fmla="*/ 328 h 828"/>
                <a:gd name="T56" fmla="*/ 5 w 127"/>
                <a:gd name="T57" fmla="*/ 418 h 828"/>
                <a:gd name="T58" fmla="*/ 13 w 127"/>
                <a:gd name="T59" fmla="*/ 537 h 828"/>
                <a:gd name="T60" fmla="*/ 18 w 127"/>
                <a:gd name="T61" fmla="*/ 554 h 828"/>
                <a:gd name="T62" fmla="*/ 25 w 127"/>
                <a:gd name="T63" fmla="*/ 611 h 828"/>
                <a:gd name="T64" fmla="*/ 15 w 127"/>
                <a:gd name="T65" fmla="*/ 656 h 828"/>
                <a:gd name="T66" fmla="*/ 15 w 127"/>
                <a:gd name="T67" fmla="*/ 693 h 828"/>
                <a:gd name="T68" fmla="*/ 35 w 127"/>
                <a:gd name="T69" fmla="*/ 743 h 828"/>
                <a:gd name="T70" fmla="*/ 50 w 127"/>
                <a:gd name="T71" fmla="*/ 768 h 828"/>
                <a:gd name="T72" fmla="*/ 67 w 127"/>
                <a:gd name="T73" fmla="*/ 783 h 828"/>
                <a:gd name="T74" fmla="*/ 90 w 127"/>
                <a:gd name="T75" fmla="*/ 803 h 828"/>
                <a:gd name="T76" fmla="*/ 107 w 127"/>
                <a:gd name="T77" fmla="*/ 828 h 828"/>
                <a:gd name="T78" fmla="*/ 127 w 127"/>
                <a:gd name="T79" fmla="*/ 79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" h="828">
                  <a:moveTo>
                    <a:pt x="122" y="766"/>
                  </a:moveTo>
                  <a:lnTo>
                    <a:pt x="70" y="768"/>
                  </a:lnTo>
                  <a:lnTo>
                    <a:pt x="65" y="743"/>
                  </a:lnTo>
                  <a:lnTo>
                    <a:pt x="50" y="733"/>
                  </a:lnTo>
                  <a:lnTo>
                    <a:pt x="48" y="679"/>
                  </a:lnTo>
                  <a:lnTo>
                    <a:pt x="58" y="676"/>
                  </a:lnTo>
                  <a:lnTo>
                    <a:pt x="60" y="661"/>
                  </a:lnTo>
                  <a:lnTo>
                    <a:pt x="60" y="587"/>
                  </a:lnTo>
                  <a:lnTo>
                    <a:pt x="53" y="567"/>
                  </a:lnTo>
                  <a:lnTo>
                    <a:pt x="53" y="537"/>
                  </a:lnTo>
                  <a:lnTo>
                    <a:pt x="48" y="505"/>
                  </a:lnTo>
                  <a:lnTo>
                    <a:pt x="40" y="487"/>
                  </a:lnTo>
                  <a:lnTo>
                    <a:pt x="43" y="472"/>
                  </a:lnTo>
                  <a:lnTo>
                    <a:pt x="55" y="455"/>
                  </a:lnTo>
                  <a:lnTo>
                    <a:pt x="38" y="420"/>
                  </a:lnTo>
                  <a:lnTo>
                    <a:pt x="50" y="400"/>
                  </a:lnTo>
                  <a:lnTo>
                    <a:pt x="58" y="388"/>
                  </a:lnTo>
                  <a:lnTo>
                    <a:pt x="50" y="378"/>
                  </a:lnTo>
                  <a:lnTo>
                    <a:pt x="50" y="350"/>
                  </a:lnTo>
                  <a:lnTo>
                    <a:pt x="60" y="348"/>
                  </a:lnTo>
                  <a:lnTo>
                    <a:pt x="60" y="328"/>
                  </a:lnTo>
                  <a:lnTo>
                    <a:pt x="50" y="326"/>
                  </a:lnTo>
                  <a:lnTo>
                    <a:pt x="50" y="296"/>
                  </a:lnTo>
                  <a:lnTo>
                    <a:pt x="58" y="288"/>
                  </a:lnTo>
                  <a:lnTo>
                    <a:pt x="55" y="273"/>
                  </a:lnTo>
                  <a:lnTo>
                    <a:pt x="53" y="244"/>
                  </a:lnTo>
                  <a:lnTo>
                    <a:pt x="58" y="231"/>
                  </a:lnTo>
                  <a:lnTo>
                    <a:pt x="60" y="214"/>
                  </a:lnTo>
                  <a:lnTo>
                    <a:pt x="72" y="206"/>
                  </a:lnTo>
                  <a:lnTo>
                    <a:pt x="77" y="189"/>
                  </a:lnTo>
                  <a:lnTo>
                    <a:pt x="70" y="176"/>
                  </a:lnTo>
                  <a:lnTo>
                    <a:pt x="80" y="164"/>
                  </a:lnTo>
                  <a:lnTo>
                    <a:pt x="80" y="139"/>
                  </a:lnTo>
                  <a:lnTo>
                    <a:pt x="90" y="137"/>
                  </a:lnTo>
                  <a:lnTo>
                    <a:pt x="92" y="114"/>
                  </a:lnTo>
                  <a:lnTo>
                    <a:pt x="80" y="107"/>
                  </a:lnTo>
                  <a:lnTo>
                    <a:pt x="67" y="82"/>
                  </a:lnTo>
                  <a:lnTo>
                    <a:pt x="67" y="42"/>
                  </a:lnTo>
                  <a:lnTo>
                    <a:pt x="50" y="27"/>
                  </a:lnTo>
                  <a:lnTo>
                    <a:pt x="48" y="10"/>
                  </a:lnTo>
                  <a:lnTo>
                    <a:pt x="38" y="0"/>
                  </a:lnTo>
                  <a:lnTo>
                    <a:pt x="25" y="12"/>
                  </a:lnTo>
                  <a:lnTo>
                    <a:pt x="30" y="37"/>
                  </a:lnTo>
                  <a:lnTo>
                    <a:pt x="35" y="47"/>
                  </a:lnTo>
                  <a:lnTo>
                    <a:pt x="35" y="117"/>
                  </a:lnTo>
                  <a:lnTo>
                    <a:pt x="28" y="127"/>
                  </a:lnTo>
                  <a:lnTo>
                    <a:pt x="28" y="137"/>
                  </a:lnTo>
                  <a:lnTo>
                    <a:pt x="35" y="137"/>
                  </a:lnTo>
                  <a:lnTo>
                    <a:pt x="35" y="179"/>
                  </a:lnTo>
                  <a:lnTo>
                    <a:pt x="30" y="179"/>
                  </a:lnTo>
                  <a:lnTo>
                    <a:pt x="28" y="229"/>
                  </a:lnTo>
                  <a:lnTo>
                    <a:pt x="15" y="229"/>
                  </a:lnTo>
                  <a:lnTo>
                    <a:pt x="23" y="241"/>
                  </a:lnTo>
                  <a:lnTo>
                    <a:pt x="18" y="263"/>
                  </a:lnTo>
                  <a:lnTo>
                    <a:pt x="13" y="326"/>
                  </a:lnTo>
                  <a:lnTo>
                    <a:pt x="18" y="328"/>
                  </a:lnTo>
                  <a:lnTo>
                    <a:pt x="10" y="405"/>
                  </a:lnTo>
                  <a:lnTo>
                    <a:pt x="5" y="418"/>
                  </a:lnTo>
                  <a:lnTo>
                    <a:pt x="0" y="425"/>
                  </a:lnTo>
                  <a:lnTo>
                    <a:pt x="13" y="537"/>
                  </a:lnTo>
                  <a:lnTo>
                    <a:pt x="5" y="554"/>
                  </a:lnTo>
                  <a:lnTo>
                    <a:pt x="18" y="554"/>
                  </a:lnTo>
                  <a:lnTo>
                    <a:pt x="23" y="557"/>
                  </a:lnTo>
                  <a:lnTo>
                    <a:pt x="25" y="611"/>
                  </a:lnTo>
                  <a:lnTo>
                    <a:pt x="18" y="629"/>
                  </a:lnTo>
                  <a:lnTo>
                    <a:pt x="15" y="656"/>
                  </a:lnTo>
                  <a:lnTo>
                    <a:pt x="28" y="664"/>
                  </a:lnTo>
                  <a:lnTo>
                    <a:pt x="15" y="693"/>
                  </a:lnTo>
                  <a:lnTo>
                    <a:pt x="25" y="726"/>
                  </a:lnTo>
                  <a:lnTo>
                    <a:pt x="35" y="743"/>
                  </a:lnTo>
                  <a:lnTo>
                    <a:pt x="48" y="748"/>
                  </a:lnTo>
                  <a:lnTo>
                    <a:pt x="50" y="768"/>
                  </a:lnTo>
                  <a:lnTo>
                    <a:pt x="55" y="778"/>
                  </a:lnTo>
                  <a:lnTo>
                    <a:pt x="67" y="783"/>
                  </a:lnTo>
                  <a:lnTo>
                    <a:pt x="75" y="793"/>
                  </a:lnTo>
                  <a:lnTo>
                    <a:pt x="90" y="803"/>
                  </a:lnTo>
                  <a:lnTo>
                    <a:pt x="100" y="813"/>
                  </a:lnTo>
                  <a:lnTo>
                    <a:pt x="107" y="828"/>
                  </a:lnTo>
                  <a:lnTo>
                    <a:pt x="115" y="805"/>
                  </a:lnTo>
                  <a:lnTo>
                    <a:pt x="127" y="798"/>
                  </a:lnTo>
                  <a:lnTo>
                    <a:pt x="122" y="76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96"/>
            <p:cNvSpPr>
              <a:spLocks/>
            </p:cNvSpPr>
            <p:nvPr/>
          </p:nvSpPr>
          <p:spPr bwMode="auto">
            <a:xfrm>
              <a:off x="2901690" y="4219775"/>
              <a:ext cx="86354" cy="113699"/>
            </a:xfrm>
            <a:custGeom>
              <a:avLst/>
              <a:gdLst>
                <a:gd name="T0" fmla="*/ 10 w 60"/>
                <a:gd name="T1" fmla="*/ 2 h 79"/>
                <a:gd name="T2" fmla="*/ 5 w 60"/>
                <a:gd name="T3" fmla="*/ 12 h 79"/>
                <a:gd name="T4" fmla="*/ 5 w 60"/>
                <a:gd name="T5" fmla="*/ 62 h 79"/>
                <a:gd name="T6" fmla="*/ 0 w 60"/>
                <a:gd name="T7" fmla="*/ 69 h 79"/>
                <a:gd name="T8" fmla="*/ 8 w 60"/>
                <a:gd name="T9" fmla="*/ 77 h 79"/>
                <a:gd name="T10" fmla="*/ 25 w 60"/>
                <a:gd name="T11" fmla="*/ 79 h 79"/>
                <a:gd name="T12" fmla="*/ 30 w 60"/>
                <a:gd name="T13" fmla="*/ 67 h 79"/>
                <a:gd name="T14" fmla="*/ 35 w 60"/>
                <a:gd name="T15" fmla="*/ 57 h 79"/>
                <a:gd name="T16" fmla="*/ 45 w 60"/>
                <a:gd name="T17" fmla="*/ 47 h 79"/>
                <a:gd name="T18" fmla="*/ 60 w 60"/>
                <a:gd name="T19" fmla="*/ 47 h 79"/>
                <a:gd name="T20" fmla="*/ 55 w 60"/>
                <a:gd name="T21" fmla="*/ 34 h 79"/>
                <a:gd name="T22" fmla="*/ 45 w 60"/>
                <a:gd name="T23" fmla="*/ 27 h 79"/>
                <a:gd name="T24" fmla="*/ 42 w 60"/>
                <a:gd name="T25" fmla="*/ 17 h 79"/>
                <a:gd name="T26" fmla="*/ 32 w 60"/>
                <a:gd name="T27" fmla="*/ 12 h 79"/>
                <a:gd name="T28" fmla="*/ 20 w 60"/>
                <a:gd name="T29" fmla="*/ 10 h 79"/>
                <a:gd name="T30" fmla="*/ 18 w 60"/>
                <a:gd name="T31" fmla="*/ 0 h 79"/>
                <a:gd name="T32" fmla="*/ 10 w 60"/>
                <a:gd name="T33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79">
                  <a:moveTo>
                    <a:pt x="10" y="2"/>
                  </a:moveTo>
                  <a:lnTo>
                    <a:pt x="5" y="12"/>
                  </a:lnTo>
                  <a:lnTo>
                    <a:pt x="5" y="62"/>
                  </a:lnTo>
                  <a:lnTo>
                    <a:pt x="0" y="69"/>
                  </a:lnTo>
                  <a:lnTo>
                    <a:pt x="8" y="77"/>
                  </a:lnTo>
                  <a:lnTo>
                    <a:pt x="25" y="79"/>
                  </a:lnTo>
                  <a:lnTo>
                    <a:pt x="30" y="67"/>
                  </a:lnTo>
                  <a:lnTo>
                    <a:pt x="35" y="57"/>
                  </a:lnTo>
                  <a:lnTo>
                    <a:pt x="45" y="47"/>
                  </a:lnTo>
                  <a:lnTo>
                    <a:pt x="60" y="47"/>
                  </a:lnTo>
                  <a:lnTo>
                    <a:pt x="55" y="34"/>
                  </a:lnTo>
                  <a:lnTo>
                    <a:pt x="45" y="27"/>
                  </a:lnTo>
                  <a:lnTo>
                    <a:pt x="42" y="17"/>
                  </a:lnTo>
                  <a:lnTo>
                    <a:pt x="32" y="12"/>
                  </a:lnTo>
                  <a:lnTo>
                    <a:pt x="20" y="10"/>
                  </a:lnTo>
                  <a:lnTo>
                    <a:pt x="18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97"/>
            <p:cNvSpPr>
              <a:spLocks/>
            </p:cNvSpPr>
            <p:nvPr/>
          </p:nvSpPr>
          <p:spPr bwMode="auto">
            <a:xfrm>
              <a:off x="2836924" y="5965567"/>
              <a:ext cx="93551" cy="63326"/>
            </a:xfrm>
            <a:custGeom>
              <a:avLst/>
              <a:gdLst>
                <a:gd name="T0" fmla="*/ 20 w 65"/>
                <a:gd name="T1" fmla="*/ 12 h 44"/>
                <a:gd name="T2" fmla="*/ 0 w 65"/>
                <a:gd name="T3" fmla="*/ 15 h 44"/>
                <a:gd name="T4" fmla="*/ 0 w 65"/>
                <a:gd name="T5" fmla="*/ 32 h 44"/>
                <a:gd name="T6" fmla="*/ 3 w 65"/>
                <a:gd name="T7" fmla="*/ 44 h 44"/>
                <a:gd name="T8" fmla="*/ 15 w 65"/>
                <a:gd name="T9" fmla="*/ 32 h 44"/>
                <a:gd name="T10" fmla="*/ 25 w 65"/>
                <a:gd name="T11" fmla="*/ 37 h 44"/>
                <a:gd name="T12" fmla="*/ 50 w 65"/>
                <a:gd name="T13" fmla="*/ 30 h 44"/>
                <a:gd name="T14" fmla="*/ 65 w 65"/>
                <a:gd name="T15" fmla="*/ 22 h 44"/>
                <a:gd name="T16" fmla="*/ 48 w 65"/>
                <a:gd name="T17" fmla="*/ 12 h 44"/>
                <a:gd name="T18" fmla="*/ 35 w 65"/>
                <a:gd name="T19" fmla="*/ 0 h 44"/>
                <a:gd name="T20" fmla="*/ 35 w 65"/>
                <a:gd name="T21" fmla="*/ 12 h 44"/>
                <a:gd name="T22" fmla="*/ 20 w 65"/>
                <a:gd name="T2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4">
                  <a:moveTo>
                    <a:pt x="20" y="12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3" y="44"/>
                  </a:lnTo>
                  <a:lnTo>
                    <a:pt x="15" y="32"/>
                  </a:lnTo>
                  <a:lnTo>
                    <a:pt x="25" y="37"/>
                  </a:lnTo>
                  <a:lnTo>
                    <a:pt x="50" y="30"/>
                  </a:lnTo>
                  <a:lnTo>
                    <a:pt x="65" y="22"/>
                  </a:lnTo>
                  <a:lnTo>
                    <a:pt x="48" y="12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3052809" y="2047968"/>
              <a:ext cx="63326" cy="31663"/>
            </a:xfrm>
            <a:custGeom>
              <a:avLst/>
              <a:gdLst>
                <a:gd name="T0" fmla="*/ 14 w 44"/>
                <a:gd name="T1" fmla="*/ 0 h 22"/>
                <a:gd name="T2" fmla="*/ 0 w 44"/>
                <a:gd name="T3" fmla="*/ 22 h 22"/>
                <a:gd name="T4" fmla="*/ 22 w 44"/>
                <a:gd name="T5" fmla="*/ 22 h 22"/>
                <a:gd name="T6" fmla="*/ 44 w 44"/>
                <a:gd name="T7" fmla="*/ 12 h 22"/>
                <a:gd name="T8" fmla="*/ 14 w 44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2">
                  <a:moveTo>
                    <a:pt x="14" y="0"/>
                  </a:moveTo>
                  <a:lnTo>
                    <a:pt x="0" y="22"/>
                  </a:lnTo>
                  <a:lnTo>
                    <a:pt x="22" y="22"/>
                  </a:lnTo>
                  <a:lnTo>
                    <a:pt x="44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397420" y="2000474"/>
              <a:ext cx="833317" cy="690833"/>
            </a:xfrm>
            <a:custGeom>
              <a:avLst/>
              <a:gdLst>
                <a:gd name="T0" fmla="*/ 276 w 579"/>
                <a:gd name="T1" fmla="*/ 13 h 480"/>
                <a:gd name="T2" fmla="*/ 229 w 579"/>
                <a:gd name="T3" fmla="*/ 30 h 480"/>
                <a:gd name="T4" fmla="*/ 172 w 579"/>
                <a:gd name="T5" fmla="*/ 68 h 480"/>
                <a:gd name="T6" fmla="*/ 104 w 579"/>
                <a:gd name="T7" fmla="*/ 92 h 480"/>
                <a:gd name="T8" fmla="*/ 189 w 579"/>
                <a:gd name="T9" fmla="*/ 140 h 480"/>
                <a:gd name="T10" fmla="*/ 127 w 579"/>
                <a:gd name="T11" fmla="*/ 152 h 480"/>
                <a:gd name="T12" fmla="*/ 97 w 579"/>
                <a:gd name="T13" fmla="*/ 142 h 480"/>
                <a:gd name="T14" fmla="*/ 67 w 579"/>
                <a:gd name="T15" fmla="*/ 155 h 480"/>
                <a:gd name="T16" fmla="*/ 77 w 579"/>
                <a:gd name="T17" fmla="*/ 177 h 480"/>
                <a:gd name="T18" fmla="*/ 84 w 579"/>
                <a:gd name="T19" fmla="*/ 204 h 480"/>
                <a:gd name="T20" fmla="*/ 147 w 579"/>
                <a:gd name="T21" fmla="*/ 189 h 480"/>
                <a:gd name="T22" fmla="*/ 144 w 579"/>
                <a:gd name="T23" fmla="*/ 207 h 480"/>
                <a:gd name="T24" fmla="*/ 112 w 579"/>
                <a:gd name="T25" fmla="*/ 229 h 480"/>
                <a:gd name="T26" fmla="*/ 92 w 579"/>
                <a:gd name="T27" fmla="*/ 234 h 480"/>
                <a:gd name="T28" fmla="*/ 65 w 579"/>
                <a:gd name="T29" fmla="*/ 264 h 480"/>
                <a:gd name="T30" fmla="*/ 47 w 579"/>
                <a:gd name="T31" fmla="*/ 294 h 480"/>
                <a:gd name="T32" fmla="*/ 42 w 579"/>
                <a:gd name="T33" fmla="*/ 311 h 480"/>
                <a:gd name="T34" fmla="*/ 77 w 579"/>
                <a:gd name="T35" fmla="*/ 326 h 480"/>
                <a:gd name="T36" fmla="*/ 84 w 579"/>
                <a:gd name="T37" fmla="*/ 336 h 480"/>
                <a:gd name="T38" fmla="*/ 80 w 579"/>
                <a:gd name="T39" fmla="*/ 371 h 480"/>
                <a:gd name="T40" fmla="*/ 117 w 579"/>
                <a:gd name="T41" fmla="*/ 368 h 480"/>
                <a:gd name="T42" fmla="*/ 142 w 579"/>
                <a:gd name="T43" fmla="*/ 391 h 480"/>
                <a:gd name="T44" fmla="*/ 20 w 579"/>
                <a:gd name="T45" fmla="*/ 458 h 480"/>
                <a:gd name="T46" fmla="*/ 0 w 579"/>
                <a:gd name="T47" fmla="*/ 480 h 480"/>
                <a:gd name="T48" fmla="*/ 164 w 579"/>
                <a:gd name="T49" fmla="*/ 406 h 480"/>
                <a:gd name="T50" fmla="*/ 189 w 579"/>
                <a:gd name="T51" fmla="*/ 388 h 480"/>
                <a:gd name="T52" fmla="*/ 209 w 579"/>
                <a:gd name="T53" fmla="*/ 356 h 480"/>
                <a:gd name="T54" fmla="*/ 268 w 579"/>
                <a:gd name="T55" fmla="*/ 289 h 480"/>
                <a:gd name="T56" fmla="*/ 254 w 579"/>
                <a:gd name="T57" fmla="*/ 331 h 480"/>
                <a:gd name="T58" fmla="*/ 249 w 579"/>
                <a:gd name="T59" fmla="*/ 351 h 480"/>
                <a:gd name="T60" fmla="*/ 268 w 579"/>
                <a:gd name="T61" fmla="*/ 361 h 480"/>
                <a:gd name="T62" fmla="*/ 291 w 579"/>
                <a:gd name="T63" fmla="*/ 346 h 480"/>
                <a:gd name="T64" fmla="*/ 306 w 579"/>
                <a:gd name="T65" fmla="*/ 329 h 480"/>
                <a:gd name="T66" fmla="*/ 323 w 579"/>
                <a:gd name="T67" fmla="*/ 301 h 480"/>
                <a:gd name="T68" fmla="*/ 350 w 579"/>
                <a:gd name="T69" fmla="*/ 304 h 480"/>
                <a:gd name="T70" fmla="*/ 368 w 579"/>
                <a:gd name="T71" fmla="*/ 321 h 480"/>
                <a:gd name="T72" fmla="*/ 428 w 579"/>
                <a:gd name="T73" fmla="*/ 329 h 480"/>
                <a:gd name="T74" fmla="*/ 447 w 579"/>
                <a:gd name="T75" fmla="*/ 346 h 480"/>
                <a:gd name="T76" fmla="*/ 465 w 579"/>
                <a:gd name="T77" fmla="*/ 358 h 480"/>
                <a:gd name="T78" fmla="*/ 485 w 579"/>
                <a:gd name="T79" fmla="*/ 378 h 480"/>
                <a:gd name="T80" fmla="*/ 500 w 579"/>
                <a:gd name="T81" fmla="*/ 378 h 480"/>
                <a:gd name="T82" fmla="*/ 517 w 579"/>
                <a:gd name="T83" fmla="*/ 378 h 480"/>
                <a:gd name="T84" fmla="*/ 522 w 579"/>
                <a:gd name="T85" fmla="*/ 388 h 480"/>
                <a:gd name="T86" fmla="*/ 529 w 579"/>
                <a:gd name="T87" fmla="*/ 413 h 480"/>
                <a:gd name="T88" fmla="*/ 539 w 579"/>
                <a:gd name="T89" fmla="*/ 428 h 480"/>
                <a:gd name="T90" fmla="*/ 567 w 579"/>
                <a:gd name="T91" fmla="*/ 435 h 480"/>
                <a:gd name="T92" fmla="*/ 557 w 579"/>
                <a:gd name="T93" fmla="*/ 418 h 480"/>
                <a:gd name="T94" fmla="*/ 539 w 579"/>
                <a:gd name="T95" fmla="*/ 383 h 480"/>
                <a:gd name="T96" fmla="*/ 510 w 579"/>
                <a:gd name="T97" fmla="*/ 334 h 480"/>
                <a:gd name="T98" fmla="*/ 495 w 579"/>
                <a:gd name="T99" fmla="*/ 344 h 480"/>
                <a:gd name="T100" fmla="*/ 480 w 579"/>
                <a:gd name="T101" fmla="*/ 353 h 480"/>
                <a:gd name="T102" fmla="*/ 460 w 579"/>
                <a:gd name="T103" fmla="*/ 321 h 480"/>
                <a:gd name="T104" fmla="*/ 438 w 579"/>
                <a:gd name="T105" fmla="*/ 321 h 480"/>
                <a:gd name="T106" fmla="*/ 497 w 579"/>
                <a:gd name="T107" fmla="*/ 33 h 480"/>
                <a:gd name="T108" fmla="*/ 435 w 579"/>
                <a:gd name="T109" fmla="*/ 40 h 480"/>
                <a:gd name="T110" fmla="*/ 368 w 579"/>
                <a:gd name="T111" fmla="*/ 30 h 480"/>
                <a:gd name="T112" fmla="*/ 331 w 579"/>
                <a:gd name="T113" fmla="*/ 23 h 480"/>
                <a:gd name="T114" fmla="*/ 303 w 579"/>
                <a:gd name="T115" fmla="*/ 3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9" h="480">
                  <a:moveTo>
                    <a:pt x="291" y="0"/>
                  </a:moveTo>
                  <a:lnTo>
                    <a:pt x="276" y="13"/>
                  </a:lnTo>
                  <a:lnTo>
                    <a:pt x="239" y="13"/>
                  </a:lnTo>
                  <a:lnTo>
                    <a:pt x="229" y="30"/>
                  </a:lnTo>
                  <a:lnTo>
                    <a:pt x="186" y="35"/>
                  </a:lnTo>
                  <a:lnTo>
                    <a:pt x="172" y="68"/>
                  </a:lnTo>
                  <a:lnTo>
                    <a:pt x="109" y="78"/>
                  </a:lnTo>
                  <a:lnTo>
                    <a:pt x="104" y="92"/>
                  </a:lnTo>
                  <a:lnTo>
                    <a:pt x="137" y="117"/>
                  </a:lnTo>
                  <a:lnTo>
                    <a:pt x="189" y="140"/>
                  </a:lnTo>
                  <a:lnTo>
                    <a:pt x="152" y="145"/>
                  </a:lnTo>
                  <a:lnTo>
                    <a:pt x="127" y="152"/>
                  </a:lnTo>
                  <a:lnTo>
                    <a:pt x="117" y="137"/>
                  </a:lnTo>
                  <a:lnTo>
                    <a:pt x="97" y="142"/>
                  </a:lnTo>
                  <a:lnTo>
                    <a:pt x="97" y="152"/>
                  </a:lnTo>
                  <a:lnTo>
                    <a:pt x="67" y="155"/>
                  </a:lnTo>
                  <a:lnTo>
                    <a:pt x="57" y="167"/>
                  </a:lnTo>
                  <a:lnTo>
                    <a:pt x="77" y="177"/>
                  </a:lnTo>
                  <a:lnTo>
                    <a:pt x="72" y="194"/>
                  </a:lnTo>
                  <a:lnTo>
                    <a:pt x="84" y="204"/>
                  </a:lnTo>
                  <a:lnTo>
                    <a:pt x="122" y="204"/>
                  </a:lnTo>
                  <a:lnTo>
                    <a:pt x="147" y="189"/>
                  </a:lnTo>
                  <a:lnTo>
                    <a:pt x="157" y="197"/>
                  </a:lnTo>
                  <a:lnTo>
                    <a:pt x="144" y="207"/>
                  </a:lnTo>
                  <a:lnTo>
                    <a:pt x="142" y="229"/>
                  </a:lnTo>
                  <a:lnTo>
                    <a:pt x="112" y="229"/>
                  </a:lnTo>
                  <a:lnTo>
                    <a:pt x="107" y="247"/>
                  </a:lnTo>
                  <a:lnTo>
                    <a:pt x="92" y="234"/>
                  </a:lnTo>
                  <a:lnTo>
                    <a:pt x="67" y="247"/>
                  </a:lnTo>
                  <a:lnTo>
                    <a:pt x="65" y="264"/>
                  </a:lnTo>
                  <a:lnTo>
                    <a:pt x="40" y="279"/>
                  </a:lnTo>
                  <a:lnTo>
                    <a:pt x="47" y="294"/>
                  </a:lnTo>
                  <a:lnTo>
                    <a:pt x="65" y="299"/>
                  </a:lnTo>
                  <a:lnTo>
                    <a:pt x="42" y="311"/>
                  </a:lnTo>
                  <a:lnTo>
                    <a:pt x="57" y="329"/>
                  </a:lnTo>
                  <a:lnTo>
                    <a:pt x="77" y="326"/>
                  </a:lnTo>
                  <a:lnTo>
                    <a:pt x="84" y="311"/>
                  </a:lnTo>
                  <a:lnTo>
                    <a:pt x="84" y="336"/>
                  </a:lnTo>
                  <a:lnTo>
                    <a:pt x="77" y="351"/>
                  </a:lnTo>
                  <a:lnTo>
                    <a:pt x="80" y="371"/>
                  </a:lnTo>
                  <a:lnTo>
                    <a:pt x="107" y="361"/>
                  </a:lnTo>
                  <a:lnTo>
                    <a:pt x="117" y="368"/>
                  </a:lnTo>
                  <a:lnTo>
                    <a:pt x="137" y="361"/>
                  </a:lnTo>
                  <a:lnTo>
                    <a:pt x="142" y="391"/>
                  </a:lnTo>
                  <a:lnTo>
                    <a:pt x="70" y="435"/>
                  </a:lnTo>
                  <a:lnTo>
                    <a:pt x="20" y="458"/>
                  </a:lnTo>
                  <a:lnTo>
                    <a:pt x="0" y="470"/>
                  </a:lnTo>
                  <a:lnTo>
                    <a:pt x="0" y="480"/>
                  </a:lnTo>
                  <a:lnTo>
                    <a:pt x="77" y="465"/>
                  </a:lnTo>
                  <a:lnTo>
                    <a:pt x="164" y="406"/>
                  </a:lnTo>
                  <a:lnTo>
                    <a:pt x="174" y="398"/>
                  </a:lnTo>
                  <a:lnTo>
                    <a:pt x="189" y="388"/>
                  </a:lnTo>
                  <a:lnTo>
                    <a:pt x="214" y="373"/>
                  </a:lnTo>
                  <a:lnTo>
                    <a:pt x="209" y="356"/>
                  </a:lnTo>
                  <a:lnTo>
                    <a:pt x="236" y="331"/>
                  </a:lnTo>
                  <a:lnTo>
                    <a:pt x="268" y="289"/>
                  </a:lnTo>
                  <a:lnTo>
                    <a:pt x="298" y="296"/>
                  </a:lnTo>
                  <a:lnTo>
                    <a:pt x="254" y="331"/>
                  </a:lnTo>
                  <a:lnTo>
                    <a:pt x="261" y="341"/>
                  </a:lnTo>
                  <a:lnTo>
                    <a:pt x="249" y="351"/>
                  </a:lnTo>
                  <a:lnTo>
                    <a:pt x="261" y="361"/>
                  </a:lnTo>
                  <a:lnTo>
                    <a:pt x="268" y="361"/>
                  </a:lnTo>
                  <a:lnTo>
                    <a:pt x="276" y="358"/>
                  </a:lnTo>
                  <a:lnTo>
                    <a:pt x="291" y="346"/>
                  </a:lnTo>
                  <a:lnTo>
                    <a:pt x="301" y="334"/>
                  </a:lnTo>
                  <a:lnTo>
                    <a:pt x="306" y="329"/>
                  </a:lnTo>
                  <a:lnTo>
                    <a:pt x="321" y="321"/>
                  </a:lnTo>
                  <a:lnTo>
                    <a:pt x="323" y="301"/>
                  </a:lnTo>
                  <a:lnTo>
                    <a:pt x="346" y="294"/>
                  </a:lnTo>
                  <a:lnTo>
                    <a:pt x="350" y="304"/>
                  </a:lnTo>
                  <a:lnTo>
                    <a:pt x="368" y="306"/>
                  </a:lnTo>
                  <a:lnTo>
                    <a:pt x="368" y="321"/>
                  </a:lnTo>
                  <a:lnTo>
                    <a:pt x="423" y="326"/>
                  </a:lnTo>
                  <a:lnTo>
                    <a:pt x="428" y="329"/>
                  </a:lnTo>
                  <a:lnTo>
                    <a:pt x="430" y="341"/>
                  </a:lnTo>
                  <a:lnTo>
                    <a:pt x="447" y="346"/>
                  </a:lnTo>
                  <a:lnTo>
                    <a:pt x="450" y="358"/>
                  </a:lnTo>
                  <a:lnTo>
                    <a:pt x="465" y="358"/>
                  </a:lnTo>
                  <a:lnTo>
                    <a:pt x="470" y="371"/>
                  </a:lnTo>
                  <a:lnTo>
                    <a:pt x="485" y="378"/>
                  </a:lnTo>
                  <a:lnTo>
                    <a:pt x="492" y="366"/>
                  </a:lnTo>
                  <a:lnTo>
                    <a:pt x="500" y="378"/>
                  </a:lnTo>
                  <a:lnTo>
                    <a:pt x="510" y="383"/>
                  </a:lnTo>
                  <a:lnTo>
                    <a:pt x="517" y="378"/>
                  </a:lnTo>
                  <a:lnTo>
                    <a:pt x="525" y="381"/>
                  </a:lnTo>
                  <a:lnTo>
                    <a:pt x="522" y="388"/>
                  </a:lnTo>
                  <a:lnTo>
                    <a:pt x="522" y="403"/>
                  </a:lnTo>
                  <a:lnTo>
                    <a:pt x="529" y="413"/>
                  </a:lnTo>
                  <a:lnTo>
                    <a:pt x="539" y="413"/>
                  </a:lnTo>
                  <a:lnTo>
                    <a:pt x="539" y="428"/>
                  </a:lnTo>
                  <a:lnTo>
                    <a:pt x="554" y="435"/>
                  </a:lnTo>
                  <a:lnTo>
                    <a:pt x="567" y="435"/>
                  </a:lnTo>
                  <a:lnTo>
                    <a:pt x="579" y="423"/>
                  </a:lnTo>
                  <a:lnTo>
                    <a:pt x="557" y="418"/>
                  </a:lnTo>
                  <a:lnTo>
                    <a:pt x="549" y="388"/>
                  </a:lnTo>
                  <a:lnTo>
                    <a:pt x="539" y="383"/>
                  </a:lnTo>
                  <a:lnTo>
                    <a:pt x="534" y="363"/>
                  </a:lnTo>
                  <a:lnTo>
                    <a:pt x="510" y="334"/>
                  </a:lnTo>
                  <a:lnTo>
                    <a:pt x="500" y="331"/>
                  </a:lnTo>
                  <a:lnTo>
                    <a:pt x="495" y="344"/>
                  </a:lnTo>
                  <a:lnTo>
                    <a:pt x="485" y="344"/>
                  </a:lnTo>
                  <a:lnTo>
                    <a:pt x="480" y="353"/>
                  </a:lnTo>
                  <a:lnTo>
                    <a:pt x="465" y="344"/>
                  </a:lnTo>
                  <a:lnTo>
                    <a:pt x="460" y="321"/>
                  </a:lnTo>
                  <a:lnTo>
                    <a:pt x="452" y="314"/>
                  </a:lnTo>
                  <a:lnTo>
                    <a:pt x="438" y="321"/>
                  </a:lnTo>
                  <a:lnTo>
                    <a:pt x="517" y="50"/>
                  </a:lnTo>
                  <a:lnTo>
                    <a:pt x="497" y="33"/>
                  </a:lnTo>
                  <a:lnTo>
                    <a:pt x="455" y="38"/>
                  </a:lnTo>
                  <a:lnTo>
                    <a:pt x="435" y="40"/>
                  </a:lnTo>
                  <a:lnTo>
                    <a:pt x="423" y="28"/>
                  </a:lnTo>
                  <a:lnTo>
                    <a:pt x="368" y="30"/>
                  </a:lnTo>
                  <a:lnTo>
                    <a:pt x="350" y="8"/>
                  </a:lnTo>
                  <a:lnTo>
                    <a:pt x="331" y="23"/>
                  </a:lnTo>
                  <a:lnTo>
                    <a:pt x="306" y="20"/>
                  </a:lnTo>
                  <a:lnTo>
                    <a:pt x="303" y="3"/>
                  </a:lnTo>
                  <a:lnTo>
                    <a:pt x="291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237933" y="2874089"/>
              <a:ext cx="1427722" cy="801655"/>
            </a:xfrm>
            <a:custGeom>
              <a:avLst/>
              <a:gdLst>
                <a:gd name="T0" fmla="*/ 535 w 992"/>
                <a:gd name="T1" fmla="*/ 12 h 557"/>
                <a:gd name="T2" fmla="*/ 647 w 992"/>
                <a:gd name="T3" fmla="*/ 17 h 557"/>
                <a:gd name="T4" fmla="*/ 719 w 992"/>
                <a:gd name="T5" fmla="*/ 87 h 557"/>
                <a:gd name="T6" fmla="*/ 706 w 992"/>
                <a:gd name="T7" fmla="*/ 167 h 557"/>
                <a:gd name="T8" fmla="*/ 786 w 992"/>
                <a:gd name="T9" fmla="*/ 129 h 557"/>
                <a:gd name="T10" fmla="*/ 848 w 992"/>
                <a:gd name="T11" fmla="*/ 92 h 557"/>
                <a:gd name="T12" fmla="*/ 942 w 992"/>
                <a:gd name="T13" fmla="*/ 62 h 557"/>
                <a:gd name="T14" fmla="*/ 980 w 992"/>
                <a:gd name="T15" fmla="*/ 87 h 557"/>
                <a:gd name="T16" fmla="*/ 967 w 992"/>
                <a:gd name="T17" fmla="*/ 107 h 557"/>
                <a:gd name="T18" fmla="*/ 942 w 992"/>
                <a:gd name="T19" fmla="*/ 127 h 557"/>
                <a:gd name="T20" fmla="*/ 920 w 992"/>
                <a:gd name="T21" fmla="*/ 154 h 557"/>
                <a:gd name="T22" fmla="*/ 885 w 992"/>
                <a:gd name="T23" fmla="*/ 179 h 557"/>
                <a:gd name="T24" fmla="*/ 853 w 992"/>
                <a:gd name="T25" fmla="*/ 206 h 557"/>
                <a:gd name="T26" fmla="*/ 828 w 992"/>
                <a:gd name="T27" fmla="*/ 254 h 557"/>
                <a:gd name="T28" fmla="*/ 821 w 992"/>
                <a:gd name="T29" fmla="*/ 278 h 557"/>
                <a:gd name="T30" fmla="*/ 806 w 992"/>
                <a:gd name="T31" fmla="*/ 336 h 557"/>
                <a:gd name="T32" fmla="*/ 756 w 992"/>
                <a:gd name="T33" fmla="*/ 353 h 557"/>
                <a:gd name="T34" fmla="*/ 721 w 992"/>
                <a:gd name="T35" fmla="*/ 385 h 557"/>
                <a:gd name="T36" fmla="*/ 716 w 992"/>
                <a:gd name="T37" fmla="*/ 455 h 557"/>
                <a:gd name="T38" fmla="*/ 729 w 992"/>
                <a:gd name="T39" fmla="*/ 495 h 557"/>
                <a:gd name="T40" fmla="*/ 719 w 992"/>
                <a:gd name="T41" fmla="*/ 544 h 557"/>
                <a:gd name="T42" fmla="*/ 684 w 992"/>
                <a:gd name="T43" fmla="*/ 485 h 557"/>
                <a:gd name="T44" fmla="*/ 656 w 992"/>
                <a:gd name="T45" fmla="*/ 428 h 557"/>
                <a:gd name="T46" fmla="*/ 579 w 992"/>
                <a:gd name="T47" fmla="*/ 425 h 557"/>
                <a:gd name="T48" fmla="*/ 555 w 992"/>
                <a:gd name="T49" fmla="*/ 455 h 557"/>
                <a:gd name="T50" fmla="*/ 520 w 992"/>
                <a:gd name="T51" fmla="*/ 433 h 557"/>
                <a:gd name="T52" fmla="*/ 492 w 992"/>
                <a:gd name="T53" fmla="*/ 433 h 557"/>
                <a:gd name="T54" fmla="*/ 458 w 992"/>
                <a:gd name="T55" fmla="*/ 467 h 557"/>
                <a:gd name="T56" fmla="*/ 420 w 992"/>
                <a:gd name="T57" fmla="*/ 517 h 557"/>
                <a:gd name="T58" fmla="*/ 376 w 992"/>
                <a:gd name="T59" fmla="*/ 485 h 557"/>
                <a:gd name="T60" fmla="*/ 341 w 992"/>
                <a:gd name="T61" fmla="*/ 433 h 557"/>
                <a:gd name="T62" fmla="*/ 308 w 992"/>
                <a:gd name="T63" fmla="*/ 425 h 557"/>
                <a:gd name="T64" fmla="*/ 281 w 992"/>
                <a:gd name="T65" fmla="*/ 403 h 557"/>
                <a:gd name="T66" fmla="*/ 249 w 992"/>
                <a:gd name="T67" fmla="*/ 395 h 557"/>
                <a:gd name="T68" fmla="*/ 199 w 992"/>
                <a:gd name="T69" fmla="*/ 415 h 557"/>
                <a:gd name="T70" fmla="*/ 137 w 992"/>
                <a:gd name="T71" fmla="*/ 383 h 557"/>
                <a:gd name="T72" fmla="*/ 97 w 992"/>
                <a:gd name="T73" fmla="*/ 355 h 557"/>
                <a:gd name="T74" fmla="*/ 42 w 992"/>
                <a:gd name="T75" fmla="*/ 328 h 557"/>
                <a:gd name="T76" fmla="*/ 25 w 992"/>
                <a:gd name="T77" fmla="*/ 286 h 557"/>
                <a:gd name="T78" fmla="*/ 5 w 992"/>
                <a:gd name="T79" fmla="*/ 239 h 557"/>
                <a:gd name="T80" fmla="*/ 5 w 992"/>
                <a:gd name="T81" fmla="*/ 169 h 557"/>
                <a:gd name="T82" fmla="*/ 10 w 992"/>
                <a:gd name="T83" fmla="*/ 132 h 557"/>
                <a:gd name="T84" fmla="*/ 28 w 992"/>
                <a:gd name="T85" fmla="*/ 87 h 557"/>
                <a:gd name="T86" fmla="*/ 32 w 992"/>
                <a:gd name="T87" fmla="*/ 32 h 557"/>
                <a:gd name="T88" fmla="*/ 60 w 992"/>
                <a:gd name="T89" fmla="*/ 2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92" h="557">
                  <a:moveTo>
                    <a:pt x="70" y="2"/>
                  </a:moveTo>
                  <a:lnTo>
                    <a:pt x="537" y="0"/>
                  </a:lnTo>
                  <a:lnTo>
                    <a:pt x="535" y="12"/>
                  </a:lnTo>
                  <a:lnTo>
                    <a:pt x="567" y="12"/>
                  </a:lnTo>
                  <a:lnTo>
                    <a:pt x="617" y="17"/>
                  </a:lnTo>
                  <a:lnTo>
                    <a:pt x="647" y="17"/>
                  </a:lnTo>
                  <a:lnTo>
                    <a:pt x="671" y="37"/>
                  </a:lnTo>
                  <a:lnTo>
                    <a:pt x="701" y="52"/>
                  </a:lnTo>
                  <a:lnTo>
                    <a:pt x="719" y="87"/>
                  </a:lnTo>
                  <a:lnTo>
                    <a:pt x="736" y="122"/>
                  </a:lnTo>
                  <a:lnTo>
                    <a:pt x="716" y="152"/>
                  </a:lnTo>
                  <a:lnTo>
                    <a:pt x="706" y="167"/>
                  </a:lnTo>
                  <a:lnTo>
                    <a:pt x="734" y="179"/>
                  </a:lnTo>
                  <a:lnTo>
                    <a:pt x="771" y="144"/>
                  </a:lnTo>
                  <a:lnTo>
                    <a:pt x="786" y="129"/>
                  </a:lnTo>
                  <a:lnTo>
                    <a:pt x="826" y="132"/>
                  </a:lnTo>
                  <a:lnTo>
                    <a:pt x="833" y="104"/>
                  </a:lnTo>
                  <a:lnTo>
                    <a:pt x="848" y="92"/>
                  </a:lnTo>
                  <a:lnTo>
                    <a:pt x="920" y="97"/>
                  </a:lnTo>
                  <a:lnTo>
                    <a:pt x="932" y="80"/>
                  </a:lnTo>
                  <a:lnTo>
                    <a:pt x="942" y="62"/>
                  </a:lnTo>
                  <a:lnTo>
                    <a:pt x="952" y="32"/>
                  </a:lnTo>
                  <a:lnTo>
                    <a:pt x="977" y="37"/>
                  </a:lnTo>
                  <a:lnTo>
                    <a:pt x="980" y="87"/>
                  </a:lnTo>
                  <a:lnTo>
                    <a:pt x="992" y="94"/>
                  </a:lnTo>
                  <a:lnTo>
                    <a:pt x="982" y="104"/>
                  </a:lnTo>
                  <a:lnTo>
                    <a:pt x="967" y="107"/>
                  </a:lnTo>
                  <a:lnTo>
                    <a:pt x="960" y="117"/>
                  </a:lnTo>
                  <a:lnTo>
                    <a:pt x="945" y="117"/>
                  </a:lnTo>
                  <a:lnTo>
                    <a:pt x="942" y="127"/>
                  </a:lnTo>
                  <a:lnTo>
                    <a:pt x="930" y="127"/>
                  </a:lnTo>
                  <a:lnTo>
                    <a:pt x="922" y="142"/>
                  </a:lnTo>
                  <a:lnTo>
                    <a:pt x="920" y="154"/>
                  </a:lnTo>
                  <a:lnTo>
                    <a:pt x="932" y="167"/>
                  </a:lnTo>
                  <a:lnTo>
                    <a:pt x="917" y="176"/>
                  </a:lnTo>
                  <a:lnTo>
                    <a:pt x="885" y="179"/>
                  </a:lnTo>
                  <a:lnTo>
                    <a:pt x="878" y="194"/>
                  </a:lnTo>
                  <a:lnTo>
                    <a:pt x="873" y="204"/>
                  </a:lnTo>
                  <a:lnTo>
                    <a:pt x="853" y="206"/>
                  </a:lnTo>
                  <a:lnTo>
                    <a:pt x="845" y="219"/>
                  </a:lnTo>
                  <a:lnTo>
                    <a:pt x="840" y="249"/>
                  </a:lnTo>
                  <a:lnTo>
                    <a:pt x="828" y="254"/>
                  </a:lnTo>
                  <a:lnTo>
                    <a:pt x="821" y="261"/>
                  </a:lnTo>
                  <a:lnTo>
                    <a:pt x="813" y="273"/>
                  </a:lnTo>
                  <a:lnTo>
                    <a:pt x="821" y="278"/>
                  </a:lnTo>
                  <a:lnTo>
                    <a:pt x="821" y="316"/>
                  </a:lnTo>
                  <a:lnTo>
                    <a:pt x="808" y="323"/>
                  </a:lnTo>
                  <a:lnTo>
                    <a:pt x="806" y="336"/>
                  </a:lnTo>
                  <a:lnTo>
                    <a:pt x="786" y="336"/>
                  </a:lnTo>
                  <a:lnTo>
                    <a:pt x="776" y="346"/>
                  </a:lnTo>
                  <a:lnTo>
                    <a:pt x="756" y="353"/>
                  </a:lnTo>
                  <a:lnTo>
                    <a:pt x="751" y="370"/>
                  </a:lnTo>
                  <a:lnTo>
                    <a:pt x="736" y="373"/>
                  </a:lnTo>
                  <a:lnTo>
                    <a:pt x="721" y="385"/>
                  </a:lnTo>
                  <a:lnTo>
                    <a:pt x="716" y="403"/>
                  </a:lnTo>
                  <a:lnTo>
                    <a:pt x="716" y="433"/>
                  </a:lnTo>
                  <a:lnTo>
                    <a:pt x="716" y="455"/>
                  </a:lnTo>
                  <a:lnTo>
                    <a:pt x="724" y="457"/>
                  </a:lnTo>
                  <a:lnTo>
                    <a:pt x="724" y="487"/>
                  </a:lnTo>
                  <a:lnTo>
                    <a:pt x="729" y="495"/>
                  </a:lnTo>
                  <a:lnTo>
                    <a:pt x="736" y="539"/>
                  </a:lnTo>
                  <a:lnTo>
                    <a:pt x="729" y="557"/>
                  </a:lnTo>
                  <a:lnTo>
                    <a:pt x="719" y="544"/>
                  </a:lnTo>
                  <a:lnTo>
                    <a:pt x="701" y="534"/>
                  </a:lnTo>
                  <a:lnTo>
                    <a:pt x="694" y="510"/>
                  </a:lnTo>
                  <a:lnTo>
                    <a:pt x="684" y="485"/>
                  </a:lnTo>
                  <a:lnTo>
                    <a:pt x="686" y="455"/>
                  </a:lnTo>
                  <a:lnTo>
                    <a:pt x="674" y="442"/>
                  </a:lnTo>
                  <a:lnTo>
                    <a:pt x="656" y="428"/>
                  </a:lnTo>
                  <a:lnTo>
                    <a:pt x="637" y="433"/>
                  </a:lnTo>
                  <a:lnTo>
                    <a:pt x="619" y="423"/>
                  </a:lnTo>
                  <a:lnTo>
                    <a:pt x="579" y="425"/>
                  </a:lnTo>
                  <a:lnTo>
                    <a:pt x="567" y="435"/>
                  </a:lnTo>
                  <a:lnTo>
                    <a:pt x="574" y="455"/>
                  </a:lnTo>
                  <a:lnTo>
                    <a:pt x="555" y="455"/>
                  </a:lnTo>
                  <a:lnTo>
                    <a:pt x="535" y="450"/>
                  </a:lnTo>
                  <a:lnTo>
                    <a:pt x="532" y="425"/>
                  </a:lnTo>
                  <a:lnTo>
                    <a:pt x="520" y="433"/>
                  </a:lnTo>
                  <a:lnTo>
                    <a:pt x="515" y="450"/>
                  </a:lnTo>
                  <a:lnTo>
                    <a:pt x="505" y="447"/>
                  </a:lnTo>
                  <a:lnTo>
                    <a:pt x="492" y="433"/>
                  </a:lnTo>
                  <a:lnTo>
                    <a:pt x="480" y="440"/>
                  </a:lnTo>
                  <a:lnTo>
                    <a:pt x="470" y="450"/>
                  </a:lnTo>
                  <a:lnTo>
                    <a:pt x="458" y="467"/>
                  </a:lnTo>
                  <a:lnTo>
                    <a:pt x="448" y="480"/>
                  </a:lnTo>
                  <a:lnTo>
                    <a:pt x="428" y="487"/>
                  </a:lnTo>
                  <a:lnTo>
                    <a:pt x="420" y="517"/>
                  </a:lnTo>
                  <a:lnTo>
                    <a:pt x="395" y="517"/>
                  </a:lnTo>
                  <a:lnTo>
                    <a:pt x="390" y="492"/>
                  </a:lnTo>
                  <a:lnTo>
                    <a:pt x="376" y="485"/>
                  </a:lnTo>
                  <a:lnTo>
                    <a:pt x="371" y="460"/>
                  </a:lnTo>
                  <a:lnTo>
                    <a:pt x="361" y="445"/>
                  </a:lnTo>
                  <a:lnTo>
                    <a:pt x="341" y="433"/>
                  </a:lnTo>
                  <a:lnTo>
                    <a:pt x="336" y="455"/>
                  </a:lnTo>
                  <a:lnTo>
                    <a:pt x="318" y="455"/>
                  </a:lnTo>
                  <a:lnTo>
                    <a:pt x="308" y="425"/>
                  </a:lnTo>
                  <a:lnTo>
                    <a:pt x="298" y="423"/>
                  </a:lnTo>
                  <a:lnTo>
                    <a:pt x="296" y="408"/>
                  </a:lnTo>
                  <a:lnTo>
                    <a:pt x="281" y="403"/>
                  </a:lnTo>
                  <a:lnTo>
                    <a:pt x="276" y="385"/>
                  </a:lnTo>
                  <a:lnTo>
                    <a:pt x="264" y="395"/>
                  </a:lnTo>
                  <a:lnTo>
                    <a:pt x="249" y="395"/>
                  </a:lnTo>
                  <a:lnTo>
                    <a:pt x="246" y="408"/>
                  </a:lnTo>
                  <a:lnTo>
                    <a:pt x="219" y="408"/>
                  </a:lnTo>
                  <a:lnTo>
                    <a:pt x="199" y="415"/>
                  </a:lnTo>
                  <a:lnTo>
                    <a:pt x="172" y="408"/>
                  </a:lnTo>
                  <a:lnTo>
                    <a:pt x="152" y="390"/>
                  </a:lnTo>
                  <a:lnTo>
                    <a:pt x="137" y="383"/>
                  </a:lnTo>
                  <a:lnTo>
                    <a:pt x="132" y="373"/>
                  </a:lnTo>
                  <a:lnTo>
                    <a:pt x="95" y="370"/>
                  </a:lnTo>
                  <a:lnTo>
                    <a:pt x="97" y="355"/>
                  </a:lnTo>
                  <a:lnTo>
                    <a:pt x="72" y="348"/>
                  </a:lnTo>
                  <a:lnTo>
                    <a:pt x="57" y="336"/>
                  </a:lnTo>
                  <a:lnTo>
                    <a:pt x="42" y="328"/>
                  </a:lnTo>
                  <a:lnTo>
                    <a:pt x="45" y="303"/>
                  </a:lnTo>
                  <a:lnTo>
                    <a:pt x="23" y="298"/>
                  </a:lnTo>
                  <a:lnTo>
                    <a:pt x="25" y="286"/>
                  </a:lnTo>
                  <a:lnTo>
                    <a:pt x="30" y="268"/>
                  </a:lnTo>
                  <a:lnTo>
                    <a:pt x="20" y="254"/>
                  </a:lnTo>
                  <a:lnTo>
                    <a:pt x="5" y="239"/>
                  </a:lnTo>
                  <a:lnTo>
                    <a:pt x="0" y="186"/>
                  </a:lnTo>
                  <a:lnTo>
                    <a:pt x="13" y="179"/>
                  </a:lnTo>
                  <a:lnTo>
                    <a:pt x="5" y="169"/>
                  </a:lnTo>
                  <a:lnTo>
                    <a:pt x="3" y="162"/>
                  </a:lnTo>
                  <a:lnTo>
                    <a:pt x="8" y="152"/>
                  </a:lnTo>
                  <a:lnTo>
                    <a:pt x="10" y="132"/>
                  </a:lnTo>
                  <a:lnTo>
                    <a:pt x="20" y="127"/>
                  </a:lnTo>
                  <a:lnTo>
                    <a:pt x="20" y="94"/>
                  </a:lnTo>
                  <a:lnTo>
                    <a:pt x="28" y="87"/>
                  </a:lnTo>
                  <a:lnTo>
                    <a:pt x="35" y="52"/>
                  </a:lnTo>
                  <a:lnTo>
                    <a:pt x="45" y="50"/>
                  </a:lnTo>
                  <a:lnTo>
                    <a:pt x="32" y="32"/>
                  </a:lnTo>
                  <a:lnTo>
                    <a:pt x="32" y="17"/>
                  </a:lnTo>
                  <a:lnTo>
                    <a:pt x="50" y="15"/>
                  </a:lnTo>
                  <a:lnTo>
                    <a:pt x="60" y="27"/>
                  </a:lnTo>
                  <a:lnTo>
                    <a:pt x="67" y="37"/>
                  </a:lnTo>
                  <a:lnTo>
                    <a:pt x="7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027805" y="1983203"/>
              <a:ext cx="1931454" cy="1148510"/>
            </a:xfrm>
            <a:custGeom>
              <a:avLst/>
              <a:gdLst>
                <a:gd name="T0" fmla="*/ 1252 w 1342"/>
                <a:gd name="T1" fmla="*/ 368 h 798"/>
                <a:gd name="T2" fmla="*/ 1257 w 1342"/>
                <a:gd name="T3" fmla="*/ 418 h 798"/>
                <a:gd name="T4" fmla="*/ 1302 w 1342"/>
                <a:gd name="T5" fmla="*/ 457 h 798"/>
                <a:gd name="T6" fmla="*/ 1300 w 1342"/>
                <a:gd name="T7" fmla="*/ 497 h 798"/>
                <a:gd name="T8" fmla="*/ 1322 w 1342"/>
                <a:gd name="T9" fmla="*/ 495 h 798"/>
                <a:gd name="T10" fmla="*/ 1342 w 1342"/>
                <a:gd name="T11" fmla="*/ 544 h 798"/>
                <a:gd name="T12" fmla="*/ 1277 w 1342"/>
                <a:gd name="T13" fmla="*/ 579 h 798"/>
                <a:gd name="T14" fmla="*/ 1155 w 1342"/>
                <a:gd name="T15" fmla="*/ 597 h 798"/>
                <a:gd name="T16" fmla="*/ 1168 w 1342"/>
                <a:gd name="T17" fmla="*/ 607 h 798"/>
                <a:gd name="T18" fmla="*/ 1245 w 1342"/>
                <a:gd name="T19" fmla="*/ 689 h 798"/>
                <a:gd name="T20" fmla="*/ 1200 w 1342"/>
                <a:gd name="T21" fmla="*/ 681 h 798"/>
                <a:gd name="T22" fmla="*/ 1126 w 1342"/>
                <a:gd name="T23" fmla="*/ 706 h 798"/>
                <a:gd name="T24" fmla="*/ 1078 w 1342"/>
                <a:gd name="T25" fmla="*/ 699 h 798"/>
                <a:gd name="T26" fmla="*/ 972 w 1342"/>
                <a:gd name="T27" fmla="*/ 751 h 798"/>
                <a:gd name="T28" fmla="*/ 852 w 1342"/>
                <a:gd name="T29" fmla="*/ 786 h 798"/>
                <a:gd name="T30" fmla="*/ 847 w 1342"/>
                <a:gd name="T31" fmla="*/ 671 h 798"/>
                <a:gd name="T32" fmla="*/ 713 w 1342"/>
                <a:gd name="T33" fmla="*/ 631 h 798"/>
                <a:gd name="T34" fmla="*/ 193 w 1342"/>
                <a:gd name="T35" fmla="*/ 592 h 798"/>
                <a:gd name="T36" fmla="*/ 149 w 1342"/>
                <a:gd name="T37" fmla="*/ 507 h 798"/>
                <a:gd name="T38" fmla="*/ 121 w 1342"/>
                <a:gd name="T39" fmla="*/ 462 h 798"/>
                <a:gd name="T40" fmla="*/ 111 w 1342"/>
                <a:gd name="T41" fmla="*/ 400 h 798"/>
                <a:gd name="T42" fmla="*/ 62 w 1342"/>
                <a:gd name="T43" fmla="*/ 343 h 798"/>
                <a:gd name="T44" fmla="*/ 27 w 1342"/>
                <a:gd name="T45" fmla="*/ 356 h 798"/>
                <a:gd name="T46" fmla="*/ 79 w 1342"/>
                <a:gd name="T47" fmla="*/ 62 h 798"/>
                <a:gd name="T48" fmla="*/ 196 w 1342"/>
                <a:gd name="T49" fmla="*/ 77 h 798"/>
                <a:gd name="T50" fmla="*/ 236 w 1342"/>
                <a:gd name="T51" fmla="*/ 65 h 798"/>
                <a:gd name="T52" fmla="*/ 298 w 1342"/>
                <a:gd name="T53" fmla="*/ 32 h 798"/>
                <a:gd name="T54" fmla="*/ 355 w 1342"/>
                <a:gd name="T55" fmla="*/ 67 h 798"/>
                <a:gd name="T56" fmla="*/ 509 w 1342"/>
                <a:gd name="T57" fmla="*/ 95 h 798"/>
                <a:gd name="T58" fmla="*/ 596 w 1342"/>
                <a:gd name="T59" fmla="*/ 132 h 798"/>
                <a:gd name="T60" fmla="*/ 723 w 1342"/>
                <a:gd name="T61" fmla="*/ 117 h 798"/>
                <a:gd name="T62" fmla="*/ 790 w 1342"/>
                <a:gd name="T63" fmla="*/ 104 h 798"/>
                <a:gd name="T64" fmla="*/ 793 w 1342"/>
                <a:gd name="T65" fmla="*/ 30 h 798"/>
                <a:gd name="T66" fmla="*/ 842 w 1342"/>
                <a:gd name="T67" fmla="*/ 40 h 798"/>
                <a:gd name="T68" fmla="*/ 889 w 1342"/>
                <a:gd name="T69" fmla="*/ 72 h 798"/>
                <a:gd name="T70" fmla="*/ 919 w 1342"/>
                <a:gd name="T71" fmla="*/ 109 h 798"/>
                <a:gd name="T72" fmla="*/ 999 w 1342"/>
                <a:gd name="T73" fmla="*/ 90 h 798"/>
                <a:gd name="T74" fmla="*/ 934 w 1342"/>
                <a:gd name="T75" fmla="*/ 149 h 798"/>
                <a:gd name="T76" fmla="*/ 865 w 1342"/>
                <a:gd name="T77" fmla="*/ 162 h 798"/>
                <a:gd name="T78" fmla="*/ 875 w 1342"/>
                <a:gd name="T79" fmla="*/ 214 h 798"/>
                <a:gd name="T80" fmla="*/ 788 w 1342"/>
                <a:gd name="T81" fmla="*/ 276 h 798"/>
                <a:gd name="T82" fmla="*/ 758 w 1342"/>
                <a:gd name="T83" fmla="*/ 365 h 798"/>
                <a:gd name="T84" fmla="*/ 865 w 1342"/>
                <a:gd name="T85" fmla="*/ 447 h 798"/>
                <a:gd name="T86" fmla="*/ 909 w 1342"/>
                <a:gd name="T87" fmla="*/ 537 h 798"/>
                <a:gd name="T88" fmla="*/ 959 w 1342"/>
                <a:gd name="T89" fmla="*/ 562 h 798"/>
                <a:gd name="T90" fmla="*/ 974 w 1342"/>
                <a:gd name="T91" fmla="*/ 467 h 798"/>
                <a:gd name="T92" fmla="*/ 1004 w 1342"/>
                <a:gd name="T93" fmla="*/ 398 h 798"/>
                <a:gd name="T94" fmla="*/ 991 w 1342"/>
                <a:gd name="T95" fmla="*/ 365 h 798"/>
                <a:gd name="T96" fmla="*/ 1014 w 1342"/>
                <a:gd name="T97" fmla="*/ 281 h 798"/>
                <a:gd name="T98" fmla="*/ 1116 w 1342"/>
                <a:gd name="T99" fmla="*/ 286 h 798"/>
                <a:gd name="T100" fmla="*/ 1146 w 1342"/>
                <a:gd name="T101" fmla="*/ 373 h 798"/>
                <a:gd name="T102" fmla="*/ 1225 w 1342"/>
                <a:gd name="T103" fmla="*/ 331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2" h="798">
                  <a:moveTo>
                    <a:pt x="1225" y="331"/>
                  </a:moveTo>
                  <a:lnTo>
                    <a:pt x="1235" y="343"/>
                  </a:lnTo>
                  <a:lnTo>
                    <a:pt x="1240" y="368"/>
                  </a:lnTo>
                  <a:lnTo>
                    <a:pt x="1252" y="368"/>
                  </a:lnTo>
                  <a:lnTo>
                    <a:pt x="1257" y="400"/>
                  </a:lnTo>
                  <a:lnTo>
                    <a:pt x="1267" y="398"/>
                  </a:lnTo>
                  <a:lnTo>
                    <a:pt x="1267" y="410"/>
                  </a:lnTo>
                  <a:lnTo>
                    <a:pt x="1257" y="418"/>
                  </a:lnTo>
                  <a:lnTo>
                    <a:pt x="1260" y="430"/>
                  </a:lnTo>
                  <a:lnTo>
                    <a:pt x="1272" y="433"/>
                  </a:lnTo>
                  <a:lnTo>
                    <a:pt x="1277" y="462"/>
                  </a:lnTo>
                  <a:lnTo>
                    <a:pt x="1302" y="457"/>
                  </a:lnTo>
                  <a:lnTo>
                    <a:pt x="1297" y="470"/>
                  </a:lnTo>
                  <a:lnTo>
                    <a:pt x="1317" y="467"/>
                  </a:lnTo>
                  <a:lnTo>
                    <a:pt x="1305" y="485"/>
                  </a:lnTo>
                  <a:lnTo>
                    <a:pt x="1300" y="497"/>
                  </a:lnTo>
                  <a:lnTo>
                    <a:pt x="1275" y="502"/>
                  </a:lnTo>
                  <a:lnTo>
                    <a:pt x="1285" y="510"/>
                  </a:lnTo>
                  <a:lnTo>
                    <a:pt x="1305" y="502"/>
                  </a:lnTo>
                  <a:lnTo>
                    <a:pt x="1322" y="495"/>
                  </a:lnTo>
                  <a:lnTo>
                    <a:pt x="1337" y="495"/>
                  </a:lnTo>
                  <a:lnTo>
                    <a:pt x="1342" y="510"/>
                  </a:lnTo>
                  <a:lnTo>
                    <a:pt x="1342" y="532"/>
                  </a:lnTo>
                  <a:lnTo>
                    <a:pt x="1342" y="544"/>
                  </a:lnTo>
                  <a:lnTo>
                    <a:pt x="1342" y="554"/>
                  </a:lnTo>
                  <a:lnTo>
                    <a:pt x="1320" y="559"/>
                  </a:lnTo>
                  <a:lnTo>
                    <a:pt x="1302" y="559"/>
                  </a:lnTo>
                  <a:lnTo>
                    <a:pt x="1277" y="579"/>
                  </a:lnTo>
                  <a:lnTo>
                    <a:pt x="1235" y="584"/>
                  </a:lnTo>
                  <a:lnTo>
                    <a:pt x="1193" y="584"/>
                  </a:lnTo>
                  <a:lnTo>
                    <a:pt x="1170" y="582"/>
                  </a:lnTo>
                  <a:lnTo>
                    <a:pt x="1155" y="597"/>
                  </a:lnTo>
                  <a:lnTo>
                    <a:pt x="1131" y="607"/>
                  </a:lnTo>
                  <a:lnTo>
                    <a:pt x="1111" y="634"/>
                  </a:lnTo>
                  <a:lnTo>
                    <a:pt x="1148" y="619"/>
                  </a:lnTo>
                  <a:lnTo>
                    <a:pt x="1168" y="607"/>
                  </a:lnTo>
                  <a:lnTo>
                    <a:pt x="1190" y="619"/>
                  </a:lnTo>
                  <a:lnTo>
                    <a:pt x="1175" y="641"/>
                  </a:lnTo>
                  <a:lnTo>
                    <a:pt x="1198" y="664"/>
                  </a:lnTo>
                  <a:lnTo>
                    <a:pt x="1245" y="689"/>
                  </a:lnTo>
                  <a:lnTo>
                    <a:pt x="1200" y="713"/>
                  </a:lnTo>
                  <a:lnTo>
                    <a:pt x="1158" y="741"/>
                  </a:lnTo>
                  <a:lnTo>
                    <a:pt x="1148" y="731"/>
                  </a:lnTo>
                  <a:lnTo>
                    <a:pt x="1200" y="681"/>
                  </a:lnTo>
                  <a:lnTo>
                    <a:pt x="1198" y="674"/>
                  </a:lnTo>
                  <a:lnTo>
                    <a:pt x="1183" y="674"/>
                  </a:lnTo>
                  <a:lnTo>
                    <a:pt x="1138" y="713"/>
                  </a:lnTo>
                  <a:lnTo>
                    <a:pt x="1126" y="706"/>
                  </a:lnTo>
                  <a:lnTo>
                    <a:pt x="1123" y="656"/>
                  </a:lnTo>
                  <a:lnTo>
                    <a:pt x="1098" y="651"/>
                  </a:lnTo>
                  <a:lnTo>
                    <a:pt x="1088" y="681"/>
                  </a:lnTo>
                  <a:lnTo>
                    <a:pt x="1078" y="699"/>
                  </a:lnTo>
                  <a:lnTo>
                    <a:pt x="1066" y="716"/>
                  </a:lnTo>
                  <a:lnTo>
                    <a:pt x="994" y="711"/>
                  </a:lnTo>
                  <a:lnTo>
                    <a:pt x="979" y="723"/>
                  </a:lnTo>
                  <a:lnTo>
                    <a:pt x="972" y="751"/>
                  </a:lnTo>
                  <a:lnTo>
                    <a:pt x="932" y="748"/>
                  </a:lnTo>
                  <a:lnTo>
                    <a:pt x="917" y="763"/>
                  </a:lnTo>
                  <a:lnTo>
                    <a:pt x="880" y="798"/>
                  </a:lnTo>
                  <a:lnTo>
                    <a:pt x="852" y="786"/>
                  </a:lnTo>
                  <a:lnTo>
                    <a:pt x="862" y="771"/>
                  </a:lnTo>
                  <a:lnTo>
                    <a:pt x="882" y="741"/>
                  </a:lnTo>
                  <a:lnTo>
                    <a:pt x="865" y="706"/>
                  </a:lnTo>
                  <a:lnTo>
                    <a:pt x="847" y="671"/>
                  </a:lnTo>
                  <a:lnTo>
                    <a:pt x="817" y="656"/>
                  </a:lnTo>
                  <a:lnTo>
                    <a:pt x="793" y="636"/>
                  </a:lnTo>
                  <a:lnTo>
                    <a:pt x="763" y="636"/>
                  </a:lnTo>
                  <a:lnTo>
                    <a:pt x="713" y="631"/>
                  </a:lnTo>
                  <a:lnTo>
                    <a:pt x="681" y="631"/>
                  </a:lnTo>
                  <a:lnTo>
                    <a:pt x="683" y="619"/>
                  </a:lnTo>
                  <a:lnTo>
                    <a:pt x="216" y="621"/>
                  </a:lnTo>
                  <a:lnTo>
                    <a:pt x="193" y="592"/>
                  </a:lnTo>
                  <a:lnTo>
                    <a:pt x="171" y="577"/>
                  </a:lnTo>
                  <a:lnTo>
                    <a:pt x="151" y="557"/>
                  </a:lnTo>
                  <a:lnTo>
                    <a:pt x="151" y="530"/>
                  </a:lnTo>
                  <a:lnTo>
                    <a:pt x="149" y="507"/>
                  </a:lnTo>
                  <a:lnTo>
                    <a:pt x="131" y="510"/>
                  </a:lnTo>
                  <a:lnTo>
                    <a:pt x="129" y="492"/>
                  </a:lnTo>
                  <a:lnTo>
                    <a:pt x="119" y="487"/>
                  </a:lnTo>
                  <a:lnTo>
                    <a:pt x="121" y="462"/>
                  </a:lnTo>
                  <a:lnTo>
                    <a:pt x="129" y="447"/>
                  </a:lnTo>
                  <a:lnTo>
                    <a:pt x="141" y="435"/>
                  </a:lnTo>
                  <a:lnTo>
                    <a:pt x="119" y="430"/>
                  </a:lnTo>
                  <a:lnTo>
                    <a:pt x="111" y="400"/>
                  </a:lnTo>
                  <a:lnTo>
                    <a:pt x="101" y="395"/>
                  </a:lnTo>
                  <a:lnTo>
                    <a:pt x="96" y="375"/>
                  </a:lnTo>
                  <a:lnTo>
                    <a:pt x="72" y="346"/>
                  </a:lnTo>
                  <a:lnTo>
                    <a:pt x="62" y="343"/>
                  </a:lnTo>
                  <a:lnTo>
                    <a:pt x="57" y="356"/>
                  </a:lnTo>
                  <a:lnTo>
                    <a:pt x="47" y="356"/>
                  </a:lnTo>
                  <a:lnTo>
                    <a:pt x="42" y="365"/>
                  </a:lnTo>
                  <a:lnTo>
                    <a:pt x="27" y="356"/>
                  </a:lnTo>
                  <a:lnTo>
                    <a:pt x="22" y="333"/>
                  </a:lnTo>
                  <a:lnTo>
                    <a:pt x="14" y="326"/>
                  </a:lnTo>
                  <a:lnTo>
                    <a:pt x="0" y="333"/>
                  </a:lnTo>
                  <a:lnTo>
                    <a:pt x="79" y="62"/>
                  </a:lnTo>
                  <a:lnTo>
                    <a:pt x="129" y="72"/>
                  </a:lnTo>
                  <a:lnTo>
                    <a:pt x="174" y="95"/>
                  </a:lnTo>
                  <a:lnTo>
                    <a:pt x="193" y="95"/>
                  </a:lnTo>
                  <a:lnTo>
                    <a:pt x="196" y="77"/>
                  </a:lnTo>
                  <a:lnTo>
                    <a:pt x="211" y="65"/>
                  </a:lnTo>
                  <a:lnTo>
                    <a:pt x="253" y="35"/>
                  </a:lnTo>
                  <a:lnTo>
                    <a:pt x="268" y="42"/>
                  </a:lnTo>
                  <a:lnTo>
                    <a:pt x="236" y="65"/>
                  </a:lnTo>
                  <a:lnTo>
                    <a:pt x="268" y="62"/>
                  </a:lnTo>
                  <a:lnTo>
                    <a:pt x="280" y="50"/>
                  </a:lnTo>
                  <a:lnTo>
                    <a:pt x="288" y="35"/>
                  </a:lnTo>
                  <a:lnTo>
                    <a:pt x="298" y="32"/>
                  </a:lnTo>
                  <a:lnTo>
                    <a:pt x="315" y="57"/>
                  </a:lnTo>
                  <a:lnTo>
                    <a:pt x="335" y="60"/>
                  </a:lnTo>
                  <a:lnTo>
                    <a:pt x="345" y="50"/>
                  </a:lnTo>
                  <a:lnTo>
                    <a:pt x="355" y="67"/>
                  </a:lnTo>
                  <a:lnTo>
                    <a:pt x="370" y="57"/>
                  </a:lnTo>
                  <a:lnTo>
                    <a:pt x="437" y="77"/>
                  </a:lnTo>
                  <a:lnTo>
                    <a:pt x="479" y="80"/>
                  </a:lnTo>
                  <a:lnTo>
                    <a:pt x="509" y="95"/>
                  </a:lnTo>
                  <a:lnTo>
                    <a:pt x="504" y="117"/>
                  </a:lnTo>
                  <a:lnTo>
                    <a:pt x="544" y="104"/>
                  </a:lnTo>
                  <a:lnTo>
                    <a:pt x="574" y="134"/>
                  </a:lnTo>
                  <a:lnTo>
                    <a:pt x="596" y="132"/>
                  </a:lnTo>
                  <a:lnTo>
                    <a:pt x="594" y="117"/>
                  </a:lnTo>
                  <a:lnTo>
                    <a:pt x="619" y="92"/>
                  </a:lnTo>
                  <a:lnTo>
                    <a:pt x="643" y="112"/>
                  </a:lnTo>
                  <a:lnTo>
                    <a:pt x="723" y="117"/>
                  </a:lnTo>
                  <a:lnTo>
                    <a:pt x="735" y="99"/>
                  </a:lnTo>
                  <a:lnTo>
                    <a:pt x="758" y="97"/>
                  </a:lnTo>
                  <a:lnTo>
                    <a:pt x="770" y="114"/>
                  </a:lnTo>
                  <a:lnTo>
                    <a:pt x="790" y="104"/>
                  </a:lnTo>
                  <a:lnTo>
                    <a:pt x="807" y="92"/>
                  </a:lnTo>
                  <a:lnTo>
                    <a:pt x="798" y="57"/>
                  </a:lnTo>
                  <a:lnTo>
                    <a:pt x="775" y="40"/>
                  </a:lnTo>
                  <a:lnTo>
                    <a:pt x="793" y="30"/>
                  </a:lnTo>
                  <a:lnTo>
                    <a:pt x="802" y="15"/>
                  </a:lnTo>
                  <a:lnTo>
                    <a:pt x="825" y="0"/>
                  </a:lnTo>
                  <a:lnTo>
                    <a:pt x="850" y="20"/>
                  </a:lnTo>
                  <a:lnTo>
                    <a:pt x="842" y="40"/>
                  </a:lnTo>
                  <a:lnTo>
                    <a:pt x="847" y="57"/>
                  </a:lnTo>
                  <a:lnTo>
                    <a:pt x="862" y="72"/>
                  </a:lnTo>
                  <a:lnTo>
                    <a:pt x="870" y="97"/>
                  </a:lnTo>
                  <a:lnTo>
                    <a:pt x="889" y="72"/>
                  </a:lnTo>
                  <a:lnTo>
                    <a:pt x="899" y="95"/>
                  </a:lnTo>
                  <a:lnTo>
                    <a:pt x="899" y="127"/>
                  </a:lnTo>
                  <a:lnTo>
                    <a:pt x="914" y="127"/>
                  </a:lnTo>
                  <a:lnTo>
                    <a:pt x="919" y="109"/>
                  </a:lnTo>
                  <a:lnTo>
                    <a:pt x="942" y="87"/>
                  </a:lnTo>
                  <a:lnTo>
                    <a:pt x="952" y="57"/>
                  </a:lnTo>
                  <a:lnTo>
                    <a:pt x="989" y="62"/>
                  </a:lnTo>
                  <a:lnTo>
                    <a:pt x="999" y="90"/>
                  </a:lnTo>
                  <a:lnTo>
                    <a:pt x="984" y="99"/>
                  </a:lnTo>
                  <a:lnTo>
                    <a:pt x="991" y="134"/>
                  </a:lnTo>
                  <a:lnTo>
                    <a:pt x="942" y="159"/>
                  </a:lnTo>
                  <a:lnTo>
                    <a:pt x="934" y="149"/>
                  </a:lnTo>
                  <a:lnTo>
                    <a:pt x="909" y="149"/>
                  </a:lnTo>
                  <a:lnTo>
                    <a:pt x="904" y="172"/>
                  </a:lnTo>
                  <a:lnTo>
                    <a:pt x="875" y="172"/>
                  </a:lnTo>
                  <a:lnTo>
                    <a:pt x="865" y="162"/>
                  </a:lnTo>
                  <a:lnTo>
                    <a:pt x="852" y="164"/>
                  </a:lnTo>
                  <a:lnTo>
                    <a:pt x="855" y="177"/>
                  </a:lnTo>
                  <a:lnTo>
                    <a:pt x="882" y="186"/>
                  </a:lnTo>
                  <a:lnTo>
                    <a:pt x="875" y="214"/>
                  </a:lnTo>
                  <a:lnTo>
                    <a:pt x="860" y="226"/>
                  </a:lnTo>
                  <a:lnTo>
                    <a:pt x="835" y="229"/>
                  </a:lnTo>
                  <a:lnTo>
                    <a:pt x="822" y="251"/>
                  </a:lnTo>
                  <a:lnTo>
                    <a:pt x="788" y="276"/>
                  </a:lnTo>
                  <a:lnTo>
                    <a:pt x="760" y="301"/>
                  </a:lnTo>
                  <a:lnTo>
                    <a:pt x="738" y="336"/>
                  </a:lnTo>
                  <a:lnTo>
                    <a:pt x="735" y="363"/>
                  </a:lnTo>
                  <a:lnTo>
                    <a:pt x="758" y="365"/>
                  </a:lnTo>
                  <a:lnTo>
                    <a:pt x="768" y="410"/>
                  </a:lnTo>
                  <a:lnTo>
                    <a:pt x="815" y="415"/>
                  </a:lnTo>
                  <a:lnTo>
                    <a:pt x="847" y="445"/>
                  </a:lnTo>
                  <a:lnTo>
                    <a:pt x="865" y="447"/>
                  </a:lnTo>
                  <a:lnTo>
                    <a:pt x="882" y="467"/>
                  </a:lnTo>
                  <a:lnTo>
                    <a:pt x="917" y="465"/>
                  </a:lnTo>
                  <a:lnTo>
                    <a:pt x="912" y="502"/>
                  </a:lnTo>
                  <a:lnTo>
                    <a:pt x="909" y="537"/>
                  </a:lnTo>
                  <a:lnTo>
                    <a:pt x="922" y="562"/>
                  </a:lnTo>
                  <a:lnTo>
                    <a:pt x="934" y="564"/>
                  </a:lnTo>
                  <a:lnTo>
                    <a:pt x="947" y="549"/>
                  </a:lnTo>
                  <a:lnTo>
                    <a:pt x="959" y="562"/>
                  </a:lnTo>
                  <a:lnTo>
                    <a:pt x="967" y="547"/>
                  </a:lnTo>
                  <a:lnTo>
                    <a:pt x="974" y="510"/>
                  </a:lnTo>
                  <a:lnTo>
                    <a:pt x="972" y="495"/>
                  </a:lnTo>
                  <a:lnTo>
                    <a:pt x="974" y="467"/>
                  </a:lnTo>
                  <a:lnTo>
                    <a:pt x="1001" y="455"/>
                  </a:lnTo>
                  <a:lnTo>
                    <a:pt x="1004" y="443"/>
                  </a:lnTo>
                  <a:lnTo>
                    <a:pt x="1006" y="413"/>
                  </a:lnTo>
                  <a:lnTo>
                    <a:pt x="1004" y="398"/>
                  </a:lnTo>
                  <a:lnTo>
                    <a:pt x="1004" y="383"/>
                  </a:lnTo>
                  <a:lnTo>
                    <a:pt x="999" y="373"/>
                  </a:lnTo>
                  <a:lnTo>
                    <a:pt x="996" y="368"/>
                  </a:lnTo>
                  <a:lnTo>
                    <a:pt x="991" y="365"/>
                  </a:lnTo>
                  <a:lnTo>
                    <a:pt x="1009" y="358"/>
                  </a:lnTo>
                  <a:lnTo>
                    <a:pt x="1014" y="323"/>
                  </a:lnTo>
                  <a:lnTo>
                    <a:pt x="1011" y="308"/>
                  </a:lnTo>
                  <a:lnTo>
                    <a:pt x="1014" y="281"/>
                  </a:lnTo>
                  <a:lnTo>
                    <a:pt x="1034" y="254"/>
                  </a:lnTo>
                  <a:lnTo>
                    <a:pt x="1061" y="269"/>
                  </a:lnTo>
                  <a:lnTo>
                    <a:pt x="1098" y="269"/>
                  </a:lnTo>
                  <a:lnTo>
                    <a:pt x="1116" y="286"/>
                  </a:lnTo>
                  <a:lnTo>
                    <a:pt x="1131" y="301"/>
                  </a:lnTo>
                  <a:lnTo>
                    <a:pt x="1155" y="311"/>
                  </a:lnTo>
                  <a:lnTo>
                    <a:pt x="1146" y="326"/>
                  </a:lnTo>
                  <a:lnTo>
                    <a:pt x="1146" y="373"/>
                  </a:lnTo>
                  <a:lnTo>
                    <a:pt x="1173" y="380"/>
                  </a:lnTo>
                  <a:lnTo>
                    <a:pt x="1200" y="370"/>
                  </a:lnTo>
                  <a:lnTo>
                    <a:pt x="1210" y="356"/>
                  </a:lnTo>
                  <a:lnTo>
                    <a:pt x="1225" y="33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665118" y="2563214"/>
              <a:ext cx="47494" cy="50374"/>
            </a:xfrm>
            <a:custGeom>
              <a:avLst/>
              <a:gdLst>
                <a:gd name="T0" fmla="*/ 10 w 33"/>
                <a:gd name="T1" fmla="*/ 10 h 35"/>
                <a:gd name="T2" fmla="*/ 15 w 33"/>
                <a:gd name="T3" fmla="*/ 0 h 35"/>
                <a:gd name="T4" fmla="*/ 33 w 33"/>
                <a:gd name="T5" fmla="*/ 0 h 35"/>
                <a:gd name="T6" fmla="*/ 33 w 33"/>
                <a:gd name="T7" fmla="*/ 15 h 35"/>
                <a:gd name="T8" fmla="*/ 13 w 33"/>
                <a:gd name="T9" fmla="*/ 35 h 35"/>
                <a:gd name="T10" fmla="*/ 0 w 33"/>
                <a:gd name="T11" fmla="*/ 20 h 35"/>
                <a:gd name="T12" fmla="*/ 10 w 3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10" y="10"/>
                  </a:moveTo>
                  <a:lnTo>
                    <a:pt x="15" y="0"/>
                  </a:lnTo>
                  <a:lnTo>
                    <a:pt x="33" y="0"/>
                  </a:lnTo>
                  <a:lnTo>
                    <a:pt x="33" y="15"/>
                  </a:lnTo>
                  <a:lnTo>
                    <a:pt x="13" y="35"/>
                  </a:lnTo>
                  <a:lnTo>
                    <a:pt x="0" y="2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106"/>
            <p:cNvSpPr>
              <a:spLocks/>
            </p:cNvSpPr>
            <p:nvPr/>
          </p:nvSpPr>
          <p:spPr bwMode="auto">
            <a:xfrm>
              <a:off x="2990922" y="2917266"/>
              <a:ext cx="21588" cy="38860"/>
            </a:xfrm>
            <a:custGeom>
              <a:avLst/>
              <a:gdLst>
                <a:gd name="T0" fmla="*/ 15 w 15"/>
                <a:gd name="T1" fmla="*/ 0 h 27"/>
                <a:gd name="T2" fmla="*/ 15 w 15"/>
                <a:gd name="T3" fmla="*/ 10 h 27"/>
                <a:gd name="T4" fmla="*/ 13 w 15"/>
                <a:gd name="T5" fmla="*/ 25 h 27"/>
                <a:gd name="T6" fmla="*/ 0 w 15"/>
                <a:gd name="T7" fmla="*/ 27 h 27"/>
                <a:gd name="T8" fmla="*/ 15 w 15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15" y="0"/>
                  </a:moveTo>
                  <a:lnTo>
                    <a:pt x="15" y="10"/>
                  </a:lnTo>
                  <a:lnTo>
                    <a:pt x="13" y="25"/>
                  </a:lnTo>
                  <a:lnTo>
                    <a:pt x="0" y="2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107"/>
            <p:cNvSpPr>
              <a:spLocks/>
            </p:cNvSpPr>
            <p:nvPr/>
          </p:nvSpPr>
          <p:spPr bwMode="auto">
            <a:xfrm>
              <a:off x="1521462" y="1826326"/>
              <a:ext cx="246110" cy="171269"/>
            </a:xfrm>
            <a:custGeom>
              <a:avLst/>
              <a:gdLst>
                <a:gd name="T0" fmla="*/ 54 w 171"/>
                <a:gd name="T1" fmla="*/ 5 h 119"/>
                <a:gd name="T2" fmla="*/ 32 w 171"/>
                <a:gd name="T3" fmla="*/ 39 h 119"/>
                <a:gd name="T4" fmla="*/ 19 w 171"/>
                <a:gd name="T5" fmla="*/ 62 h 119"/>
                <a:gd name="T6" fmla="*/ 0 w 171"/>
                <a:gd name="T7" fmla="*/ 87 h 119"/>
                <a:gd name="T8" fmla="*/ 14 w 171"/>
                <a:gd name="T9" fmla="*/ 104 h 119"/>
                <a:gd name="T10" fmla="*/ 39 w 171"/>
                <a:gd name="T11" fmla="*/ 119 h 119"/>
                <a:gd name="T12" fmla="*/ 87 w 171"/>
                <a:gd name="T13" fmla="*/ 97 h 119"/>
                <a:gd name="T14" fmla="*/ 109 w 171"/>
                <a:gd name="T15" fmla="*/ 79 h 119"/>
                <a:gd name="T16" fmla="*/ 146 w 171"/>
                <a:gd name="T17" fmla="*/ 69 h 119"/>
                <a:gd name="T18" fmla="*/ 171 w 171"/>
                <a:gd name="T19" fmla="*/ 52 h 119"/>
                <a:gd name="T20" fmla="*/ 141 w 171"/>
                <a:gd name="T21" fmla="*/ 25 h 119"/>
                <a:gd name="T22" fmla="*/ 101 w 171"/>
                <a:gd name="T23" fmla="*/ 15 h 119"/>
                <a:gd name="T24" fmla="*/ 87 w 171"/>
                <a:gd name="T25" fmla="*/ 0 h 119"/>
                <a:gd name="T26" fmla="*/ 67 w 171"/>
                <a:gd name="T27" fmla="*/ 20 h 119"/>
                <a:gd name="T28" fmla="*/ 54 w 171"/>
                <a:gd name="T29" fmla="*/ 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19">
                  <a:moveTo>
                    <a:pt x="54" y="5"/>
                  </a:moveTo>
                  <a:lnTo>
                    <a:pt x="32" y="39"/>
                  </a:lnTo>
                  <a:lnTo>
                    <a:pt x="19" y="62"/>
                  </a:lnTo>
                  <a:lnTo>
                    <a:pt x="0" y="87"/>
                  </a:lnTo>
                  <a:lnTo>
                    <a:pt x="14" y="104"/>
                  </a:lnTo>
                  <a:lnTo>
                    <a:pt x="39" y="119"/>
                  </a:lnTo>
                  <a:lnTo>
                    <a:pt x="87" y="97"/>
                  </a:lnTo>
                  <a:lnTo>
                    <a:pt x="109" y="79"/>
                  </a:lnTo>
                  <a:lnTo>
                    <a:pt x="146" y="69"/>
                  </a:lnTo>
                  <a:lnTo>
                    <a:pt x="171" y="52"/>
                  </a:lnTo>
                  <a:lnTo>
                    <a:pt x="141" y="25"/>
                  </a:lnTo>
                  <a:lnTo>
                    <a:pt x="101" y="15"/>
                  </a:lnTo>
                  <a:lnTo>
                    <a:pt x="87" y="0"/>
                  </a:lnTo>
                  <a:lnTo>
                    <a:pt x="67" y="20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1678340" y="1901166"/>
              <a:ext cx="361248" cy="189979"/>
            </a:xfrm>
            <a:custGeom>
              <a:avLst/>
              <a:gdLst>
                <a:gd name="T0" fmla="*/ 77 w 251"/>
                <a:gd name="T1" fmla="*/ 12 h 132"/>
                <a:gd name="T2" fmla="*/ 45 w 251"/>
                <a:gd name="T3" fmla="*/ 30 h 132"/>
                <a:gd name="T4" fmla="*/ 45 w 251"/>
                <a:gd name="T5" fmla="*/ 47 h 132"/>
                <a:gd name="T6" fmla="*/ 5 w 251"/>
                <a:gd name="T7" fmla="*/ 50 h 132"/>
                <a:gd name="T8" fmla="*/ 0 w 251"/>
                <a:gd name="T9" fmla="*/ 65 h 132"/>
                <a:gd name="T10" fmla="*/ 65 w 251"/>
                <a:gd name="T11" fmla="*/ 77 h 132"/>
                <a:gd name="T12" fmla="*/ 17 w 251"/>
                <a:gd name="T13" fmla="*/ 89 h 132"/>
                <a:gd name="T14" fmla="*/ 7 w 251"/>
                <a:gd name="T15" fmla="*/ 99 h 132"/>
                <a:gd name="T16" fmla="*/ 42 w 251"/>
                <a:gd name="T17" fmla="*/ 117 h 132"/>
                <a:gd name="T18" fmla="*/ 72 w 251"/>
                <a:gd name="T19" fmla="*/ 132 h 132"/>
                <a:gd name="T20" fmla="*/ 114 w 251"/>
                <a:gd name="T21" fmla="*/ 132 h 132"/>
                <a:gd name="T22" fmla="*/ 189 w 251"/>
                <a:gd name="T23" fmla="*/ 129 h 132"/>
                <a:gd name="T24" fmla="*/ 234 w 251"/>
                <a:gd name="T25" fmla="*/ 119 h 132"/>
                <a:gd name="T26" fmla="*/ 221 w 251"/>
                <a:gd name="T27" fmla="*/ 89 h 132"/>
                <a:gd name="T28" fmla="*/ 251 w 251"/>
                <a:gd name="T29" fmla="*/ 84 h 132"/>
                <a:gd name="T30" fmla="*/ 219 w 251"/>
                <a:gd name="T31" fmla="*/ 65 h 132"/>
                <a:gd name="T32" fmla="*/ 201 w 251"/>
                <a:gd name="T33" fmla="*/ 27 h 132"/>
                <a:gd name="T34" fmla="*/ 209 w 251"/>
                <a:gd name="T35" fmla="*/ 7 h 132"/>
                <a:gd name="T36" fmla="*/ 174 w 251"/>
                <a:gd name="T37" fmla="*/ 0 h 132"/>
                <a:gd name="T38" fmla="*/ 164 w 251"/>
                <a:gd name="T39" fmla="*/ 40 h 132"/>
                <a:gd name="T40" fmla="*/ 144 w 251"/>
                <a:gd name="T41" fmla="*/ 17 h 132"/>
                <a:gd name="T42" fmla="*/ 129 w 251"/>
                <a:gd name="T43" fmla="*/ 7 h 132"/>
                <a:gd name="T44" fmla="*/ 117 w 251"/>
                <a:gd name="T45" fmla="*/ 27 h 132"/>
                <a:gd name="T46" fmla="*/ 104 w 251"/>
                <a:gd name="T47" fmla="*/ 2 h 132"/>
                <a:gd name="T48" fmla="*/ 77 w 251"/>
                <a:gd name="T4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1" h="132">
                  <a:moveTo>
                    <a:pt x="77" y="12"/>
                  </a:moveTo>
                  <a:lnTo>
                    <a:pt x="45" y="30"/>
                  </a:lnTo>
                  <a:lnTo>
                    <a:pt x="45" y="47"/>
                  </a:lnTo>
                  <a:lnTo>
                    <a:pt x="5" y="50"/>
                  </a:lnTo>
                  <a:lnTo>
                    <a:pt x="0" y="65"/>
                  </a:lnTo>
                  <a:lnTo>
                    <a:pt x="65" y="77"/>
                  </a:lnTo>
                  <a:lnTo>
                    <a:pt x="17" y="89"/>
                  </a:lnTo>
                  <a:lnTo>
                    <a:pt x="7" y="99"/>
                  </a:lnTo>
                  <a:lnTo>
                    <a:pt x="42" y="117"/>
                  </a:lnTo>
                  <a:lnTo>
                    <a:pt x="72" y="132"/>
                  </a:lnTo>
                  <a:lnTo>
                    <a:pt x="114" y="132"/>
                  </a:lnTo>
                  <a:lnTo>
                    <a:pt x="189" y="129"/>
                  </a:lnTo>
                  <a:lnTo>
                    <a:pt x="234" y="119"/>
                  </a:lnTo>
                  <a:lnTo>
                    <a:pt x="221" y="89"/>
                  </a:lnTo>
                  <a:lnTo>
                    <a:pt x="251" y="84"/>
                  </a:lnTo>
                  <a:lnTo>
                    <a:pt x="219" y="65"/>
                  </a:lnTo>
                  <a:lnTo>
                    <a:pt x="201" y="27"/>
                  </a:lnTo>
                  <a:lnTo>
                    <a:pt x="209" y="7"/>
                  </a:lnTo>
                  <a:lnTo>
                    <a:pt x="174" y="0"/>
                  </a:lnTo>
                  <a:lnTo>
                    <a:pt x="164" y="40"/>
                  </a:lnTo>
                  <a:lnTo>
                    <a:pt x="144" y="17"/>
                  </a:lnTo>
                  <a:lnTo>
                    <a:pt x="129" y="7"/>
                  </a:lnTo>
                  <a:lnTo>
                    <a:pt x="117" y="27"/>
                  </a:lnTo>
                  <a:lnTo>
                    <a:pt x="104" y="2"/>
                  </a:lnTo>
                  <a:lnTo>
                    <a:pt x="77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5 w 35"/>
                <a:gd name="T33" fmla="*/ 17 h 17"/>
                <a:gd name="T34" fmla="*/ 17 w 35"/>
                <a:gd name="T3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5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110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7 w 35"/>
                <a:gd name="T3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111"/>
            <p:cNvSpPr>
              <a:spLocks/>
            </p:cNvSpPr>
            <p:nvPr/>
          </p:nvSpPr>
          <p:spPr bwMode="auto">
            <a:xfrm>
              <a:off x="1653872" y="1693916"/>
              <a:ext cx="149680" cy="92111"/>
            </a:xfrm>
            <a:custGeom>
              <a:avLst/>
              <a:gdLst>
                <a:gd name="T0" fmla="*/ 104 w 104"/>
                <a:gd name="T1" fmla="*/ 0 h 64"/>
                <a:gd name="T2" fmla="*/ 77 w 104"/>
                <a:gd name="T3" fmla="*/ 10 h 64"/>
                <a:gd name="T4" fmla="*/ 37 w 104"/>
                <a:gd name="T5" fmla="*/ 27 h 64"/>
                <a:gd name="T6" fmla="*/ 2 w 104"/>
                <a:gd name="T7" fmla="*/ 37 h 64"/>
                <a:gd name="T8" fmla="*/ 0 w 104"/>
                <a:gd name="T9" fmla="*/ 57 h 64"/>
                <a:gd name="T10" fmla="*/ 44 w 104"/>
                <a:gd name="T11" fmla="*/ 64 h 64"/>
                <a:gd name="T12" fmla="*/ 77 w 104"/>
                <a:gd name="T13" fmla="*/ 35 h 64"/>
                <a:gd name="T14" fmla="*/ 104 w 104"/>
                <a:gd name="T15" fmla="*/ 35 h 64"/>
                <a:gd name="T16" fmla="*/ 104 w 104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64">
                  <a:moveTo>
                    <a:pt x="104" y="0"/>
                  </a:moveTo>
                  <a:lnTo>
                    <a:pt x="77" y="10"/>
                  </a:lnTo>
                  <a:lnTo>
                    <a:pt x="37" y="27"/>
                  </a:lnTo>
                  <a:lnTo>
                    <a:pt x="2" y="37"/>
                  </a:lnTo>
                  <a:lnTo>
                    <a:pt x="0" y="57"/>
                  </a:lnTo>
                  <a:lnTo>
                    <a:pt x="44" y="64"/>
                  </a:lnTo>
                  <a:lnTo>
                    <a:pt x="77" y="35"/>
                  </a:lnTo>
                  <a:lnTo>
                    <a:pt x="104" y="35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12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3 w 18"/>
                <a:gd name="T25" fmla="*/ 30 h 30"/>
                <a:gd name="T26" fmla="*/ 10 w 18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13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0 w 18"/>
                <a:gd name="T2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14"/>
            <p:cNvSpPr>
              <a:spLocks/>
            </p:cNvSpPr>
            <p:nvPr/>
          </p:nvSpPr>
          <p:spPr bwMode="auto">
            <a:xfrm>
              <a:off x="1799235" y="1737093"/>
              <a:ext cx="230278" cy="110822"/>
            </a:xfrm>
            <a:custGeom>
              <a:avLst/>
              <a:gdLst>
                <a:gd name="T0" fmla="*/ 55 w 160"/>
                <a:gd name="T1" fmla="*/ 24 h 77"/>
                <a:gd name="T2" fmla="*/ 40 w 160"/>
                <a:gd name="T3" fmla="*/ 42 h 77"/>
                <a:gd name="T4" fmla="*/ 5 w 160"/>
                <a:gd name="T5" fmla="*/ 42 h 77"/>
                <a:gd name="T6" fmla="*/ 0 w 160"/>
                <a:gd name="T7" fmla="*/ 67 h 77"/>
                <a:gd name="T8" fmla="*/ 38 w 160"/>
                <a:gd name="T9" fmla="*/ 77 h 77"/>
                <a:gd name="T10" fmla="*/ 68 w 160"/>
                <a:gd name="T11" fmla="*/ 72 h 77"/>
                <a:gd name="T12" fmla="*/ 95 w 160"/>
                <a:gd name="T13" fmla="*/ 62 h 77"/>
                <a:gd name="T14" fmla="*/ 130 w 160"/>
                <a:gd name="T15" fmla="*/ 57 h 77"/>
                <a:gd name="T16" fmla="*/ 160 w 160"/>
                <a:gd name="T17" fmla="*/ 64 h 77"/>
                <a:gd name="T18" fmla="*/ 145 w 160"/>
                <a:gd name="T19" fmla="*/ 32 h 77"/>
                <a:gd name="T20" fmla="*/ 110 w 160"/>
                <a:gd name="T21" fmla="*/ 22 h 77"/>
                <a:gd name="T22" fmla="*/ 105 w 160"/>
                <a:gd name="T23" fmla="*/ 0 h 77"/>
                <a:gd name="T24" fmla="*/ 78 w 160"/>
                <a:gd name="T25" fmla="*/ 5 h 77"/>
                <a:gd name="T26" fmla="*/ 75 w 160"/>
                <a:gd name="T27" fmla="*/ 22 h 77"/>
                <a:gd name="T28" fmla="*/ 55 w 160"/>
                <a:gd name="T29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77">
                  <a:moveTo>
                    <a:pt x="55" y="24"/>
                  </a:moveTo>
                  <a:lnTo>
                    <a:pt x="40" y="42"/>
                  </a:lnTo>
                  <a:lnTo>
                    <a:pt x="5" y="42"/>
                  </a:lnTo>
                  <a:lnTo>
                    <a:pt x="0" y="67"/>
                  </a:lnTo>
                  <a:lnTo>
                    <a:pt x="38" y="77"/>
                  </a:lnTo>
                  <a:lnTo>
                    <a:pt x="68" y="72"/>
                  </a:lnTo>
                  <a:lnTo>
                    <a:pt x="95" y="62"/>
                  </a:lnTo>
                  <a:lnTo>
                    <a:pt x="130" y="57"/>
                  </a:lnTo>
                  <a:lnTo>
                    <a:pt x="160" y="64"/>
                  </a:lnTo>
                  <a:lnTo>
                    <a:pt x="145" y="32"/>
                  </a:lnTo>
                  <a:lnTo>
                    <a:pt x="110" y="22"/>
                  </a:lnTo>
                  <a:lnTo>
                    <a:pt x="105" y="0"/>
                  </a:lnTo>
                  <a:lnTo>
                    <a:pt x="78" y="5"/>
                  </a:lnTo>
                  <a:lnTo>
                    <a:pt x="75" y="22"/>
                  </a:lnTo>
                  <a:lnTo>
                    <a:pt x="55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15"/>
            <p:cNvSpPr>
              <a:spLocks/>
            </p:cNvSpPr>
            <p:nvPr/>
          </p:nvSpPr>
          <p:spPr bwMode="auto">
            <a:xfrm>
              <a:off x="1875514" y="1675207"/>
              <a:ext cx="67645" cy="54691"/>
            </a:xfrm>
            <a:custGeom>
              <a:avLst/>
              <a:gdLst>
                <a:gd name="T0" fmla="*/ 30 w 47"/>
                <a:gd name="T1" fmla="*/ 3 h 38"/>
                <a:gd name="T2" fmla="*/ 7 w 47"/>
                <a:gd name="T3" fmla="*/ 3 h 38"/>
                <a:gd name="T4" fmla="*/ 0 w 47"/>
                <a:gd name="T5" fmla="*/ 23 h 38"/>
                <a:gd name="T6" fmla="*/ 0 w 47"/>
                <a:gd name="T7" fmla="*/ 38 h 38"/>
                <a:gd name="T8" fmla="*/ 22 w 47"/>
                <a:gd name="T9" fmla="*/ 25 h 38"/>
                <a:gd name="T10" fmla="*/ 44 w 47"/>
                <a:gd name="T11" fmla="*/ 18 h 38"/>
                <a:gd name="T12" fmla="*/ 47 w 47"/>
                <a:gd name="T13" fmla="*/ 0 h 38"/>
                <a:gd name="T14" fmla="*/ 30 w 47"/>
                <a:gd name="T1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8">
                  <a:moveTo>
                    <a:pt x="30" y="3"/>
                  </a:moveTo>
                  <a:lnTo>
                    <a:pt x="7" y="3"/>
                  </a:lnTo>
                  <a:lnTo>
                    <a:pt x="0" y="23"/>
                  </a:lnTo>
                  <a:lnTo>
                    <a:pt x="0" y="38"/>
                  </a:lnTo>
                  <a:lnTo>
                    <a:pt x="22" y="25"/>
                  </a:lnTo>
                  <a:lnTo>
                    <a:pt x="44" y="18"/>
                  </a:lnTo>
                  <a:lnTo>
                    <a:pt x="47" y="0"/>
                  </a:lnTo>
                  <a:lnTo>
                    <a:pt x="3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1871197" y="1614759"/>
              <a:ext cx="86354" cy="43177"/>
            </a:xfrm>
            <a:custGeom>
              <a:avLst/>
              <a:gdLst>
                <a:gd name="T0" fmla="*/ 15 w 60"/>
                <a:gd name="T1" fmla="*/ 10 h 30"/>
                <a:gd name="T2" fmla="*/ 30 w 60"/>
                <a:gd name="T3" fmla="*/ 0 h 30"/>
                <a:gd name="T4" fmla="*/ 50 w 60"/>
                <a:gd name="T5" fmla="*/ 3 h 30"/>
                <a:gd name="T6" fmla="*/ 60 w 60"/>
                <a:gd name="T7" fmla="*/ 17 h 30"/>
                <a:gd name="T8" fmla="*/ 33 w 60"/>
                <a:gd name="T9" fmla="*/ 27 h 30"/>
                <a:gd name="T10" fmla="*/ 0 w 60"/>
                <a:gd name="T11" fmla="*/ 30 h 30"/>
                <a:gd name="T12" fmla="*/ 15 w 60"/>
                <a:gd name="T13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0">
                  <a:moveTo>
                    <a:pt x="15" y="10"/>
                  </a:moveTo>
                  <a:lnTo>
                    <a:pt x="30" y="0"/>
                  </a:lnTo>
                  <a:lnTo>
                    <a:pt x="50" y="3"/>
                  </a:lnTo>
                  <a:lnTo>
                    <a:pt x="60" y="17"/>
                  </a:lnTo>
                  <a:lnTo>
                    <a:pt x="33" y="27"/>
                  </a:lnTo>
                  <a:lnTo>
                    <a:pt x="0" y="30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17"/>
            <p:cNvSpPr>
              <a:spLocks/>
            </p:cNvSpPr>
            <p:nvPr/>
          </p:nvSpPr>
          <p:spPr bwMode="auto">
            <a:xfrm>
              <a:off x="2043905" y="1614759"/>
              <a:ext cx="118017" cy="79157"/>
            </a:xfrm>
            <a:custGeom>
              <a:avLst/>
              <a:gdLst>
                <a:gd name="T0" fmla="*/ 14 w 82"/>
                <a:gd name="T1" fmla="*/ 0 h 55"/>
                <a:gd name="T2" fmla="*/ 37 w 82"/>
                <a:gd name="T3" fmla="*/ 3 h 55"/>
                <a:gd name="T4" fmla="*/ 57 w 82"/>
                <a:gd name="T5" fmla="*/ 10 h 55"/>
                <a:gd name="T6" fmla="*/ 77 w 82"/>
                <a:gd name="T7" fmla="*/ 30 h 55"/>
                <a:gd name="T8" fmla="*/ 82 w 82"/>
                <a:gd name="T9" fmla="*/ 50 h 55"/>
                <a:gd name="T10" fmla="*/ 44 w 82"/>
                <a:gd name="T11" fmla="*/ 55 h 55"/>
                <a:gd name="T12" fmla="*/ 37 w 82"/>
                <a:gd name="T13" fmla="*/ 35 h 55"/>
                <a:gd name="T14" fmla="*/ 14 w 82"/>
                <a:gd name="T15" fmla="*/ 32 h 55"/>
                <a:gd name="T16" fmla="*/ 0 w 82"/>
                <a:gd name="T17" fmla="*/ 12 h 55"/>
                <a:gd name="T18" fmla="*/ 14 w 82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5">
                  <a:moveTo>
                    <a:pt x="14" y="0"/>
                  </a:moveTo>
                  <a:lnTo>
                    <a:pt x="37" y="3"/>
                  </a:lnTo>
                  <a:lnTo>
                    <a:pt x="57" y="10"/>
                  </a:lnTo>
                  <a:lnTo>
                    <a:pt x="77" y="30"/>
                  </a:lnTo>
                  <a:lnTo>
                    <a:pt x="82" y="50"/>
                  </a:lnTo>
                  <a:lnTo>
                    <a:pt x="44" y="55"/>
                  </a:lnTo>
                  <a:lnTo>
                    <a:pt x="37" y="35"/>
                  </a:lnTo>
                  <a:lnTo>
                    <a:pt x="14" y="32"/>
                  </a:lnTo>
                  <a:lnTo>
                    <a:pt x="0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18"/>
            <p:cNvSpPr>
              <a:spLocks/>
            </p:cNvSpPr>
            <p:nvPr/>
          </p:nvSpPr>
          <p:spPr bwMode="auto">
            <a:xfrm>
              <a:off x="2043905" y="1862307"/>
              <a:ext cx="113699" cy="118017"/>
            </a:xfrm>
            <a:custGeom>
              <a:avLst/>
              <a:gdLst>
                <a:gd name="T0" fmla="*/ 27 w 79"/>
                <a:gd name="T1" fmla="*/ 5 h 82"/>
                <a:gd name="T2" fmla="*/ 32 w 79"/>
                <a:gd name="T3" fmla="*/ 24 h 82"/>
                <a:gd name="T4" fmla="*/ 29 w 79"/>
                <a:gd name="T5" fmla="*/ 44 h 82"/>
                <a:gd name="T6" fmla="*/ 2 w 79"/>
                <a:gd name="T7" fmla="*/ 29 h 82"/>
                <a:gd name="T8" fmla="*/ 0 w 79"/>
                <a:gd name="T9" fmla="*/ 49 h 82"/>
                <a:gd name="T10" fmla="*/ 24 w 79"/>
                <a:gd name="T11" fmla="*/ 64 h 82"/>
                <a:gd name="T12" fmla="*/ 37 w 79"/>
                <a:gd name="T13" fmla="*/ 79 h 82"/>
                <a:gd name="T14" fmla="*/ 64 w 79"/>
                <a:gd name="T15" fmla="*/ 82 h 82"/>
                <a:gd name="T16" fmla="*/ 79 w 79"/>
                <a:gd name="T17" fmla="*/ 54 h 82"/>
                <a:gd name="T18" fmla="*/ 69 w 79"/>
                <a:gd name="T19" fmla="*/ 34 h 82"/>
                <a:gd name="T20" fmla="*/ 72 w 79"/>
                <a:gd name="T21" fmla="*/ 0 h 82"/>
                <a:gd name="T22" fmla="*/ 27 w 79"/>
                <a:gd name="T23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82">
                  <a:moveTo>
                    <a:pt x="27" y="5"/>
                  </a:moveTo>
                  <a:lnTo>
                    <a:pt x="32" y="24"/>
                  </a:lnTo>
                  <a:lnTo>
                    <a:pt x="29" y="44"/>
                  </a:lnTo>
                  <a:lnTo>
                    <a:pt x="2" y="29"/>
                  </a:lnTo>
                  <a:lnTo>
                    <a:pt x="0" y="49"/>
                  </a:lnTo>
                  <a:lnTo>
                    <a:pt x="24" y="64"/>
                  </a:lnTo>
                  <a:lnTo>
                    <a:pt x="37" y="79"/>
                  </a:lnTo>
                  <a:lnTo>
                    <a:pt x="64" y="82"/>
                  </a:lnTo>
                  <a:lnTo>
                    <a:pt x="79" y="54"/>
                  </a:lnTo>
                  <a:lnTo>
                    <a:pt x="69" y="34"/>
                  </a:lnTo>
                  <a:lnTo>
                    <a:pt x="72" y="0"/>
                  </a:lnTo>
                  <a:lnTo>
                    <a:pt x="2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19"/>
            <p:cNvSpPr>
              <a:spLocks/>
            </p:cNvSpPr>
            <p:nvPr/>
          </p:nvSpPr>
          <p:spPr bwMode="auto">
            <a:xfrm>
              <a:off x="2068372" y="2036454"/>
              <a:ext cx="71962" cy="54691"/>
            </a:xfrm>
            <a:custGeom>
              <a:avLst/>
              <a:gdLst>
                <a:gd name="T0" fmla="*/ 25 w 50"/>
                <a:gd name="T1" fmla="*/ 0 h 38"/>
                <a:gd name="T2" fmla="*/ 7 w 50"/>
                <a:gd name="T3" fmla="*/ 13 h 38"/>
                <a:gd name="T4" fmla="*/ 0 w 50"/>
                <a:gd name="T5" fmla="*/ 35 h 38"/>
                <a:gd name="T6" fmla="*/ 30 w 50"/>
                <a:gd name="T7" fmla="*/ 38 h 38"/>
                <a:gd name="T8" fmla="*/ 50 w 50"/>
                <a:gd name="T9" fmla="*/ 25 h 38"/>
                <a:gd name="T10" fmla="*/ 25 w 50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38">
                  <a:moveTo>
                    <a:pt x="25" y="0"/>
                  </a:moveTo>
                  <a:lnTo>
                    <a:pt x="7" y="13"/>
                  </a:lnTo>
                  <a:lnTo>
                    <a:pt x="0" y="35"/>
                  </a:lnTo>
                  <a:lnTo>
                    <a:pt x="30" y="38"/>
                  </a:lnTo>
                  <a:lnTo>
                    <a:pt x="50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2193586" y="1857989"/>
              <a:ext cx="118017" cy="93551"/>
            </a:xfrm>
            <a:custGeom>
              <a:avLst/>
              <a:gdLst>
                <a:gd name="T0" fmla="*/ 0 w 82"/>
                <a:gd name="T1" fmla="*/ 65 h 65"/>
                <a:gd name="T2" fmla="*/ 2 w 82"/>
                <a:gd name="T3" fmla="*/ 37 h 65"/>
                <a:gd name="T4" fmla="*/ 12 w 82"/>
                <a:gd name="T5" fmla="*/ 12 h 65"/>
                <a:gd name="T6" fmla="*/ 40 w 82"/>
                <a:gd name="T7" fmla="*/ 0 h 65"/>
                <a:gd name="T8" fmla="*/ 65 w 82"/>
                <a:gd name="T9" fmla="*/ 3 h 65"/>
                <a:gd name="T10" fmla="*/ 82 w 82"/>
                <a:gd name="T11" fmla="*/ 8 h 65"/>
                <a:gd name="T12" fmla="*/ 67 w 82"/>
                <a:gd name="T13" fmla="*/ 27 h 65"/>
                <a:gd name="T14" fmla="*/ 42 w 82"/>
                <a:gd name="T15" fmla="*/ 45 h 65"/>
                <a:gd name="T16" fmla="*/ 25 w 82"/>
                <a:gd name="T17" fmla="*/ 45 h 65"/>
                <a:gd name="T18" fmla="*/ 17 w 82"/>
                <a:gd name="T19" fmla="*/ 65 h 65"/>
                <a:gd name="T20" fmla="*/ 0 w 82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5">
                  <a:moveTo>
                    <a:pt x="0" y="65"/>
                  </a:moveTo>
                  <a:lnTo>
                    <a:pt x="2" y="37"/>
                  </a:lnTo>
                  <a:lnTo>
                    <a:pt x="12" y="12"/>
                  </a:lnTo>
                  <a:lnTo>
                    <a:pt x="40" y="0"/>
                  </a:lnTo>
                  <a:lnTo>
                    <a:pt x="65" y="3"/>
                  </a:lnTo>
                  <a:lnTo>
                    <a:pt x="82" y="8"/>
                  </a:lnTo>
                  <a:lnTo>
                    <a:pt x="67" y="27"/>
                  </a:lnTo>
                  <a:lnTo>
                    <a:pt x="42" y="45"/>
                  </a:lnTo>
                  <a:lnTo>
                    <a:pt x="25" y="45"/>
                  </a:lnTo>
                  <a:lnTo>
                    <a:pt x="17" y="65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21"/>
            <p:cNvSpPr>
              <a:spLocks/>
            </p:cNvSpPr>
            <p:nvPr/>
          </p:nvSpPr>
          <p:spPr bwMode="auto">
            <a:xfrm>
              <a:off x="2321677" y="1865186"/>
              <a:ext cx="569937" cy="515246"/>
            </a:xfrm>
            <a:custGeom>
              <a:avLst/>
              <a:gdLst>
                <a:gd name="T0" fmla="*/ 58 w 396"/>
                <a:gd name="T1" fmla="*/ 0 h 358"/>
                <a:gd name="T2" fmla="*/ 20 w 396"/>
                <a:gd name="T3" fmla="*/ 12 h 358"/>
                <a:gd name="T4" fmla="*/ 0 w 396"/>
                <a:gd name="T5" fmla="*/ 50 h 358"/>
                <a:gd name="T6" fmla="*/ 3 w 396"/>
                <a:gd name="T7" fmla="*/ 85 h 358"/>
                <a:gd name="T8" fmla="*/ 30 w 396"/>
                <a:gd name="T9" fmla="*/ 94 h 358"/>
                <a:gd name="T10" fmla="*/ 18 w 396"/>
                <a:gd name="T11" fmla="*/ 109 h 358"/>
                <a:gd name="T12" fmla="*/ 25 w 396"/>
                <a:gd name="T13" fmla="*/ 119 h 358"/>
                <a:gd name="T14" fmla="*/ 82 w 396"/>
                <a:gd name="T15" fmla="*/ 112 h 358"/>
                <a:gd name="T16" fmla="*/ 120 w 396"/>
                <a:gd name="T17" fmla="*/ 129 h 358"/>
                <a:gd name="T18" fmla="*/ 147 w 396"/>
                <a:gd name="T19" fmla="*/ 112 h 358"/>
                <a:gd name="T20" fmla="*/ 182 w 396"/>
                <a:gd name="T21" fmla="*/ 142 h 358"/>
                <a:gd name="T22" fmla="*/ 177 w 396"/>
                <a:gd name="T23" fmla="*/ 164 h 358"/>
                <a:gd name="T24" fmla="*/ 209 w 396"/>
                <a:gd name="T25" fmla="*/ 164 h 358"/>
                <a:gd name="T26" fmla="*/ 227 w 396"/>
                <a:gd name="T27" fmla="*/ 179 h 358"/>
                <a:gd name="T28" fmla="*/ 229 w 396"/>
                <a:gd name="T29" fmla="*/ 211 h 358"/>
                <a:gd name="T30" fmla="*/ 197 w 396"/>
                <a:gd name="T31" fmla="*/ 249 h 358"/>
                <a:gd name="T32" fmla="*/ 142 w 396"/>
                <a:gd name="T33" fmla="*/ 261 h 358"/>
                <a:gd name="T34" fmla="*/ 130 w 396"/>
                <a:gd name="T35" fmla="*/ 281 h 358"/>
                <a:gd name="T36" fmla="*/ 150 w 396"/>
                <a:gd name="T37" fmla="*/ 301 h 358"/>
                <a:gd name="T38" fmla="*/ 197 w 396"/>
                <a:gd name="T39" fmla="*/ 291 h 358"/>
                <a:gd name="T40" fmla="*/ 242 w 396"/>
                <a:gd name="T41" fmla="*/ 326 h 358"/>
                <a:gd name="T42" fmla="*/ 304 w 396"/>
                <a:gd name="T43" fmla="*/ 358 h 358"/>
                <a:gd name="T44" fmla="*/ 284 w 396"/>
                <a:gd name="T45" fmla="*/ 308 h 358"/>
                <a:gd name="T46" fmla="*/ 326 w 396"/>
                <a:gd name="T47" fmla="*/ 336 h 358"/>
                <a:gd name="T48" fmla="*/ 339 w 396"/>
                <a:gd name="T49" fmla="*/ 306 h 358"/>
                <a:gd name="T50" fmla="*/ 329 w 396"/>
                <a:gd name="T51" fmla="*/ 268 h 358"/>
                <a:gd name="T52" fmla="*/ 299 w 396"/>
                <a:gd name="T53" fmla="*/ 261 h 358"/>
                <a:gd name="T54" fmla="*/ 301 w 396"/>
                <a:gd name="T55" fmla="*/ 226 h 358"/>
                <a:gd name="T56" fmla="*/ 316 w 396"/>
                <a:gd name="T57" fmla="*/ 221 h 358"/>
                <a:gd name="T58" fmla="*/ 366 w 396"/>
                <a:gd name="T59" fmla="*/ 271 h 358"/>
                <a:gd name="T60" fmla="*/ 383 w 396"/>
                <a:gd name="T61" fmla="*/ 241 h 358"/>
                <a:gd name="T62" fmla="*/ 396 w 396"/>
                <a:gd name="T63" fmla="*/ 219 h 358"/>
                <a:gd name="T64" fmla="*/ 366 w 396"/>
                <a:gd name="T65" fmla="*/ 196 h 358"/>
                <a:gd name="T66" fmla="*/ 331 w 396"/>
                <a:gd name="T67" fmla="*/ 189 h 358"/>
                <a:gd name="T68" fmla="*/ 306 w 396"/>
                <a:gd name="T69" fmla="*/ 154 h 358"/>
                <a:gd name="T70" fmla="*/ 326 w 396"/>
                <a:gd name="T71" fmla="*/ 132 h 358"/>
                <a:gd name="T72" fmla="*/ 309 w 396"/>
                <a:gd name="T73" fmla="*/ 104 h 358"/>
                <a:gd name="T74" fmla="*/ 261 w 396"/>
                <a:gd name="T75" fmla="*/ 85 h 358"/>
                <a:gd name="T76" fmla="*/ 229 w 396"/>
                <a:gd name="T77" fmla="*/ 70 h 358"/>
                <a:gd name="T78" fmla="*/ 207 w 396"/>
                <a:gd name="T79" fmla="*/ 27 h 358"/>
                <a:gd name="T80" fmla="*/ 145 w 396"/>
                <a:gd name="T81" fmla="*/ 35 h 358"/>
                <a:gd name="T82" fmla="*/ 125 w 396"/>
                <a:gd name="T83" fmla="*/ 60 h 358"/>
                <a:gd name="T84" fmla="*/ 135 w 396"/>
                <a:gd name="T85" fmla="*/ 3 h 358"/>
                <a:gd name="T86" fmla="*/ 92 w 396"/>
                <a:gd name="T87" fmla="*/ 0 h 358"/>
                <a:gd name="T88" fmla="*/ 70 w 396"/>
                <a:gd name="T89" fmla="*/ 27 h 358"/>
                <a:gd name="T90" fmla="*/ 68 w 396"/>
                <a:gd name="T91" fmla="*/ 50 h 358"/>
                <a:gd name="T92" fmla="*/ 45 w 396"/>
                <a:gd name="T93" fmla="*/ 47 h 358"/>
                <a:gd name="T94" fmla="*/ 58 w 396"/>
                <a:gd name="T9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6" h="358">
                  <a:moveTo>
                    <a:pt x="58" y="0"/>
                  </a:moveTo>
                  <a:lnTo>
                    <a:pt x="20" y="12"/>
                  </a:lnTo>
                  <a:lnTo>
                    <a:pt x="0" y="50"/>
                  </a:lnTo>
                  <a:lnTo>
                    <a:pt x="3" y="85"/>
                  </a:lnTo>
                  <a:lnTo>
                    <a:pt x="30" y="94"/>
                  </a:lnTo>
                  <a:lnTo>
                    <a:pt x="18" y="109"/>
                  </a:lnTo>
                  <a:lnTo>
                    <a:pt x="25" y="119"/>
                  </a:lnTo>
                  <a:lnTo>
                    <a:pt x="82" y="112"/>
                  </a:lnTo>
                  <a:lnTo>
                    <a:pt x="120" y="129"/>
                  </a:lnTo>
                  <a:lnTo>
                    <a:pt x="147" y="112"/>
                  </a:lnTo>
                  <a:lnTo>
                    <a:pt x="182" y="142"/>
                  </a:lnTo>
                  <a:lnTo>
                    <a:pt x="177" y="164"/>
                  </a:lnTo>
                  <a:lnTo>
                    <a:pt x="209" y="164"/>
                  </a:lnTo>
                  <a:lnTo>
                    <a:pt x="227" y="179"/>
                  </a:lnTo>
                  <a:lnTo>
                    <a:pt x="229" y="211"/>
                  </a:lnTo>
                  <a:lnTo>
                    <a:pt x="197" y="249"/>
                  </a:lnTo>
                  <a:lnTo>
                    <a:pt x="142" y="261"/>
                  </a:lnTo>
                  <a:lnTo>
                    <a:pt x="130" y="281"/>
                  </a:lnTo>
                  <a:lnTo>
                    <a:pt x="150" y="301"/>
                  </a:lnTo>
                  <a:lnTo>
                    <a:pt x="197" y="291"/>
                  </a:lnTo>
                  <a:lnTo>
                    <a:pt x="242" y="326"/>
                  </a:lnTo>
                  <a:lnTo>
                    <a:pt x="304" y="358"/>
                  </a:lnTo>
                  <a:lnTo>
                    <a:pt x="284" y="308"/>
                  </a:lnTo>
                  <a:lnTo>
                    <a:pt x="326" y="336"/>
                  </a:lnTo>
                  <a:lnTo>
                    <a:pt x="339" y="306"/>
                  </a:lnTo>
                  <a:lnTo>
                    <a:pt x="329" y="268"/>
                  </a:lnTo>
                  <a:lnTo>
                    <a:pt x="299" y="261"/>
                  </a:lnTo>
                  <a:lnTo>
                    <a:pt x="301" y="226"/>
                  </a:lnTo>
                  <a:lnTo>
                    <a:pt x="316" y="221"/>
                  </a:lnTo>
                  <a:lnTo>
                    <a:pt x="366" y="271"/>
                  </a:lnTo>
                  <a:lnTo>
                    <a:pt x="383" y="241"/>
                  </a:lnTo>
                  <a:lnTo>
                    <a:pt x="396" y="219"/>
                  </a:lnTo>
                  <a:lnTo>
                    <a:pt x="366" y="196"/>
                  </a:lnTo>
                  <a:lnTo>
                    <a:pt x="331" y="189"/>
                  </a:lnTo>
                  <a:lnTo>
                    <a:pt x="306" y="154"/>
                  </a:lnTo>
                  <a:lnTo>
                    <a:pt x="326" y="132"/>
                  </a:lnTo>
                  <a:lnTo>
                    <a:pt x="309" y="104"/>
                  </a:lnTo>
                  <a:lnTo>
                    <a:pt x="261" y="85"/>
                  </a:lnTo>
                  <a:lnTo>
                    <a:pt x="229" y="70"/>
                  </a:lnTo>
                  <a:lnTo>
                    <a:pt x="207" y="27"/>
                  </a:lnTo>
                  <a:lnTo>
                    <a:pt x="145" y="35"/>
                  </a:lnTo>
                  <a:lnTo>
                    <a:pt x="125" y="60"/>
                  </a:lnTo>
                  <a:lnTo>
                    <a:pt x="135" y="3"/>
                  </a:lnTo>
                  <a:lnTo>
                    <a:pt x="92" y="0"/>
                  </a:lnTo>
                  <a:lnTo>
                    <a:pt x="70" y="27"/>
                  </a:lnTo>
                  <a:lnTo>
                    <a:pt x="68" y="50"/>
                  </a:lnTo>
                  <a:lnTo>
                    <a:pt x="45" y="47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5 w 32"/>
                <a:gd name="T35" fmla="*/ 38 h 38"/>
                <a:gd name="T36" fmla="*/ 3 w 32"/>
                <a:gd name="T3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5" y="38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3 w 32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24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10 w 17"/>
                <a:gd name="T25" fmla="*/ 35 h 35"/>
                <a:gd name="T26" fmla="*/ 7 w 1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10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25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7 w 1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26"/>
            <p:cNvSpPr>
              <a:spLocks/>
            </p:cNvSpPr>
            <p:nvPr/>
          </p:nvSpPr>
          <p:spPr bwMode="auto">
            <a:xfrm>
              <a:off x="2311603" y="2250901"/>
              <a:ext cx="103625" cy="90671"/>
            </a:xfrm>
            <a:custGeom>
              <a:avLst/>
              <a:gdLst>
                <a:gd name="T0" fmla="*/ 32 w 72"/>
                <a:gd name="T1" fmla="*/ 0 h 63"/>
                <a:gd name="T2" fmla="*/ 62 w 72"/>
                <a:gd name="T3" fmla="*/ 8 h 63"/>
                <a:gd name="T4" fmla="*/ 72 w 72"/>
                <a:gd name="T5" fmla="*/ 28 h 63"/>
                <a:gd name="T6" fmla="*/ 47 w 72"/>
                <a:gd name="T7" fmla="*/ 38 h 63"/>
                <a:gd name="T8" fmla="*/ 17 w 72"/>
                <a:gd name="T9" fmla="*/ 63 h 63"/>
                <a:gd name="T10" fmla="*/ 0 w 72"/>
                <a:gd name="T11" fmla="*/ 38 h 63"/>
                <a:gd name="T12" fmla="*/ 2 w 72"/>
                <a:gd name="T13" fmla="*/ 13 h 63"/>
                <a:gd name="T14" fmla="*/ 32 w 72"/>
                <a:gd name="T1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63">
                  <a:moveTo>
                    <a:pt x="32" y="0"/>
                  </a:moveTo>
                  <a:lnTo>
                    <a:pt x="62" y="8"/>
                  </a:lnTo>
                  <a:lnTo>
                    <a:pt x="72" y="28"/>
                  </a:lnTo>
                  <a:lnTo>
                    <a:pt x="47" y="38"/>
                  </a:lnTo>
                  <a:lnTo>
                    <a:pt x="17" y="63"/>
                  </a:lnTo>
                  <a:lnTo>
                    <a:pt x="0" y="38"/>
                  </a:lnTo>
                  <a:lnTo>
                    <a:pt x="2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27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28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29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30"/>
            <p:cNvSpPr>
              <a:spLocks/>
            </p:cNvSpPr>
            <p:nvPr/>
          </p:nvSpPr>
          <p:spPr bwMode="auto">
            <a:xfrm>
              <a:off x="2203660" y="1629151"/>
              <a:ext cx="64766" cy="64765"/>
            </a:xfrm>
            <a:custGeom>
              <a:avLst/>
              <a:gdLst>
                <a:gd name="T0" fmla="*/ 0 w 45"/>
                <a:gd name="T1" fmla="*/ 7 h 45"/>
                <a:gd name="T2" fmla="*/ 0 w 45"/>
                <a:gd name="T3" fmla="*/ 30 h 45"/>
                <a:gd name="T4" fmla="*/ 18 w 45"/>
                <a:gd name="T5" fmla="*/ 45 h 45"/>
                <a:gd name="T6" fmla="*/ 35 w 45"/>
                <a:gd name="T7" fmla="*/ 42 h 45"/>
                <a:gd name="T8" fmla="*/ 45 w 45"/>
                <a:gd name="T9" fmla="*/ 20 h 45"/>
                <a:gd name="T10" fmla="*/ 30 w 45"/>
                <a:gd name="T11" fmla="*/ 0 h 45"/>
                <a:gd name="T12" fmla="*/ 0 w 4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0" y="7"/>
                  </a:moveTo>
                  <a:lnTo>
                    <a:pt x="0" y="30"/>
                  </a:lnTo>
                  <a:lnTo>
                    <a:pt x="18" y="45"/>
                  </a:lnTo>
                  <a:lnTo>
                    <a:pt x="35" y="42"/>
                  </a:lnTo>
                  <a:lnTo>
                    <a:pt x="45" y="20"/>
                  </a:lnTo>
                  <a:lnTo>
                    <a:pt x="3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31"/>
            <p:cNvSpPr>
              <a:spLocks/>
            </p:cNvSpPr>
            <p:nvPr/>
          </p:nvSpPr>
          <p:spPr bwMode="auto">
            <a:xfrm>
              <a:off x="2193586" y="1561507"/>
              <a:ext cx="43177" cy="35981"/>
            </a:xfrm>
            <a:custGeom>
              <a:avLst/>
              <a:gdLst>
                <a:gd name="T0" fmla="*/ 2 w 30"/>
                <a:gd name="T1" fmla="*/ 0 h 25"/>
                <a:gd name="T2" fmla="*/ 0 w 30"/>
                <a:gd name="T3" fmla="*/ 25 h 25"/>
                <a:gd name="T4" fmla="*/ 25 w 30"/>
                <a:gd name="T5" fmla="*/ 25 h 25"/>
                <a:gd name="T6" fmla="*/ 30 w 30"/>
                <a:gd name="T7" fmla="*/ 7 h 25"/>
                <a:gd name="T8" fmla="*/ 2 w 30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5">
                  <a:moveTo>
                    <a:pt x="2" y="0"/>
                  </a:moveTo>
                  <a:lnTo>
                    <a:pt x="0" y="25"/>
                  </a:lnTo>
                  <a:lnTo>
                    <a:pt x="25" y="25"/>
                  </a:lnTo>
                  <a:lnTo>
                    <a:pt x="30" y="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32"/>
            <p:cNvSpPr>
              <a:spLocks/>
            </p:cNvSpPr>
            <p:nvPr/>
          </p:nvSpPr>
          <p:spPr bwMode="auto">
            <a:xfrm>
              <a:off x="2287136" y="1503937"/>
              <a:ext cx="142485" cy="153999"/>
            </a:xfrm>
            <a:custGeom>
              <a:avLst/>
              <a:gdLst>
                <a:gd name="T0" fmla="*/ 32 w 99"/>
                <a:gd name="T1" fmla="*/ 0 h 107"/>
                <a:gd name="T2" fmla="*/ 17 w 99"/>
                <a:gd name="T3" fmla="*/ 22 h 107"/>
                <a:gd name="T4" fmla="*/ 0 w 99"/>
                <a:gd name="T5" fmla="*/ 42 h 107"/>
                <a:gd name="T6" fmla="*/ 2 w 99"/>
                <a:gd name="T7" fmla="*/ 67 h 107"/>
                <a:gd name="T8" fmla="*/ 24 w 99"/>
                <a:gd name="T9" fmla="*/ 67 h 107"/>
                <a:gd name="T10" fmla="*/ 19 w 99"/>
                <a:gd name="T11" fmla="*/ 82 h 107"/>
                <a:gd name="T12" fmla="*/ 27 w 99"/>
                <a:gd name="T13" fmla="*/ 102 h 107"/>
                <a:gd name="T14" fmla="*/ 82 w 99"/>
                <a:gd name="T15" fmla="*/ 107 h 107"/>
                <a:gd name="T16" fmla="*/ 97 w 99"/>
                <a:gd name="T17" fmla="*/ 87 h 107"/>
                <a:gd name="T18" fmla="*/ 99 w 99"/>
                <a:gd name="T19" fmla="*/ 52 h 107"/>
                <a:gd name="T20" fmla="*/ 79 w 99"/>
                <a:gd name="T21" fmla="*/ 25 h 107"/>
                <a:gd name="T22" fmla="*/ 32 w 99"/>
                <a:gd name="T2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07">
                  <a:moveTo>
                    <a:pt x="32" y="0"/>
                  </a:moveTo>
                  <a:lnTo>
                    <a:pt x="17" y="22"/>
                  </a:lnTo>
                  <a:lnTo>
                    <a:pt x="0" y="42"/>
                  </a:lnTo>
                  <a:lnTo>
                    <a:pt x="2" y="67"/>
                  </a:lnTo>
                  <a:lnTo>
                    <a:pt x="24" y="67"/>
                  </a:lnTo>
                  <a:lnTo>
                    <a:pt x="19" y="82"/>
                  </a:lnTo>
                  <a:lnTo>
                    <a:pt x="27" y="102"/>
                  </a:lnTo>
                  <a:lnTo>
                    <a:pt x="82" y="107"/>
                  </a:lnTo>
                  <a:lnTo>
                    <a:pt x="97" y="87"/>
                  </a:lnTo>
                  <a:lnTo>
                    <a:pt x="99" y="52"/>
                  </a:lnTo>
                  <a:lnTo>
                    <a:pt x="79" y="25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33"/>
            <p:cNvSpPr>
              <a:spLocks/>
            </p:cNvSpPr>
            <p:nvPr/>
          </p:nvSpPr>
          <p:spPr bwMode="auto">
            <a:xfrm>
              <a:off x="2369173" y="1414705"/>
              <a:ext cx="621750" cy="354052"/>
            </a:xfrm>
            <a:custGeom>
              <a:avLst/>
              <a:gdLst>
                <a:gd name="T0" fmla="*/ 35 w 432"/>
                <a:gd name="T1" fmla="*/ 47 h 246"/>
                <a:gd name="T2" fmla="*/ 42 w 432"/>
                <a:gd name="T3" fmla="*/ 64 h 246"/>
                <a:gd name="T4" fmla="*/ 59 w 432"/>
                <a:gd name="T5" fmla="*/ 84 h 246"/>
                <a:gd name="T6" fmla="*/ 74 w 432"/>
                <a:gd name="T7" fmla="*/ 89 h 246"/>
                <a:gd name="T8" fmla="*/ 104 w 432"/>
                <a:gd name="T9" fmla="*/ 99 h 246"/>
                <a:gd name="T10" fmla="*/ 131 w 432"/>
                <a:gd name="T11" fmla="*/ 87 h 246"/>
                <a:gd name="T12" fmla="*/ 169 w 432"/>
                <a:gd name="T13" fmla="*/ 77 h 246"/>
                <a:gd name="T14" fmla="*/ 181 w 432"/>
                <a:gd name="T15" fmla="*/ 72 h 246"/>
                <a:gd name="T16" fmla="*/ 181 w 432"/>
                <a:gd name="T17" fmla="*/ 92 h 246"/>
                <a:gd name="T18" fmla="*/ 141 w 432"/>
                <a:gd name="T19" fmla="*/ 102 h 246"/>
                <a:gd name="T20" fmla="*/ 117 w 432"/>
                <a:gd name="T21" fmla="*/ 114 h 246"/>
                <a:gd name="T22" fmla="*/ 139 w 432"/>
                <a:gd name="T23" fmla="*/ 124 h 246"/>
                <a:gd name="T24" fmla="*/ 99 w 432"/>
                <a:gd name="T25" fmla="*/ 124 h 246"/>
                <a:gd name="T26" fmla="*/ 79 w 432"/>
                <a:gd name="T27" fmla="*/ 112 h 246"/>
                <a:gd name="T28" fmla="*/ 77 w 432"/>
                <a:gd name="T29" fmla="*/ 134 h 246"/>
                <a:gd name="T30" fmla="*/ 92 w 432"/>
                <a:gd name="T31" fmla="*/ 156 h 246"/>
                <a:gd name="T32" fmla="*/ 74 w 432"/>
                <a:gd name="T33" fmla="*/ 171 h 246"/>
                <a:gd name="T34" fmla="*/ 59 w 432"/>
                <a:gd name="T35" fmla="*/ 184 h 246"/>
                <a:gd name="T36" fmla="*/ 40 w 432"/>
                <a:gd name="T37" fmla="*/ 196 h 246"/>
                <a:gd name="T38" fmla="*/ 32 w 432"/>
                <a:gd name="T39" fmla="*/ 211 h 246"/>
                <a:gd name="T40" fmla="*/ 0 w 432"/>
                <a:gd name="T41" fmla="*/ 206 h 246"/>
                <a:gd name="T42" fmla="*/ 15 w 432"/>
                <a:gd name="T43" fmla="*/ 233 h 246"/>
                <a:gd name="T44" fmla="*/ 102 w 432"/>
                <a:gd name="T45" fmla="*/ 246 h 246"/>
                <a:gd name="T46" fmla="*/ 151 w 432"/>
                <a:gd name="T47" fmla="*/ 236 h 246"/>
                <a:gd name="T48" fmla="*/ 174 w 432"/>
                <a:gd name="T49" fmla="*/ 211 h 246"/>
                <a:gd name="T50" fmla="*/ 154 w 432"/>
                <a:gd name="T51" fmla="*/ 189 h 246"/>
                <a:gd name="T52" fmla="*/ 174 w 432"/>
                <a:gd name="T53" fmla="*/ 181 h 246"/>
                <a:gd name="T54" fmla="*/ 194 w 432"/>
                <a:gd name="T55" fmla="*/ 174 h 246"/>
                <a:gd name="T56" fmla="*/ 226 w 432"/>
                <a:gd name="T57" fmla="*/ 144 h 246"/>
                <a:gd name="T58" fmla="*/ 233 w 432"/>
                <a:gd name="T59" fmla="*/ 129 h 246"/>
                <a:gd name="T60" fmla="*/ 258 w 432"/>
                <a:gd name="T61" fmla="*/ 114 h 246"/>
                <a:gd name="T62" fmla="*/ 293 w 432"/>
                <a:gd name="T63" fmla="*/ 124 h 246"/>
                <a:gd name="T64" fmla="*/ 353 w 432"/>
                <a:gd name="T65" fmla="*/ 72 h 246"/>
                <a:gd name="T66" fmla="*/ 340 w 432"/>
                <a:gd name="T67" fmla="*/ 50 h 246"/>
                <a:gd name="T68" fmla="*/ 397 w 432"/>
                <a:gd name="T69" fmla="*/ 40 h 246"/>
                <a:gd name="T70" fmla="*/ 432 w 432"/>
                <a:gd name="T71" fmla="*/ 25 h 246"/>
                <a:gd name="T72" fmla="*/ 412 w 432"/>
                <a:gd name="T73" fmla="*/ 2 h 246"/>
                <a:gd name="T74" fmla="*/ 375 w 432"/>
                <a:gd name="T75" fmla="*/ 2 h 246"/>
                <a:gd name="T76" fmla="*/ 283 w 432"/>
                <a:gd name="T77" fmla="*/ 0 h 246"/>
                <a:gd name="T78" fmla="*/ 253 w 432"/>
                <a:gd name="T79" fmla="*/ 25 h 246"/>
                <a:gd name="T80" fmla="*/ 226 w 432"/>
                <a:gd name="T81" fmla="*/ 0 h 246"/>
                <a:gd name="T82" fmla="*/ 221 w 432"/>
                <a:gd name="T83" fmla="*/ 12 h 246"/>
                <a:gd name="T84" fmla="*/ 169 w 432"/>
                <a:gd name="T85" fmla="*/ 10 h 246"/>
                <a:gd name="T86" fmla="*/ 144 w 432"/>
                <a:gd name="T87" fmla="*/ 37 h 246"/>
                <a:gd name="T88" fmla="*/ 119 w 432"/>
                <a:gd name="T89" fmla="*/ 37 h 246"/>
                <a:gd name="T90" fmla="*/ 109 w 432"/>
                <a:gd name="T91" fmla="*/ 22 h 246"/>
                <a:gd name="T92" fmla="*/ 79 w 432"/>
                <a:gd name="T93" fmla="*/ 27 h 246"/>
                <a:gd name="T94" fmla="*/ 74 w 432"/>
                <a:gd name="T95" fmla="*/ 40 h 246"/>
                <a:gd name="T96" fmla="*/ 35 w 432"/>
                <a:gd name="T97" fmla="*/ 4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2" h="246">
                  <a:moveTo>
                    <a:pt x="35" y="47"/>
                  </a:moveTo>
                  <a:lnTo>
                    <a:pt x="42" y="64"/>
                  </a:lnTo>
                  <a:lnTo>
                    <a:pt x="59" y="84"/>
                  </a:lnTo>
                  <a:lnTo>
                    <a:pt x="74" y="89"/>
                  </a:lnTo>
                  <a:lnTo>
                    <a:pt x="104" y="99"/>
                  </a:lnTo>
                  <a:lnTo>
                    <a:pt x="131" y="87"/>
                  </a:lnTo>
                  <a:lnTo>
                    <a:pt x="169" y="77"/>
                  </a:lnTo>
                  <a:lnTo>
                    <a:pt x="181" y="72"/>
                  </a:lnTo>
                  <a:lnTo>
                    <a:pt x="181" y="92"/>
                  </a:lnTo>
                  <a:lnTo>
                    <a:pt x="141" y="102"/>
                  </a:lnTo>
                  <a:lnTo>
                    <a:pt x="117" y="114"/>
                  </a:lnTo>
                  <a:lnTo>
                    <a:pt x="139" y="124"/>
                  </a:lnTo>
                  <a:lnTo>
                    <a:pt x="99" y="124"/>
                  </a:lnTo>
                  <a:lnTo>
                    <a:pt x="79" y="112"/>
                  </a:lnTo>
                  <a:lnTo>
                    <a:pt x="77" y="134"/>
                  </a:lnTo>
                  <a:lnTo>
                    <a:pt x="92" y="156"/>
                  </a:lnTo>
                  <a:lnTo>
                    <a:pt x="74" y="171"/>
                  </a:lnTo>
                  <a:lnTo>
                    <a:pt x="59" y="184"/>
                  </a:lnTo>
                  <a:lnTo>
                    <a:pt x="40" y="196"/>
                  </a:lnTo>
                  <a:lnTo>
                    <a:pt x="32" y="211"/>
                  </a:lnTo>
                  <a:lnTo>
                    <a:pt x="0" y="206"/>
                  </a:lnTo>
                  <a:lnTo>
                    <a:pt x="15" y="233"/>
                  </a:lnTo>
                  <a:lnTo>
                    <a:pt x="102" y="246"/>
                  </a:lnTo>
                  <a:lnTo>
                    <a:pt x="151" y="236"/>
                  </a:lnTo>
                  <a:lnTo>
                    <a:pt x="174" y="211"/>
                  </a:lnTo>
                  <a:lnTo>
                    <a:pt x="154" y="189"/>
                  </a:lnTo>
                  <a:lnTo>
                    <a:pt x="174" y="181"/>
                  </a:lnTo>
                  <a:lnTo>
                    <a:pt x="194" y="174"/>
                  </a:lnTo>
                  <a:lnTo>
                    <a:pt x="226" y="144"/>
                  </a:lnTo>
                  <a:lnTo>
                    <a:pt x="233" y="129"/>
                  </a:lnTo>
                  <a:lnTo>
                    <a:pt x="258" y="114"/>
                  </a:lnTo>
                  <a:lnTo>
                    <a:pt x="293" y="124"/>
                  </a:lnTo>
                  <a:lnTo>
                    <a:pt x="353" y="72"/>
                  </a:lnTo>
                  <a:lnTo>
                    <a:pt x="340" y="50"/>
                  </a:lnTo>
                  <a:lnTo>
                    <a:pt x="397" y="40"/>
                  </a:lnTo>
                  <a:lnTo>
                    <a:pt x="432" y="25"/>
                  </a:lnTo>
                  <a:lnTo>
                    <a:pt x="412" y="2"/>
                  </a:lnTo>
                  <a:lnTo>
                    <a:pt x="375" y="2"/>
                  </a:lnTo>
                  <a:lnTo>
                    <a:pt x="283" y="0"/>
                  </a:lnTo>
                  <a:lnTo>
                    <a:pt x="253" y="25"/>
                  </a:lnTo>
                  <a:lnTo>
                    <a:pt x="226" y="0"/>
                  </a:lnTo>
                  <a:lnTo>
                    <a:pt x="221" y="12"/>
                  </a:lnTo>
                  <a:lnTo>
                    <a:pt x="169" y="10"/>
                  </a:lnTo>
                  <a:lnTo>
                    <a:pt x="144" y="37"/>
                  </a:lnTo>
                  <a:lnTo>
                    <a:pt x="119" y="37"/>
                  </a:lnTo>
                  <a:lnTo>
                    <a:pt x="109" y="22"/>
                  </a:lnTo>
                  <a:lnTo>
                    <a:pt x="79" y="27"/>
                  </a:lnTo>
                  <a:lnTo>
                    <a:pt x="74" y="40"/>
                  </a:lnTo>
                  <a:lnTo>
                    <a:pt x="35" y="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134"/>
            <p:cNvSpPr>
              <a:spLocks/>
            </p:cNvSpPr>
            <p:nvPr/>
          </p:nvSpPr>
          <p:spPr bwMode="auto">
            <a:xfrm>
              <a:off x="2265548" y="1715505"/>
              <a:ext cx="282090" cy="128091"/>
            </a:xfrm>
            <a:custGeom>
              <a:avLst/>
              <a:gdLst>
                <a:gd name="T0" fmla="*/ 25 w 196"/>
                <a:gd name="T1" fmla="*/ 0 h 89"/>
                <a:gd name="T2" fmla="*/ 0 w 196"/>
                <a:gd name="T3" fmla="*/ 22 h 89"/>
                <a:gd name="T4" fmla="*/ 15 w 196"/>
                <a:gd name="T5" fmla="*/ 42 h 89"/>
                <a:gd name="T6" fmla="*/ 42 w 196"/>
                <a:gd name="T7" fmla="*/ 74 h 89"/>
                <a:gd name="T8" fmla="*/ 69 w 196"/>
                <a:gd name="T9" fmla="*/ 87 h 89"/>
                <a:gd name="T10" fmla="*/ 149 w 196"/>
                <a:gd name="T11" fmla="*/ 77 h 89"/>
                <a:gd name="T12" fmla="*/ 196 w 196"/>
                <a:gd name="T13" fmla="*/ 89 h 89"/>
                <a:gd name="T14" fmla="*/ 189 w 196"/>
                <a:gd name="T15" fmla="*/ 57 h 89"/>
                <a:gd name="T16" fmla="*/ 124 w 196"/>
                <a:gd name="T17" fmla="*/ 52 h 89"/>
                <a:gd name="T18" fmla="*/ 67 w 196"/>
                <a:gd name="T19" fmla="*/ 37 h 89"/>
                <a:gd name="T20" fmla="*/ 57 w 196"/>
                <a:gd name="T21" fmla="*/ 2 h 89"/>
                <a:gd name="T22" fmla="*/ 25 w 196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89">
                  <a:moveTo>
                    <a:pt x="25" y="0"/>
                  </a:moveTo>
                  <a:lnTo>
                    <a:pt x="0" y="22"/>
                  </a:lnTo>
                  <a:lnTo>
                    <a:pt x="15" y="42"/>
                  </a:lnTo>
                  <a:lnTo>
                    <a:pt x="42" y="74"/>
                  </a:lnTo>
                  <a:lnTo>
                    <a:pt x="69" y="87"/>
                  </a:lnTo>
                  <a:lnTo>
                    <a:pt x="149" y="77"/>
                  </a:lnTo>
                  <a:lnTo>
                    <a:pt x="196" y="89"/>
                  </a:lnTo>
                  <a:lnTo>
                    <a:pt x="189" y="57"/>
                  </a:lnTo>
                  <a:lnTo>
                    <a:pt x="124" y="52"/>
                  </a:lnTo>
                  <a:lnTo>
                    <a:pt x="67" y="37"/>
                  </a:lnTo>
                  <a:lnTo>
                    <a:pt x="57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135"/>
            <p:cNvSpPr>
              <a:spLocks/>
            </p:cNvSpPr>
            <p:nvPr/>
          </p:nvSpPr>
          <p:spPr bwMode="auto">
            <a:xfrm>
              <a:off x="2200782" y="1790345"/>
              <a:ext cx="57569" cy="38859"/>
            </a:xfrm>
            <a:custGeom>
              <a:avLst/>
              <a:gdLst>
                <a:gd name="T0" fmla="*/ 15 w 40"/>
                <a:gd name="T1" fmla="*/ 0 h 27"/>
                <a:gd name="T2" fmla="*/ 0 w 40"/>
                <a:gd name="T3" fmla="*/ 20 h 27"/>
                <a:gd name="T4" fmla="*/ 22 w 40"/>
                <a:gd name="T5" fmla="*/ 27 h 27"/>
                <a:gd name="T6" fmla="*/ 40 w 40"/>
                <a:gd name="T7" fmla="*/ 20 h 27"/>
                <a:gd name="T8" fmla="*/ 37 w 40"/>
                <a:gd name="T9" fmla="*/ 5 h 27"/>
                <a:gd name="T10" fmla="*/ 15 w 4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7">
                  <a:moveTo>
                    <a:pt x="15" y="0"/>
                  </a:moveTo>
                  <a:lnTo>
                    <a:pt x="0" y="20"/>
                  </a:lnTo>
                  <a:lnTo>
                    <a:pt x="22" y="27"/>
                  </a:lnTo>
                  <a:lnTo>
                    <a:pt x="40" y="20"/>
                  </a:lnTo>
                  <a:lnTo>
                    <a:pt x="37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36"/>
            <p:cNvSpPr>
              <a:spLocks/>
            </p:cNvSpPr>
            <p:nvPr/>
          </p:nvSpPr>
          <p:spPr bwMode="auto">
            <a:xfrm>
              <a:off x="2744813" y="1374406"/>
              <a:ext cx="1269406" cy="1077988"/>
            </a:xfrm>
            <a:custGeom>
              <a:avLst/>
              <a:gdLst>
                <a:gd name="T0" fmla="*/ 169 w 882"/>
                <a:gd name="T1" fmla="*/ 102 h 749"/>
                <a:gd name="T2" fmla="*/ 114 w 882"/>
                <a:gd name="T3" fmla="*/ 152 h 749"/>
                <a:gd name="T4" fmla="*/ 37 w 882"/>
                <a:gd name="T5" fmla="*/ 192 h 749"/>
                <a:gd name="T6" fmla="*/ 5 w 882"/>
                <a:gd name="T7" fmla="*/ 217 h 749"/>
                <a:gd name="T8" fmla="*/ 79 w 882"/>
                <a:gd name="T9" fmla="*/ 232 h 749"/>
                <a:gd name="T10" fmla="*/ 25 w 882"/>
                <a:gd name="T11" fmla="*/ 239 h 749"/>
                <a:gd name="T12" fmla="*/ 176 w 882"/>
                <a:gd name="T13" fmla="*/ 271 h 749"/>
                <a:gd name="T14" fmla="*/ 221 w 882"/>
                <a:gd name="T15" fmla="*/ 351 h 749"/>
                <a:gd name="T16" fmla="*/ 233 w 882"/>
                <a:gd name="T17" fmla="*/ 421 h 749"/>
                <a:gd name="T18" fmla="*/ 268 w 882"/>
                <a:gd name="T19" fmla="*/ 435 h 749"/>
                <a:gd name="T20" fmla="*/ 281 w 882"/>
                <a:gd name="T21" fmla="*/ 465 h 749"/>
                <a:gd name="T22" fmla="*/ 241 w 882"/>
                <a:gd name="T23" fmla="*/ 520 h 749"/>
                <a:gd name="T24" fmla="*/ 246 w 882"/>
                <a:gd name="T25" fmla="*/ 602 h 749"/>
                <a:gd name="T26" fmla="*/ 296 w 882"/>
                <a:gd name="T27" fmla="*/ 716 h 749"/>
                <a:gd name="T28" fmla="*/ 343 w 882"/>
                <a:gd name="T29" fmla="*/ 749 h 749"/>
                <a:gd name="T30" fmla="*/ 400 w 882"/>
                <a:gd name="T31" fmla="*/ 664 h 749"/>
                <a:gd name="T32" fmla="*/ 425 w 882"/>
                <a:gd name="T33" fmla="*/ 597 h 749"/>
                <a:gd name="T34" fmla="*/ 532 w 882"/>
                <a:gd name="T35" fmla="*/ 572 h 749"/>
                <a:gd name="T36" fmla="*/ 626 w 882"/>
                <a:gd name="T37" fmla="*/ 522 h 749"/>
                <a:gd name="T38" fmla="*/ 713 w 882"/>
                <a:gd name="T39" fmla="*/ 453 h 749"/>
                <a:gd name="T40" fmla="*/ 646 w 882"/>
                <a:gd name="T41" fmla="*/ 435 h 749"/>
                <a:gd name="T42" fmla="*/ 673 w 882"/>
                <a:gd name="T43" fmla="*/ 411 h 749"/>
                <a:gd name="T44" fmla="*/ 723 w 882"/>
                <a:gd name="T45" fmla="*/ 440 h 749"/>
                <a:gd name="T46" fmla="*/ 721 w 882"/>
                <a:gd name="T47" fmla="*/ 391 h 749"/>
                <a:gd name="T48" fmla="*/ 688 w 882"/>
                <a:gd name="T49" fmla="*/ 356 h 749"/>
                <a:gd name="T50" fmla="*/ 723 w 882"/>
                <a:gd name="T51" fmla="*/ 366 h 749"/>
                <a:gd name="T52" fmla="*/ 758 w 882"/>
                <a:gd name="T53" fmla="*/ 344 h 749"/>
                <a:gd name="T54" fmla="*/ 768 w 882"/>
                <a:gd name="T55" fmla="*/ 329 h 749"/>
                <a:gd name="T56" fmla="*/ 793 w 882"/>
                <a:gd name="T57" fmla="*/ 294 h 749"/>
                <a:gd name="T58" fmla="*/ 763 w 882"/>
                <a:gd name="T59" fmla="*/ 259 h 749"/>
                <a:gd name="T60" fmla="*/ 790 w 882"/>
                <a:gd name="T61" fmla="*/ 239 h 749"/>
                <a:gd name="T62" fmla="*/ 736 w 882"/>
                <a:gd name="T63" fmla="*/ 207 h 749"/>
                <a:gd name="T64" fmla="*/ 775 w 882"/>
                <a:gd name="T65" fmla="*/ 157 h 749"/>
                <a:gd name="T66" fmla="*/ 760 w 882"/>
                <a:gd name="T67" fmla="*/ 130 h 749"/>
                <a:gd name="T68" fmla="*/ 800 w 882"/>
                <a:gd name="T69" fmla="*/ 117 h 749"/>
                <a:gd name="T70" fmla="*/ 882 w 882"/>
                <a:gd name="T71" fmla="*/ 78 h 749"/>
                <a:gd name="T72" fmla="*/ 765 w 882"/>
                <a:gd name="T73" fmla="*/ 83 h 749"/>
                <a:gd name="T74" fmla="*/ 738 w 882"/>
                <a:gd name="T75" fmla="*/ 63 h 749"/>
                <a:gd name="T76" fmla="*/ 681 w 882"/>
                <a:gd name="T77" fmla="*/ 55 h 749"/>
                <a:gd name="T78" fmla="*/ 636 w 882"/>
                <a:gd name="T79" fmla="*/ 45 h 749"/>
                <a:gd name="T80" fmla="*/ 736 w 882"/>
                <a:gd name="T81" fmla="*/ 28 h 749"/>
                <a:gd name="T82" fmla="*/ 579 w 882"/>
                <a:gd name="T83" fmla="*/ 25 h 749"/>
                <a:gd name="T84" fmla="*/ 507 w 882"/>
                <a:gd name="T85" fmla="*/ 3 h 749"/>
                <a:gd name="T86" fmla="*/ 420 w 882"/>
                <a:gd name="T87" fmla="*/ 18 h 749"/>
                <a:gd name="T88" fmla="*/ 410 w 882"/>
                <a:gd name="T89" fmla="*/ 70 h 749"/>
                <a:gd name="T90" fmla="*/ 373 w 882"/>
                <a:gd name="T91" fmla="*/ 50 h 749"/>
                <a:gd name="T92" fmla="*/ 348 w 882"/>
                <a:gd name="T93" fmla="*/ 80 h 749"/>
                <a:gd name="T94" fmla="*/ 318 w 882"/>
                <a:gd name="T95" fmla="*/ 55 h 749"/>
                <a:gd name="T96" fmla="*/ 296 w 882"/>
                <a:gd name="T97" fmla="*/ 68 h 749"/>
                <a:gd name="T98" fmla="*/ 226 w 882"/>
                <a:gd name="T99" fmla="*/ 63 h 749"/>
                <a:gd name="T100" fmla="*/ 186 w 882"/>
                <a:gd name="T101" fmla="*/ 8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2" h="749">
                  <a:moveTo>
                    <a:pt x="186" y="80"/>
                  </a:moveTo>
                  <a:lnTo>
                    <a:pt x="169" y="102"/>
                  </a:lnTo>
                  <a:lnTo>
                    <a:pt x="117" y="115"/>
                  </a:lnTo>
                  <a:lnTo>
                    <a:pt x="114" y="152"/>
                  </a:lnTo>
                  <a:lnTo>
                    <a:pt x="74" y="162"/>
                  </a:lnTo>
                  <a:lnTo>
                    <a:pt x="37" y="192"/>
                  </a:lnTo>
                  <a:lnTo>
                    <a:pt x="0" y="202"/>
                  </a:lnTo>
                  <a:lnTo>
                    <a:pt x="5" y="217"/>
                  </a:lnTo>
                  <a:lnTo>
                    <a:pt x="69" y="212"/>
                  </a:lnTo>
                  <a:lnTo>
                    <a:pt x="79" y="232"/>
                  </a:lnTo>
                  <a:lnTo>
                    <a:pt x="52" y="237"/>
                  </a:lnTo>
                  <a:lnTo>
                    <a:pt x="25" y="239"/>
                  </a:lnTo>
                  <a:lnTo>
                    <a:pt x="69" y="271"/>
                  </a:lnTo>
                  <a:lnTo>
                    <a:pt x="176" y="271"/>
                  </a:lnTo>
                  <a:lnTo>
                    <a:pt x="204" y="301"/>
                  </a:lnTo>
                  <a:lnTo>
                    <a:pt x="221" y="351"/>
                  </a:lnTo>
                  <a:lnTo>
                    <a:pt x="231" y="401"/>
                  </a:lnTo>
                  <a:lnTo>
                    <a:pt x="233" y="421"/>
                  </a:lnTo>
                  <a:lnTo>
                    <a:pt x="258" y="411"/>
                  </a:lnTo>
                  <a:lnTo>
                    <a:pt x="268" y="435"/>
                  </a:lnTo>
                  <a:lnTo>
                    <a:pt x="238" y="448"/>
                  </a:lnTo>
                  <a:lnTo>
                    <a:pt x="281" y="465"/>
                  </a:lnTo>
                  <a:lnTo>
                    <a:pt x="273" y="500"/>
                  </a:lnTo>
                  <a:lnTo>
                    <a:pt x="241" y="520"/>
                  </a:lnTo>
                  <a:lnTo>
                    <a:pt x="231" y="547"/>
                  </a:lnTo>
                  <a:lnTo>
                    <a:pt x="246" y="602"/>
                  </a:lnTo>
                  <a:lnTo>
                    <a:pt x="268" y="662"/>
                  </a:lnTo>
                  <a:lnTo>
                    <a:pt x="296" y="716"/>
                  </a:lnTo>
                  <a:lnTo>
                    <a:pt x="325" y="724"/>
                  </a:lnTo>
                  <a:lnTo>
                    <a:pt x="343" y="749"/>
                  </a:lnTo>
                  <a:lnTo>
                    <a:pt x="370" y="741"/>
                  </a:lnTo>
                  <a:lnTo>
                    <a:pt x="400" y="664"/>
                  </a:lnTo>
                  <a:lnTo>
                    <a:pt x="422" y="637"/>
                  </a:lnTo>
                  <a:lnTo>
                    <a:pt x="425" y="597"/>
                  </a:lnTo>
                  <a:lnTo>
                    <a:pt x="477" y="585"/>
                  </a:lnTo>
                  <a:lnTo>
                    <a:pt x="532" y="572"/>
                  </a:lnTo>
                  <a:lnTo>
                    <a:pt x="562" y="518"/>
                  </a:lnTo>
                  <a:lnTo>
                    <a:pt x="626" y="522"/>
                  </a:lnTo>
                  <a:lnTo>
                    <a:pt x="686" y="483"/>
                  </a:lnTo>
                  <a:lnTo>
                    <a:pt x="713" y="453"/>
                  </a:lnTo>
                  <a:lnTo>
                    <a:pt x="683" y="443"/>
                  </a:lnTo>
                  <a:lnTo>
                    <a:pt x="646" y="435"/>
                  </a:lnTo>
                  <a:lnTo>
                    <a:pt x="651" y="416"/>
                  </a:lnTo>
                  <a:lnTo>
                    <a:pt x="673" y="411"/>
                  </a:lnTo>
                  <a:lnTo>
                    <a:pt x="698" y="428"/>
                  </a:lnTo>
                  <a:lnTo>
                    <a:pt x="723" y="440"/>
                  </a:lnTo>
                  <a:lnTo>
                    <a:pt x="736" y="421"/>
                  </a:lnTo>
                  <a:lnTo>
                    <a:pt x="721" y="391"/>
                  </a:lnTo>
                  <a:lnTo>
                    <a:pt x="686" y="378"/>
                  </a:lnTo>
                  <a:lnTo>
                    <a:pt x="688" y="356"/>
                  </a:lnTo>
                  <a:lnTo>
                    <a:pt x="713" y="356"/>
                  </a:lnTo>
                  <a:lnTo>
                    <a:pt x="723" y="366"/>
                  </a:lnTo>
                  <a:lnTo>
                    <a:pt x="733" y="351"/>
                  </a:lnTo>
                  <a:lnTo>
                    <a:pt x="758" y="344"/>
                  </a:lnTo>
                  <a:lnTo>
                    <a:pt x="748" y="329"/>
                  </a:lnTo>
                  <a:lnTo>
                    <a:pt x="768" y="329"/>
                  </a:lnTo>
                  <a:lnTo>
                    <a:pt x="788" y="311"/>
                  </a:lnTo>
                  <a:lnTo>
                    <a:pt x="793" y="294"/>
                  </a:lnTo>
                  <a:lnTo>
                    <a:pt x="765" y="279"/>
                  </a:lnTo>
                  <a:lnTo>
                    <a:pt x="763" y="259"/>
                  </a:lnTo>
                  <a:lnTo>
                    <a:pt x="775" y="244"/>
                  </a:lnTo>
                  <a:lnTo>
                    <a:pt x="790" y="239"/>
                  </a:lnTo>
                  <a:lnTo>
                    <a:pt x="788" y="212"/>
                  </a:lnTo>
                  <a:lnTo>
                    <a:pt x="736" y="207"/>
                  </a:lnTo>
                  <a:lnTo>
                    <a:pt x="748" y="177"/>
                  </a:lnTo>
                  <a:lnTo>
                    <a:pt x="775" y="157"/>
                  </a:lnTo>
                  <a:lnTo>
                    <a:pt x="790" y="145"/>
                  </a:lnTo>
                  <a:lnTo>
                    <a:pt x="760" y="130"/>
                  </a:lnTo>
                  <a:lnTo>
                    <a:pt x="780" y="120"/>
                  </a:lnTo>
                  <a:lnTo>
                    <a:pt x="800" y="117"/>
                  </a:lnTo>
                  <a:lnTo>
                    <a:pt x="843" y="105"/>
                  </a:lnTo>
                  <a:lnTo>
                    <a:pt x="882" y="78"/>
                  </a:lnTo>
                  <a:lnTo>
                    <a:pt x="805" y="70"/>
                  </a:lnTo>
                  <a:lnTo>
                    <a:pt x="765" y="83"/>
                  </a:lnTo>
                  <a:lnTo>
                    <a:pt x="711" y="112"/>
                  </a:lnTo>
                  <a:lnTo>
                    <a:pt x="738" y="63"/>
                  </a:lnTo>
                  <a:lnTo>
                    <a:pt x="676" y="83"/>
                  </a:lnTo>
                  <a:lnTo>
                    <a:pt x="681" y="55"/>
                  </a:lnTo>
                  <a:lnTo>
                    <a:pt x="579" y="65"/>
                  </a:lnTo>
                  <a:lnTo>
                    <a:pt x="636" y="45"/>
                  </a:lnTo>
                  <a:lnTo>
                    <a:pt x="711" y="35"/>
                  </a:lnTo>
                  <a:lnTo>
                    <a:pt x="736" y="28"/>
                  </a:lnTo>
                  <a:lnTo>
                    <a:pt x="686" y="10"/>
                  </a:lnTo>
                  <a:lnTo>
                    <a:pt x="579" y="25"/>
                  </a:lnTo>
                  <a:lnTo>
                    <a:pt x="636" y="0"/>
                  </a:lnTo>
                  <a:lnTo>
                    <a:pt x="507" y="3"/>
                  </a:lnTo>
                  <a:lnTo>
                    <a:pt x="470" y="38"/>
                  </a:lnTo>
                  <a:lnTo>
                    <a:pt x="420" y="18"/>
                  </a:lnTo>
                  <a:lnTo>
                    <a:pt x="420" y="43"/>
                  </a:lnTo>
                  <a:lnTo>
                    <a:pt x="410" y="70"/>
                  </a:lnTo>
                  <a:lnTo>
                    <a:pt x="390" y="50"/>
                  </a:lnTo>
                  <a:lnTo>
                    <a:pt x="373" y="50"/>
                  </a:lnTo>
                  <a:lnTo>
                    <a:pt x="348" y="50"/>
                  </a:lnTo>
                  <a:lnTo>
                    <a:pt x="348" y="80"/>
                  </a:lnTo>
                  <a:lnTo>
                    <a:pt x="320" y="80"/>
                  </a:lnTo>
                  <a:lnTo>
                    <a:pt x="318" y="55"/>
                  </a:lnTo>
                  <a:lnTo>
                    <a:pt x="288" y="53"/>
                  </a:lnTo>
                  <a:lnTo>
                    <a:pt x="296" y="68"/>
                  </a:lnTo>
                  <a:lnTo>
                    <a:pt x="246" y="50"/>
                  </a:lnTo>
                  <a:lnTo>
                    <a:pt x="226" y="63"/>
                  </a:lnTo>
                  <a:lnTo>
                    <a:pt x="206" y="63"/>
                  </a:lnTo>
                  <a:lnTo>
                    <a:pt x="186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37"/>
            <p:cNvSpPr>
              <a:spLocks/>
            </p:cNvSpPr>
            <p:nvPr/>
          </p:nvSpPr>
          <p:spPr bwMode="auto">
            <a:xfrm>
              <a:off x="4057395" y="1983203"/>
              <a:ext cx="38860" cy="50373"/>
            </a:xfrm>
            <a:custGeom>
              <a:avLst/>
              <a:gdLst>
                <a:gd name="T0" fmla="*/ 10 w 27"/>
                <a:gd name="T1" fmla="*/ 0 h 35"/>
                <a:gd name="T2" fmla="*/ 0 w 27"/>
                <a:gd name="T3" fmla="*/ 35 h 35"/>
                <a:gd name="T4" fmla="*/ 27 w 27"/>
                <a:gd name="T5" fmla="*/ 12 h 35"/>
                <a:gd name="T6" fmla="*/ 10 w 2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5">
                  <a:moveTo>
                    <a:pt x="10" y="0"/>
                  </a:moveTo>
                  <a:lnTo>
                    <a:pt x="0" y="35"/>
                  </a:lnTo>
                  <a:lnTo>
                    <a:pt x="27" y="1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38"/>
            <p:cNvSpPr>
              <a:spLocks/>
            </p:cNvSpPr>
            <p:nvPr/>
          </p:nvSpPr>
          <p:spPr bwMode="auto">
            <a:xfrm>
              <a:off x="7091304" y="4165084"/>
              <a:ext cx="225960" cy="172708"/>
            </a:xfrm>
            <a:custGeom>
              <a:avLst/>
              <a:gdLst>
                <a:gd name="T0" fmla="*/ 115 w 157"/>
                <a:gd name="T1" fmla="*/ 55 h 120"/>
                <a:gd name="T2" fmla="*/ 102 w 157"/>
                <a:gd name="T3" fmla="*/ 53 h 120"/>
                <a:gd name="T4" fmla="*/ 92 w 157"/>
                <a:gd name="T5" fmla="*/ 65 h 120"/>
                <a:gd name="T6" fmla="*/ 82 w 157"/>
                <a:gd name="T7" fmla="*/ 85 h 120"/>
                <a:gd name="T8" fmla="*/ 77 w 157"/>
                <a:gd name="T9" fmla="*/ 102 h 120"/>
                <a:gd name="T10" fmla="*/ 75 w 157"/>
                <a:gd name="T11" fmla="*/ 117 h 120"/>
                <a:gd name="T12" fmla="*/ 52 w 157"/>
                <a:gd name="T13" fmla="*/ 120 h 120"/>
                <a:gd name="T14" fmla="*/ 40 w 157"/>
                <a:gd name="T15" fmla="*/ 110 h 120"/>
                <a:gd name="T16" fmla="*/ 33 w 157"/>
                <a:gd name="T17" fmla="*/ 120 h 120"/>
                <a:gd name="T18" fmla="*/ 8 w 157"/>
                <a:gd name="T19" fmla="*/ 117 h 120"/>
                <a:gd name="T20" fmla="*/ 0 w 157"/>
                <a:gd name="T21" fmla="*/ 110 h 120"/>
                <a:gd name="T22" fmla="*/ 8 w 157"/>
                <a:gd name="T23" fmla="*/ 100 h 120"/>
                <a:gd name="T24" fmla="*/ 10 w 157"/>
                <a:gd name="T25" fmla="*/ 82 h 120"/>
                <a:gd name="T26" fmla="*/ 33 w 157"/>
                <a:gd name="T27" fmla="*/ 85 h 120"/>
                <a:gd name="T28" fmla="*/ 42 w 157"/>
                <a:gd name="T29" fmla="*/ 65 h 120"/>
                <a:gd name="T30" fmla="*/ 60 w 157"/>
                <a:gd name="T31" fmla="*/ 53 h 120"/>
                <a:gd name="T32" fmla="*/ 75 w 157"/>
                <a:gd name="T33" fmla="*/ 45 h 120"/>
                <a:gd name="T34" fmla="*/ 80 w 157"/>
                <a:gd name="T35" fmla="*/ 25 h 120"/>
                <a:gd name="T36" fmla="*/ 92 w 157"/>
                <a:gd name="T37" fmla="*/ 18 h 120"/>
                <a:gd name="T38" fmla="*/ 95 w 157"/>
                <a:gd name="T39" fmla="*/ 0 h 120"/>
                <a:gd name="T40" fmla="*/ 117 w 157"/>
                <a:gd name="T41" fmla="*/ 13 h 120"/>
                <a:gd name="T42" fmla="*/ 129 w 157"/>
                <a:gd name="T43" fmla="*/ 15 h 120"/>
                <a:gd name="T44" fmla="*/ 152 w 157"/>
                <a:gd name="T45" fmla="*/ 20 h 120"/>
                <a:gd name="T46" fmla="*/ 157 w 157"/>
                <a:gd name="T47" fmla="*/ 40 h 120"/>
                <a:gd name="T48" fmla="*/ 139 w 157"/>
                <a:gd name="T49" fmla="*/ 53 h 120"/>
                <a:gd name="T50" fmla="*/ 125 w 157"/>
                <a:gd name="T51" fmla="*/ 65 h 120"/>
                <a:gd name="T52" fmla="*/ 115 w 157"/>
                <a:gd name="T53" fmla="*/ 5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7" h="120">
                  <a:moveTo>
                    <a:pt x="115" y="55"/>
                  </a:moveTo>
                  <a:lnTo>
                    <a:pt x="102" y="53"/>
                  </a:lnTo>
                  <a:lnTo>
                    <a:pt x="92" y="65"/>
                  </a:lnTo>
                  <a:lnTo>
                    <a:pt x="82" y="85"/>
                  </a:lnTo>
                  <a:lnTo>
                    <a:pt x="77" y="102"/>
                  </a:lnTo>
                  <a:lnTo>
                    <a:pt x="75" y="117"/>
                  </a:lnTo>
                  <a:lnTo>
                    <a:pt x="52" y="120"/>
                  </a:lnTo>
                  <a:lnTo>
                    <a:pt x="40" y="110"/>
                  </a:lnTo>
                  <a:lnTo>
                    <a:pt x="33" y="120"/>
                  </a:lnTo>
                  <a:lnTo>
                    <a:pt x="8" y="117"/>
                  </a:lnTo>
                  <a:lnTo>
                    <a:pt x="0" y="110"/>
                  </a:lnTo>
                  <a:lnTo>
                    <a:pt x="8" y="100"/>
                  </a:lnTo>
                  <a:lnTo>
                    <a:pt x="10" y="82"/>
                  </a:lnTo>
                  <a:lnTo>
                    <a:pt x="33" y="85"/>
                  </a:lnTo>
                  <a:lnTo>
                    <a:pt x="42" y="65"/>
                  </a:lnTo>
                  <a:lnTo>
                    <a:pt x="60" y="53"/>
                  </a:lnTo>
                  <a:lnTo>
                    <a:pt x="75" y="45"/>
                  </a:lnTo>
                  <a:lnTo>
                    <a:pt x="80" y="25"/>
                  </a:lnTo>
                  <a:lnTo>
                    <a:pt x="92" y="18"/>
                  </a:lnTo>
                  <a:lnTo>
                    <a:pt x="95" y="0"/>
                  </a:lnTo>
                  <a:lnTo>
                    <a:pt x="117" y="13"/>
                  </a:lnTo>
                  <a:lnTo>
                    <a:pt x="129" y="15"/>
                  </a:lnTo>
                  <a:lnTo>
                    <a:pt x="152" y="20"/>
                  </a:lnTo>
                  <a:lnTo>
                    <a:pt x="157" y="40"/>
                  </a:lnTo>
                  <a:lnTo>
                    <a:pt x="139" y="53"/>
                  </a:lnTo>
                  <a:lnTo>
                    <a:pt x="125" y="65"/>
                  </a:lnTo>
                  <a:lnTo>
                    <a:pt x="115" y="5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39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2 w 30"/>
                <a:gd name="T1" fmla="*/ 2 h 15"/>
                <a:gd name="T2" fmla="*/ 30 w 30"/>
                <a:gd name="T3" fmla="*/ 0 h 15"/>
                <a:gd name="T4" fmla="*/ 25 w 30"/>
                <a:gd name="T5" fmla="*/ 12 h 15"/>
                <a:gd name="T6" fmla="*/ 5 w 30"/>
                <a:gd name="T7" fmla="*/ 15 h 15"/>
                <a:gd name="T8" fmla="*/ 0 w 30"/>
                <a:gd name="T9" fmla="*/ 10 h 15"/>
                <a:gd name="T10" fmla="*/ 2 w 30"/>
                <a:gd name="T1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" y="2"/>
                  </a:moveTo>
                  <a:lnTo>
                    <a:pt x="30" y="0"/>
                  </a:lnTo>
                  <a:lnTo>
                    <a:pt x="25" y="12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6068008" y="2702821"/>
              <a:ext cx="1446431" cy="1065034"/>
            </a:xfrm>
            <a:custGeom>
              <a:avLst/>
              <a:gdLst>
                <a:gd name="T0" fmla="*/ 766 w 1005"/>
                <a:gd name="T1" fmla="*/ 355 h 740"/>
                <a:gd name="T2" fmla="*/ 818 w 1005"/>
                <a:gd name="T3" fmla="*/ 358 h 740"/>
                <a:gd name="T4" fmla="*/ 826 w 1005"/>
                <a:gd name="T5" fmla="*/ 392 h 740"/>
                <a:gd name="T6" fmla="*/ 831 w 1005"/>
                <a:gd name="T7" fmla="*/ 465 h 740"/>
                <a:gd name="T8" fmla="*/ 858 w 1005"/>
                <a:gd name="T9" fmla="*/ 529 h 740"/>
                <a:gd name="T10" fmla="*/ 850 w 1005"/>
                <a:gd name="T11" fmla="*/ 599 h 740"/>
                <a:gd name="T12" fmla="*/ 818 w 1005"/>
                <a:gd name="T13" fmla="*/ 651 h 740"/>
                <a:gd name="T14" fmla="*/ 791 w 1005"/>
                <a:gd name="T15" fmla="*/ 676 h 740"/>
                <a:gd name="T16" fmla="*/ 734 w 1005"/>
                <a:gd name="T17" fmla="*/ 698 h 740"/>
                <a:gd name="T18" fmla="*/ 666 w 1005"/>
                <a:gd name="T19" fmla="*/ 740 h 740"/>
                <a:gd name="T20" fmla="*/ 639 w 1005"/>
                <a:gd name="T21" fmla="*/ 731 h 740"/>
                <a:gd name="T22" fmla="*/ 567 w 1005"/>
                <a:gd name="T23" fmla="*/ 683 h 740"/>
                <a:gd name="T24" fmla="*/ 527 w 1005"/>
                <a:gd name="T25" fmla="*/ 723 h 740"/>
                <a:gd name="T26" fmla="*/ 483 w 1005"/>
                <a:gd name="T27" fmla="*/ 711 h 740"/>
                <a:gd name="T28" fmla="*/ 448 w 1005"/>
                <a:gd name="T29" fmla="*/ 658 h 740"/>
                <a:gd name="T30" fmla="*/ 470 w 1005"/>
                <a:gd name="T31" fmla="*/ 619 h 740"/>
                <a:gd name="T32" fmla="*/ 438 w 1005"/>
                <a:gd name="T33" fmla="*/ 591 h 740"/>
                <a:gd name="T34" fmla="*/ 378 w 1005"/>
                <a:gd name="T35" fmla="*/ 564 h 740"/>
                <a:gd name="T36" fmla="*/ 318 w 1005"/>
                <a:gd name="T37" fmla="*/ 589 h 740"/>
                <a:gd name="T38" fmla="*/ 271 w 1005"/>
                <a:gd name="T39" fmla="*/ 591 h 740"/>
                <a:gd name="T40" fmla="*/ 202 w 1005"/>
                <a:gd name="T41" fmla="*/ 571 h 740"/>
                <a:gd name="T42" fmla="*/ 174 w 1005"/>
                <a:gd name="T43" fmla="*/ 554 h 740"/>
                <a:gd name="T44" fmla="*/ 125 w 1005"/>
                <a:gd name="T45" fmla="*/ 524 h 740"/>
                <a:gd name="T46" fmla="*/ 85 w 1005"/>
                <a:gd name="T47" fmla="*/ 474 h 740"/>
                <a:gd name="T48" fmla="*/ 23 w 1005"/>
                <a:gd name="T49" fmla="*/ 477 h 740"/>
                <a:gd name="T50" fmla="*/ 18 w 1005"/>
                <a:gd name="T51" fmla="*/ 422 h 740"/>
                <a:gd name="T52" fmla="*/ 20 w 1005"/>
                <a:gd name="T53" fmla="*/ 380 h 740"/>
                <a:gd name="T54" fmla="*/ 18 w 1005"/>
                <a:gd name="T55" fmla="*/ 330 h 740"/>
                <a:gd name="T56" fmla="*/ 50 w 1005"/>
                <a:gd name="T57" fmla="*/ 328 h 740"/>
                <a:gd name="T58" fmla="*/ 102 w 1005"/>
                <a:gd name="T59" fmla="*/ 303 h 740"/>
                <a:gd name="T60" fmla="*/ 95 w 1005"/>
                <a:gd name="T61" fmla="*/ 236 h 740"/>
                <a:gd name="T62" fmla="*/ 137 w 1005"/>
                <a:gd name="T63" fmla="*/ 199 h 740"/>
                <a:gd name="T64" fmla="*/ 187 w 1005"/>
                <a:gd name="T65" fmla="*/ 154 h 740"/>
                <a:gd name="T66" fmla="*/ 214 w 1005"/>
                <a:gd name="T67" fmla="*/ 129 h 740"/>
                <a:gd name="T68" fmla="*/ 259 w 1005"/>
                <a:gd name="T69" fmla="*/ 149 h 740"/>
                <a:gd name="T70" fmla="*/ 318 w 1005"/>
                <a:gd name="T71" fmla="*/ 206 h 740"/>
                <a:gd name="T72" fmla="*/ 368 w 1005"/>
                <a:gd name="T73" fmla="*/ 243 h 740"/>
                <a:gd name="T74" fmla="*/ 500 w 1005"/>
                <a:gd name="T75" fmla="*/ 268 h 740"/>
                <a:gd name="T76" fmla="*/ 567 w 1005"/>
                <a:gd name="T77" fmla="*/ 263 h 740"/>
                <a:gd name="T78" fmla="*/ 634 w 1005"/>
                <a:gd name="T79" fmla="*/ 223 h 740"/>
                <a:gd name="T80" fmla="*/ 674 w 1005"/>
                <a:gd name="T81" fmla="*/ 194 h 740"/>
                <a:gd name="T82" fmla="*/ 746 w 1005"/>
                <a:gd name="T83" fmla="*/ 151 h 740"/>
                <a:gd name="T84" fmla="*/ 689 w 1005"/>
                <a:gd name="T85" fmla="*/ 141 h 740"/>
                <a:gd name="T86" fmla="*/ 686 w 1005"/>
                <a:gd name="T87" fmla="*/ 79 h 740"/>
                <a:gd name="T88" fmla="*/ 729 w 1005"/>
                <a:gd name="T89" fmla="*/ 59 h 740"/>
                <a:gd name="T90" fmla="*/ 739 w 1005"/>
                <a:gd name="T91" fmla="*/ 0 h 740"/>
                <a:gd name="T92" fmla="*/ 850 w 1005"/>
                <a:gd name="T93" fmla="*/ 34 h 740"/>
                <a:gd name="T94" fmla="*/ 880 w 1005"/>
                <a:gd name="T95" fmla="*/ 89 h 740"/>
                <a:gd name="T96" fmla="*/ 940 w 1005"/>
                <a:gd name="T97" fmla="*/ 119 h 740"/>
                <a:gd name="T98" fmla="*/ 995 w 1005"/>
                <a:gd name="T99" fmla="*/ 124 h 740"/>
                <a:gd name="T100" fmla="*/ 992 w 1005"/>
                <a:gd name="T101" fmla="*/ 159 h 740"/>
                <a:gd name="T102" fmla="*/ 965 w 1005"/>
                <a:gd name="T103" fmla="*/ 218 h 740"/>
                <a:gd name="T104" fmla="*/ 965 w 1005"/>
                <a:gd name="T105" fmla="*/ 256 h 740"/>
                <a:gd name="T106" fmla="*/ 913 w 1005"/>
                <a:gd name="T107" fmla="*/ 283 h 740"/>
                <a:gd name="T108" fmla="*/ 870 w 1005"/>
                <a:gd name="T109" fmla="*/ 315 h 740"/>
                <a:gd name="T110" fmla="*/ 823 w 1005"/>
                <a:gd name="T111" fmla="*/ 315 h 740"/>
                <a:gd name="T112" fmla="*/ 798 w 1005"/>
                <a:gd name="T113" fmla="*/ 305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5" h="740">
                  <a:moveTo>
                    <a:pt x="791" y="318"/>
                  </a:moveTo>
                  <a:lnTo>
                    <a:pt x="766" y="338"/>
                  </a:lnTo>
                  <a:lnTo>
                    <a:pt x="766" y="355"/>
                  </a:lnTo>
                  <a:lnTo>
                    <a:pt x="786" y="370"/>
                  </a:lnTo>
                  <a:lnTo>
                    <a:pt x="803" y="373"/>
                  </a:lnTo>
                  <a:lnTo>
                    <a:pt x="818" y="358"/>
                  </a:lnTo>
                  <a:lnTo>
                    <a:pt x="843" y="363"/>
                  </a:lnTo>
                  <a:lnTo>
                    <a:pt x="850" y="385"/>
                  </a:lnTo>
                  <a:lnTo>
                    <a:pt x="826" y="392"/>
                  </a:lnTo>
                  <a:lnTo>
                    <a:pt x="806" y="410"/>
                  </a:lnTo>
                  <a:lnTo>
                    <a:pt x="816" y="435"/>
                  </a:lnTo>
                  <a:lnTo>
                    <a:pt x="831" y="465"/>
                  </a:lnTo>
                  <a:lnTo>
                    <a:pt x="853" y="487"/>
                  </a:lnTo>
                  <a:lnTo>
                    <a:pt x="853" y="507"/>
                  </a:lnTo>
                  <a:lnTo>
                    <a:pt x="858" y="529"/>
                  </a:lnTo>
                  <a:lnTo>
                    <a:pt x="865" y="579"/>
                  </a:lnTo>
                  <a:lnTo>
                    <a:pt x="855" y="581"/>
                  </a:lnTo>
                  <a:lnTo>
                    <a:pt x="850" y="599"/>
                  </a:lnTo>
                  <a:lnTo>
                    <a:pt x="833" y="614"/>
                  </a:lnTo>
                  <a:lnTo>
                    <a:pt x="836" y="639"/>
                  </a:lnTo>
                  <a:lnTo>
                    <a:pt x="818" y="651"/>
                  </a:lnTo>
                  <a:lnTo>
                    <a:pt x="806" y="651"/>
                  </a:lnTo>
                  <a:lnTo>
                    <a:pt x="803" y="671"/>
                  </a:lnTo>
                  <a:lnTo>
                    <a:pt x="791" y="676"/>
                  </a:lnTo>
                  <a:lnTo>
                    <a:pt x="786" y="691"/>
                  </a:lnTo>
                  <a:lnTo>
                    <a:pt x="756" y="701"/>
                  </a:lnTo>
                  <a:lnTo>
                    <a:pt x="734" y="698"/>
                  </a:lnTo>
                  <a:lnTo>
                    <a:pt x="706" y="708"/>
                  </a:lnTo>
                  <a:lnTo>
                    <a:pt x="676" y="728"/>
                  </a:lnTo>
                  <a:lnTo>
                    <a:pt x="666" y="740"/>
                  </a:lnTo>
                  <a:lnTo>
                    <a:pt x="659" y="716"/>
                  </a:lnTo>
                  <a:lnTo>
                    <a:pt x="647" y="708"/>
                  </a:lnTo>
                  <a:lnTo>
                    <a:pt x="639" y="731"/>
                  </a:lnTo>
                  <a:lnTo>
                    <a:pt x="612" y="691"/>
                  </a:lnTo>
                  <a:lnTo>
                    <a:pt x="584" y="683"/>
                  </a:lnTo>
                  <a:lnTo>
                    <a:pt x="567" y="683"/>
                  </a:lnTo>
                  <a:lnTo>
                    <a:pt x="540" y="698"/>
                  </a:lnTo>
                  <a:lnTo>
                    <a:pt x="525" y="706"/>
                  </a:lnTo>
                  <a:lnTo>
                    <a:pt x="527" y="723"/>
                  </a:lnTo>
                  <a:lnTo>
                    <a:pt x="505" y="726"/>
                  </a:lnTo>
                  <a:lnTo>
                    <a:pt x="500" y="713"/>
                  </a:lnTo>
                  <a:lnTo>
                    <a:pt x="483" y="711"/>
                  </a:lnTo>
                  <a:lnTo>
                    <a:pt x="478" y="681"/>
                  </a:lnTo>
                  <a:lnTo>
                    <a:pt x="468" y="663"/>
                  </a:lnTo>
                  <a:lnTo>
                    <a:pt x="448" y="658"/>
                  </a:lnTo>
                  <a:lnTo>
                    <a:pt x="450" y="643"/>
                  </a:lnTo>
                  <a:lnTo>
                    <a:pt x="463" y="636"/>
                  </a:lnTo>
                  <a:lnTo>
                    <a:pt x="470" y="619"/>
                  </a:lnTo>
                  <a:lnTo>
                    <a:pt x="463" y="599"/>
                  </a:lnTo>
                  <a:lnTo>
                    <a:pt x="458" y="589"/>
                  </a:lnTo>
                  <a:lnTo>
                    <a:pt x="438" y="591"/>
                  </a:lnTo>
                  <a:lnTo>
                    <a:pt x="425" y="574"/>
                  </a:lnTo>
                  <a:lnTo>
                    <a:pt x="405" y="564"/>
                  </a:lnTo>
                  <a:lnTo>
                    <a:pt x="378" y="564"/>
                  </a:lnTo>
                  <a:lnTo>
                    <a:pt x="356" y="574"/>
                  </a:lnTo>
                  <a:lnTo>
                    <a:pt x="346" y="589"/>
                  </a:lnTo>
                  <a:lnTo>
                    <a:pt x="318" y="589"/>
                  </a:lnTo>
                  <a:lnTo>
                    <a:pt x="299" y="579"/>
                  </a:lnTo>
                  <a:lnTo>
                    <a:pt x="289" y="596"/>
                  </a:lnTo>
                  <a:lnTo>
                    <a:pt x="271" y="591"/>
                  </a:lnTo>
                  <a:lnTo>
                    <a:pt x="231" y="589"/>
                  </a:lnTo>
                  <a:lnTo>
                    <a:pt x="214" y="579"/>
                  </a:lnTo>
                  <a:lnTo>
                    <a:pt x="202" y="571"/>
                  </a:lnTo>
                  <a:lnTo>
                    <a:pt x="199" y="552"/>
                  </a:lnTo>
                  <a:lnTo>
                    <a:pt x="194" y="564"/>
                  </a:lnTo>
                  <a:lnTo>
                    <a:pt x="174" y="554"/>
                  </a:lnTo>
                  <a:lnTo>
                    <a:pt x="159" y="539"/>
                  </a:lnTo>
                  <a:lnTo>
                    <a:pt x="139" y="539"/>
                  </a:lnTo>
                  <a:lnTo>
                    <a:pt x="125" y="524"/>
                  </a:lnTo>
                  <a:lnTo>
                    <a:pt x="97" y="519"/>
                  </a:lnTo>
                  <a:lnTo>
                    <a:pt x="97" y="487"/>
                  </a:lnTo>
                  <a:lnTo>
                    <a:pt x="85" y="474"/>
                  </a:lnTo>
                  <a:lnTo>
                    <a:pt x="65" y="474"/>
                  </a:lnTo>
                  <a:lnTo>
                    <a:pt x="40" y="489"/>
                  </a:lnTo>
                  <a:lnTo>
                    <a:pt x="23" y="477"/>
                  </a:lnTo>
                  <a:lnTo>
                    <a:pt x="25" y="452"/>
                  </a:lnTo>
                  <a:lnTo>
                    <a:pt x="15" y="440"/>
                  </a:lnTo>
                  <a:lnTo>
                    <a:pt x="18" y="422"/>
                  </a:lnTo>
                  <a:lnTo>
                    <a:pt x="23" y="395"/>
                  </a:lnTo>
                  <a:lnTo>
                    <a:pt x="23" y="378"/>
                  </a:lnTo>
                  <a:lnTo>
                    <a:pt x="20" y="380"/>
                  </a:lnTo>
                  <a:lnTo>
                    <a:pt x="0" y="368"/>
                  </a:lnTo>
                  <a:lnTo>
                    <a:pt x="3" y="340"/>
                  </a:lnTo>
                  <a:lnTo>
                    <a:pt x="18" y="330"/>
                  </a:lnTo>
                  <a:lnTo>
                    <a:pt x="45" y="348"/>
                  </a:lnTo>
                  <a:lnTo>
                    <a:pt x="52" y="338"/>
                  </a:lnTo>
                  <a:lnTo>
                    <a:pt x="50" y="328"/>
                  </a:lnTo>
                  <a:lnTo>
                    <a:pt x="80" y="320"/>
                  </a:lnTo>
                  <a:lnTo>
                    <a:pt x="87" y="310"/>
                  </a:lnTo>
                  <a:lnTo>
                    <a:pt x="102" y="303"/>
                  </a:lnTo>
                  <a:lnTo>
                    <a:pt x="102" y="256"/>
                  </a:lnTo>
                  <a:lnTo>
                    <a:pt x="90" y="248"/>
                  </a:lnTo>
                  <a:lnTo>
                    <a:pt x="95" y="236"/>
                  </a:lnTo>
                  <a:lnTo>
                    <a:pt x="130" y="231"/>
                  </a:lnTo>
                  <a:lnTo>
                    <a:pt x="137" y="223"/>
                  </a:lnTo>
                  <a:lnTo>
                    <a:pt x="137" y="199"/>
                  </a:lnTo>
                  <a:lnTo>
                    <a:pt x="157" y="189"/>
                  </a:lnTo>
                  <a:lnTo>
                    <a:pt x="179" y="194"/>
                  </a:lnTo>
                  <a:lnTo>
                    <a:pt x="187" y="154"/>
                  </a:lnTo>
                  <a:lnTo>
                    <a:pt x="194" y="146"/>
                  </a:lnTo>
                  <a:lnTo>
                    <a:pt x="209" y="141"/>
                  </a:lnTo>
                  <a:lnTo>
                    <a:pt x="214" y="129"/>
                  </a:lnTo>
                  <a:lnTo>
                    <a:pt x="224" y="121"/>
                  </a:lnTo>
                  <a:lnTo>
                    <a:pt x="234" y="134"/>
                  </a:lnTo>
                  <a:lnTo>
                    <a:pt x="259" y="149"/>
                  </a:lnTo>
                  <a:lnTo>
                    <a:pt x="266" y="169"/>
                  </a:lnTo>
                  <a:lnTo>
                    <a:pt x="279" y="196"/>
                  </a:lnTo>
                  <a:lnTo>
                    <a:pt x="318" y="206"/>
                  </a:lnTo>
                  <a:lnTo>
                    <a:pt x="336" y="208"/>
                  </a:lnTo>
                  <a:lnTo>
                    <a:pt x="356" y="221"/>
                  </a:lnTo>
                  <a:lnTo>
                    <a:pt x="368" y="243"/>
                  </a:lnTo>
                  <a:lnTo>
                    <a:pt x="381" y="253"/>
                  </a:lnTo>
                  <a:lnTo>
                    <a:pt x="480" y="261"/>
                  </a:lnTo>
                  <a:lnTo>
                    <a:pt x="500" y="268"/>
                  </a:lnTo>
                  <a:lnTo>
                    <a:pt x="527" y="283"/>
                  </a:lnTo>
                  <a:lnTo>
                    <a:pt x="552" y="273"/>
                  </a:lnTo>
                  <a:lnTo>
                    <a:pt x="567" y="263"/>
                  </a:lnTo>
                  <a:lnTo>
                    <a:pt x="602" y="268"/>
                  </a:lnTo>
                  <a:lnTo>
                    <a:pt x="629" y="246"/>
                  </a:lnTo>
                  <a:lnTo>
                    <a:pt x="634" y="223"/>
                  </a:lnTo>
                  <a:lnTo>
                    <a:pt x="632" y="204"/>
                  </a:lnTo>
                  <a:lnTo>
                    <a:pt x="657" y="211"/>
                  </a:lnTo>
                  <a:lnTo>
                    <a:pt x="674" y="194"/>
                  </a:lnTo>
                  <a:lnTo>
                    <a:pt x="689" y="181"/>
                  </a:lnTo>
                  <a:lnTo>
                    <a:pt x="714" y="166"/>
                  </a:lnTo>
                  <a:lnTo>
                    <a:pt x="746" y="151"/>
                  </a:lnTo>
                  <a:lnTo>
                    <a:pt x="731" y="134"/>
                  </a:lnTo>
                  <a:lnTo>
                    <a:pt x="704" y="136"/>
                  </a:lnTo>
                  <a:lnTo>
                    <a:pt x="689" y="141"/>
                  </a:lnTo>
                  <a:lnTo>
                    <a:pt x="684" y="134"/>
                  </a:lnTo>
                  <a:lnTo>
                    <a:pt x="681" y="94"/>
                  </a:lnTo>
                  <a:lnTo>
                    <a:pt x="686" y="79"/>
                  </a:lnTo>
                  <a:lnTo>
                    <a:pt x="701" y="94"/>
                  </a:lnTo>
                  <a:lnTo>
                    <a:pt x="724" y="94"/>
                  </a:lnTo>
                  <a:lnTo>
                    <a:pt x="729" y="59"/>
                  </a:lnTo>
                  <a:lnTo>
                    <a:pt x="741" y="47"/>
                  </a:lnTo>
                  <a:lnTo>
                    <a:pt x="729" y="17"/>
                  </a:lnTo>
                  <a:lnTo>
                    <a:pt x="739" y="0"/>
                  </a:lnTo>
                  <a:lnTo>
                    <a:pt x="816" y="0"/>
                  </a:lnTo>
                  <a:lnTo>
                    <a:pt x="833" y="20"/>
                  </a:lnTo>
                  <a:lnTo>
                    <a:pt x="850" y="34"/>
                  </a:lnTo>
                  <a:lnTo>
                    <a:pt x="863" y="52"/>
                  </a:lnTo>
                  <a:lnTo>
                    <a:pt x="865" y="72"/>
                  </a:lnTo>
                  <a:lnTo>
                    <a:pt x="880" y="89"/>
                  </a:lnTo>
                  <a:lnTo>
                    <a:pt x="910" y="97"/>
                  </a:lnTo>
                  <a:lnTo>
                    <a:pt x="925" y="109"/>
                  </a:lnTo>
                  <a:lnTo>
                    <a:pt x="940" y="119"/>
                  </a:lnTo>
                  <a:lnTo>
                    <a:pt x="947" y="129"/>
                  </a:lnTo>
                  <a:lnTo>
                    <a:pt x="965" y="131"/>
                  </a:lnTo>
                  <a:lnTo>
                    <a:pt x="995" y="124"/>
                  </a:lnTo>
                  <a:lnTo>
                    <a:pt x="1002" y="134"/>
                  </a:lnTo>
                  <a:lnTo>
                    <a:pt x="1005" y="149"/>
                  </a:lnTo>
                  <a:lnTo>
                    <a:pt x="992" y="159"/>
                  </a:lnTo>
                  <a:lnTo>
                    <a:pt x="990" y="204"/>
                  </a:lnTo>
                  <a:lnTo>
                    <a:pt x="975" y="201"/>
                  </a:lnTo>
                  <a:lnTo>
                    <a:pt x="965" y="218"/>
                  </a:lnTo>
                  <a:lnTo>
                    <a:pt x="967" y="238"/>
                  </a:lnTo>
                  <a:lnTo>
                    <a:pt x="982" y="243"/>
                  </a:lnTo>
                  <a:lnTo>
                    <a:pt x="965" y="256"/>
                  </a:lnTo>
                  <a:lnTo>
                    <a:pt x="947" y="261"/>
                  </a:lnTo>
                  <a:lnTo>
                    <a:pt x="930" y="283"/>
                  </a:lnTo>
                  <a:lnTo>
                    <a:pt x="913" y="283"/>
                  </a:lnTo>
                  <a:lnTo>
                    <a:pt x="898" y="276"/>
                  </a:lnTo>
                  <a:lnTo>
                    <a:pt x="888" y="305"/>
                  </a:lnTo>
                  <a:lnTo>
                    <a:pt x="870" y="315"/>
                  </a:lnTo>
                  <a:lnTo>
                    <a:pt x="850" y="330"/>
                  </a:lnTo>
                  <a:lnTo>
                    <a:pt x="823" y="338"/>
                  </a:lnTo>
                  <a:lnTo>
                    <a:pt x="823" y="315"/>
                  </a:lnTo>
                  <a:lnTo>
                    <a:pt x="818" y="298"/>
                  </a:lnTo>
                  <a:lnTo>
                    <a:pt x="811" y="295"/>
                  </a:lnTo>
                  <a:lnTo>
                    <a:pt x="798" y="305"/>
                  </a:lnTo>
                  <a:lnTo>
                    <a:pt x="791" y="3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7320142" y="3078461"/>
              <a:ext cx="122335" cy="156877"/>
            </a:xfrm>
            <a:custGeom>
              <a:avLst/>
              <a:gdLst>
                <a:gd name="T0" fmla="*/ 85 w 85"/>
                <a:gd name="T1" fmla="*/ 0 h 109"/>
                <a:gd name="T2" fmla="*/ 85 w 85"/>
                <a:gd name="T3" fmla="*/ 32 h 109"/>
                <a:gd name="T4" fmla="*/ 75 w 85"/>
                <a:gd name="T5" fmla="*/ 37 h 109"/>
                <a:gd name="T6" fmla="*/ 65 w 85"/>
                <a:gd name="T7" fmla="*/ 54 h 109"/>
                <a:gd name="T8" fmla="*/ 48 w 85"/>
                <a:gd name="T9" fmla="*/ 62 h 109"/>
                <a:gd name="T10" fmla="*/ 70 w 85"/>
                <a:gd name="T11" fmla="*/ 82 h 109"/>
                <a:gd name="T12" fmla="*/ 62 w 85"/>
                <a:gd name="T13" fmla="*/ 102 h 109"/>
                <a:gd name="T14" fmla="*/ 38 w 85"/>
                <a:gd name="T15" fmla="*/ 109 h 109"/>
                <a:gd name="T16" fmla="*/ 28 w 85"/>
                <a:gd name="T17" fmla="*/ 99 h 109"/>
                <a:gd name="T18" fmla="*/ 5 w 85"/>
                <a:gd name="T19" fmla="*/ 89 h 109"/>
                <a:gd name="T20" fmla="*/ 20 w 85"/>
                <a:gd name="T21" fmla="*/ 79 h 109"/>
                <a:gd name="T22" fmla="*/ 20 w 85"/>
                <a:gd name="T23" fmla="*/ 59 h 109"/>
                <a:gd name="T24" fmla="*/ 5 w 85"/>
                <a:gd name="T25" fmla="*/ 54 h 109"/>
                <a:gd name="T26" fmla="*/ 0 w 85"/>
                <a:gd name="T27" fmla="*/ 54 h 109"/>
                <a:gd name="T28" fmla="*/ 18 w 85"/>
                <a:gd name="T29" fmla="*/ 44 h 109"/>
                <a:gd name="T30" fmla="*/ 28 w 85"/>
                <a:gd name="T31" fmla="*/ 15 h 109"/>
                <a:gd name="T32" fmla="*/ 43 w 85"/>
                <a:gd name="T33" fmla="*/ 22 h 109"/>
                <a:gd name="T34" fmla="*/ 60 w 85"/>
                <a:gd name="T35" fmla="*/ 22 h 109"/>
                <a:gd name="T36" fmla="*/ 77 w 85"/>
                <a:gd name="T37" fmla="*/ 0 h 109"/>
                <a:gd name="T38" fmla="*/ 85 w 85"/>
                <a:gd name="T3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85" y="0"/>
                  </a:moveTo>
                  <a:lnTo>
                    <a:pt x="85" y="32"/>
                  </a:lnTo>
                  <a:lnTo>
                    <a:pt x="75" y="37"/>
                  </a:lnTo>
                  <a:lnTo>
                    <a:pt x="65" y="54"/>
                  </a:lnTo>
                  <a:lnTo>
                    <a:pt x="48" y="62"/>
                  </a:lnTo>
                  <a:lnTo>
                    <a:pt x="70" y="82"/>
                  </a:lnTo>
                  <a:lnTo>
                    <a:pt x="62" y="102"/>
                  </a:lnTo>
                  <a:lnTo>
                    <a:pt x="38" y="109"/>
                  </a:lnTo>
                  <a:lnTo>
                    <a:pt x="28" y="99"/>
                  </a:lnTo>
                  <a:lnTo>
                    <a:pt x="5" y="89"/>
                  </a:lnTo>
                  <a:lnTo>
                    <a:pt x="20" y="79"/>
                  </a:lnTo>
                  <a:lnTo>
                    <a:pt x="20" y="59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18" y="44"/>
                  </a:lnTo>
                  <a:lnTo>
                    <a:pt x="28" y="15"/>
                  </a:lnTo>
                  <a:lnTo>
                    <a:pt x="43" y="22"/>
                  </a:lnTo>
                  <a:lnTo>
                    <a:pt x="60" y="22"/>
                  </a:lnTo>
                  <a:lnTo>
                    <a:pt x="77" y="0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2 w 20"/>
                <a:gd name="T17" fmla="*/ 10 h 10"/>
                <a:gd name="T18" fmla="*/ 10 w 20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0 w 2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6597646" y="3550530"/>
              <a:ext cx="197175" cy="510929"/>
            </a:xfrm>
            <a:custGeom>
              <a:avLst/>
              <a:gdLst>
                <a:gd name="T0" fmla="*/ 0 w 137"/>
                <a:gd name="T1" fmla="*/ 134 h 355"/>
                <a:gd name="T2" fmla="*/ 8 w 137"/>
                <a:gd name="T3" fmla="*/ 119 h 355"/>
                <a:gd name="T4" fmla="*/ 8 w 137"/>
                <a:gd name="T5" fmla="*/ 84 h 355"/>
                <a:gd name="T6" fmla="*/ 25 w 137"/>
                <a:gd name="T7" fmla="*/ 67 h 355"/>
                <a:gd name="T8" fmla="*/ 32 w 137"/>
                <a:gd name="T9" fmla="*/ 42 h 355"/>
                <a:gd name="T10" fmla="*/ 45 w 137"/>
                <a:gd name="T11" fmla="*/ 25 h 355"/>
                <a:gd name="T12" fmla="*/ 67 w 137"/>
                <a:gd name="T13" fmla="*/ 15 h 355"/>
                <a:gd name="T14" fmla="*/ 70 w 137"/>
                <a:gd name="T15" fmla="*/ 2 h 355"/>
                <a:gd name="T16" fmla="*/ 90 w 137"/>
                <a:gd name="T17" fmla="*/ 0 h 355"/>
                <a:gd name="T18" fmla="*/ 95 w 137"/>
                <a:gd name="T19" fmla="*/ 10 h 355"/>
                <a:gd name="T20" fmla="*/ 102 w 137"/>
                <a:gd name="T21" fmla="*/ 30 h 355"/>
                <a:gd name="T22" fmla="*/ 95 w 137"/>
                <a:gd name="T23" fmla="*/ 47 h 355"/>
                <a:gd name="T24" fmla="*/ 82 w 137"/>
                <a:gd name="T25" fmla="*/ 54 h 355"/>
                <a:gd name="T26" fmla="*/ 80 w 137"/>
                <a:gd name="T27" fmla="*/ 69 h 355"/>
                <a:gd name="T28" fmla="*/ 100 w 137"/>
                <a:gd name="T29" fmla="*/ 74 h 355"/>
                <a:gd name="T30" fmla="*/ 110 w 137"/>
                <a:gd name="T31" fmla="*/ 92 h 355"/>
                <a:gd name="T32" fmla="*/ 115 w 137"/>
                <a:gd name="T33" fmla="*/ 122 h 355"/>
                <a:gd name="T34" fmla="*/ 132 w 137"/>
                <a:gd name="T35" fmla="*/ 124 h 355"/>
                <a:gd name="T36" fmla="*/ 137 w 137"/>
                <a:gd name="T37" fmla="*/ 137 h 355"/>
                <a:gd name="T38" fmla="*/ 127 w 137"/>
                <a:gd name="T39" fmla="*/ 154 h 355"/>
                <a:gd name="T40" fmla="*/ 117 w 137"/>
                <a:gd name="T41" fmla="*/ 164 h 355"/>
                <a:gd name="T42" fmla="*/ 100 w 137"/>
                <a:gd name="T43" fmla="*/ 171 h 355"/>
                <a:gd name="T44" fmla="*/ 97 w 137"/>
                <a:gd name="T45" fmla="*/ 204 h 355"/>
                <a:gd name="T46" fmla="*/ 102 w 137"/>
                <a:gd name="T47" fmla="*/ 216 h 355"/>
                <a:gd name="T48" fmla="*/ 117 w 137"/>
                <a:gd name="T49" fmla="*/ 233 h 355"/>
                <a:gd name="T50" fmla="*/ 112 w 137"/>
                <a:gd name="T51" fmla="*/ 266 h 355"/>
                <a:gd name="T52" fmla="*/ 112 w 137"/>
                <a:gd name="T53" fmla="*/ 281 h 355"/>
                <a:gd name="T54" fmla="*/ 119 w 137"/>
                <a:gd name="T55" fmla="*/ 303 h 355"/>
                <a:gd name="T56" fmla="*/ 134 w 137"/>
                <a:gd name="T57" fmla="*/ 316 h 355"/>
                <a:gd name="T58" fmla="*/ 122 w 137"/>
                <a:gd name="T59" fmla="*/ 343 h 355"/>
                <a:gd name="T60" fmla="*/ 115 w 137"/>
                <a:gd name="T61" fmla="*/ 355 h 355"/>
                <a:gd name="T62" fmla="*/ 107 w 137"/>
                <a:gd name="T63" fmla="*/ 320 h 355"/>
                <a:gd name="T64" fmla="*/ 102 w 137"/>
                <a:gd name="T65" fmla="*/ 298 h 355"/>
                <a:gd name="T66" fmla="*/ 87 w 137"/>
                <a:gd name="T67" fmla="*/ 288 h 355"/>
                <a:gd name="T68" fmla="*/ 95 w 137"/>
                <a:gd name="T69" fmla="*/ 243 h 355"/>
                <a:gd name="T70" fmla="*/ 77 w 137"/>
                <a:gd name="T71" fmla="*/ 216 h 355"/>
                <a:gd name="T72" fmla="*/ 67 w 137"/>
                <a:gd name="T73" fmla="*/ 231 h 355"/>
                <a:gd name="T74" fmla="*/ 55 w 137"/>
                <a:gd name="T75" fmla="*/ 243 h 355"/>
                <a:gd name="T76" fmla="*/ 37 w 137"/>
                <a:gd name="T77" fmla="*/ 236 h 355"/>
                <a:gd name="T78" fmla="*/ 35 w 137"/>
                <a:gd name="T79" fmla="*/ 196 h 355"/>
                <a:gd name="T80" fmla="*/ 30 w 137"/>
                <a:gd name="T81" fmla="*/ 179 h 355"/>
                <a:gd name="T82" fmla="*/ 15 w 137"/>
                <a:gd name="T83" fmla="*/ 159 h 355"/>
                <a:gd name="T84" fmla="*/ 0 w 137"/>
                <a:gd name="T85" fmla="*/ 144 h 355"/>
                <a:gd name="T86" fmla="*/ 0 w 137"/>
                <a:gd name="T87" fmla="*/ 134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355">
                  <a:moveTo>
                    <a:pt x="0" y="134"/>
                  </a:moveTo>
                  <a:lnTo>
                    <a:pt x="8" y="119"/>
                  </a:lnTo>
                  <a:lnTo>
                    <a:pt x="8" y="84"/>
                  </a:lnTo>
                  <a:lnTo>
                    <a:pt x="25" y="67"/>
                  </a:lnTo>
                  <a:lnTo>
                    <a:pt x="32" y="42"/>
                  </a:lnTo>
                  <a:lnTo>
                    <a:pt x="45" y="25"/>
                  </a:lnTo>
                  <a:lnTo>
                    <a:pt x="67" y="15"/>
                  </a:lnTo>
                  <a:lnTo>
                    <a:pt x="70" y="2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102" y="30"/>
                  </a:lnTo>
                  <a:lnTo>
                    <a:pt x="95" y="47"/>
                  </a:lnTo>
                  <a:lnTo>
                    <a:pt x="82" y="54"/>
                  </a:lnTo>
                  <a:lnTo>
                    <a:pt x="80" y="69"/>
                  </a:lnTo>
                  <a:lnTo>
                    <a:pt x="100" y="74"/>
                  </a:lnTo>
                  <a:lnTo>
                    <a:pt x="110" y="92"/>
                  </a:lnTo>
                  <a:lnTo>
                    <a:pt x="115" y="122"/>
                  </a:lnTo>
                  <a:lnTo>
                    <a:pt x="132" y="124"/>
                  </a:lnTo>
                  <a:lnTo>
                    <a:pt x="137" y="137"/>
                  </a:lnTo>
                  <a:lnTo>
                    <a:pt x="127" y="154"/>
                  </a:lnTo>
                  <a:lnTo>
                    <a:pt x="117" y="164"/>
                  </a:lnTo>
                  <a:lnTo>
                    <a:pt x="100" y="171"/>
                  </a:lnTo>
                  <a:lnTo>
                    <a:pt x="97" y="204"/>
                  </a:lnTo>
                  <a:lnTo>
                    <a:pt x="102" y="216"/>
                  </a:lnTo>
                  <a:lnTo>
                    <a:pt x="117" y="233"/>
                  </a:lnTo>
                  <a:lnTo>
                    <a:pt x="112" y="266"/>
                  </a:lnTo>
                  <a:lnTo>
                    <a:pt x="112" y="281"/>
                  </a:lnTo>
                  <a:lnTo>
                    <a:pt x="119" y="303"/>
                  </a:lnTo>
                  <a:lnTo>
                    <a:pt x="134" y="316"/>
                  </a:lnTo>
                  <a:lnTo>
                    <a:pt x="122" y="343"/>
                  </a:lnTo>
                  <a:lnTo>
                    <a:pt x="115" y="355"/>
                  </a:lnTo>
                  <a:lnTo>
                    <a:pt x="107" y="320"/>
                  </a:lnTo>
                  <a:lnTo>
                    <a:pt x="102" y="298"/>
                  </a:lnTo>
                  <a:lnTo>
                    <a:pt x="87" y="288"/>
                  </a:lnTo>
                  <a:lnTo>
                    <a:pt x="95" y="243"/>
                  </a:lnTo>
                  <a:lnTo>
                    <a:pt x="77" y="216"/>
                  </a:lnTo>
                  <a:lnTo>
                    <a:pt x="67" y="231"/>
                  </a:lnTo>
                  <a:lnTo>
                    <a:pt x="55" y="243"/>
                  </a:lnTo>
                  <a:lnTo>
                    <a:pt x="37" y="236"/>
                  </a:lnTo>
                  <a:lnTo>
                    <a:pt x="35" y="196"/>
                  </a:lnTo>
                  <a:lnTo>
                    <a:pt x="30" y="179"/>
                  </a:lnTo>
                  <a:lnTo>
                    <a:pt x="15" y="159"/>
                  </a:lnTo>
                  <a:lnTo>
                    <a:pt x="0" y="144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6672486" y="4212578"/>
              <a:ext cx="300800" cy="328146"/>
            </a:xfrm>
            <a:custGeom>
              <a:avLst/>
              <a:gdLst>
                <a:gd name="T0" fmla="*/ 80 w 209"/>
                <a:gd name="T1" fmla="*/ 34 h 228"/>
                <a:gd name="T2" fmla="*/ 53 w 209"/>
                <a:gd name="T3" fmla="*/ 25 h 228"/>
                <a:gd name="T4" fmla="*/ 30 w 209"/>
                <a:gd name="T5" fmla="*/ 0 h 228"/>
                <a:gd name="T6" fmla="*/ 3 w 209"/>
                <a:gd name="T7" fmla="*/ 2 h 228"/>
                <a:gd name="T8" fmla="*/ 0 w 209"/>
                <a:gd name="T9" fmla="*/ 12 h 228"/>
                <a:gd name="T10" fmla="*/ 33 w 209"/>
                <a:gd name="T11" fmla="*/ 34 h 228"/>
                <a:gd name="T12" fmla="*/ 60 w 209"/>
                <a:gd name="T13" fmla="*/ 59 h 228"/>
                <a:gd name="T14" fmla="*/ 80 w 209"/>
                <a:gd name="T15" fmla="*/ 77 h 228"/>
                <a:gd name="T16" fmla="*/ 85 w 209"/>
                <a:gd name="T17" fmla="*/ 102 h 228"/>
                <a:gd name="T18" fmla="*/ 97 w 209"/>
                <a:gd name="T19" fmla="*/ 126 h 228"/>
                <a:gd name="T20" fmla="*/ 132 w 209"/>
                <a:gd name="T21" fmla="*/ 174 h 228"/>
                <a:gd name="T22" fmla="*/ 164 w 209"/>
                <a:gd name="T23" fmla="*/ 213 h 228"/>
                <a:gd name="T24" fmla="*/ 177 w 209"/>
                <a:gd name="T25" fmla="*/ 228 h 228"/>
                <a:gd name="T26" fmla="*/ 209 w 209"/>
                <a:gd name="T27" fmla="*/ 213 h 228"/>
                <a:gd name="T28" fmla="*/ 204 w 209"/>
                <a:gd name="T29" fmla="*/ 194 h 228"/>
                <a:gd name="T30" fmla="*/ 204 w 209"/>
                <a:gd name="T31" fmla="*/ 169 h 228"/>
                <a:gd name="T32" fmla="*/ 194 w 209"/>
                <a:gd name="T33" fmla="*/ 154 h 228"/>
                <a:gd name="T34" fmla="*/ 167 w 209"/>
                <a:gd name="T35" fmla="*/ 144 h 228"/>
                <a:gd name="T36" fmla="*/ 167 w 209"/>
                <a:gd name="T37" fmla="*/ 134 h 228"/>
                <a:gd name="T38" fmla="*/ 157 w 209"/>
                <a:gd name="T39" fmla="*/ 119 h 228"/>
                <a:gd name="T40" fmla="*/ 154 w 209"/>
                <a:gd name="T41" fmla="*/ 97 h 228"/>
                <a:gd name="T42" fmla="*/ 137 w 209"/>
                <a:gd name="T43" fmla="*/ 79 h 228"/>
                <a:gd name="T44" fmla="*/ 112 w 209"/>
                <a:gd name="T45" fmla="*/ 64 h 228"/>
                <a:gd name="T46" fmla="*/ 80 w 209"/>
                <a:gd name="T47" fmla="*/ 3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228">
                  <a:moveTo>
                    <a:pt x="80" y="34"/>
                  </a:moveTo>
                  <a:lnTo>
                    <a:pt x="53" y="25"/>
                  </a:lnTo>
                  <a:lnTo>
                    <a:pt x="30" y="0"/>
                  </a:lnTo>
                  <a:lnTo>
                    <a:pt x="3" y="2"/>
                  </a:lnTo>
                  <a:lnTo>
                    <a:pt x="0" y="12"/>
                  </a:lnTo>
                  <a:lnTo>
                    <a:pt x="33" y="34"/>
                  </a:lnTo>
                  <a:lnTo>
                    <a:pt x="60" y="59"/>
                  </a:lnTo>
                  <a:lnTo>
                    <a:pt x="80" y="77"/>
                  </a:lnTo>
                  <a:lnTo>
                    <a:pt x="85" y="102"/>
                  </a:lnTo>
                  <a:lnTo>
                    <a:pt x="97" y="126"/>
                  </a:lnTo>
                  <a:lnTo>
                    <a:pt x="132" y="174"/>
                  </a:lnTo>
                  <a:lnTo>
                    <a:pt x="164" y="213"/>
                  </a:lnTo>
                  <a:lnTo>
                    <a:pt x="177" y="228"/>
                  </a:lnTo>
                  <a:lnTo>
                    <a:pt x="209" y="213"/>
                  </a:lnTo>
                  <a:lnTo>
                    <a:pt x="204" y="194"/>
                  </a:lnTo>
                  <a:lnTo>
                    <a:pt x="204" y="169"/>
                  </a:lnTo>
                  <a:lnTo>
                    <a:pt x="194" y="154"/>
                  </a:lnTo>
                  <a:lnTo>
                    <a:pt x="167" y="144"/>
                  </a:lnTo>
                  <a:lnTo>
                    <a:pt x="167" y="134"/>
                  </a:lnTo>
                  <a:lnTo>
                    <a:pt x="157" y="119"/>
                  </a:lnTo>
                  <a:lnTo>
                    <a:pt x="154" y="97"/>
                  </a:lnTo>
                  <a:lnTo>
                    <a:pt x="137" y="79"/>
                  </a:lnTo>
                  <a:lnTo>
                    <a:pt x="112" y="64"/>
                  </a:lnTo>
                  <a:lnTo>
                    <a:pt x="80" y="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0 w 30"/>
                <a:gd name="T13" fmla="*/ 0 h 30"/>
                <a:gd name="T14" fmla="*/ 3 w 3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48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6956015" y="4533528"/>
              <a:ext cx="238913" cy="79157"/>
            </a:xfrm>
            <a:custGeom>
              <a:avLst/>
              <a:gdLst>
                <a:gd name="T0" fmla="*/ 25 w 166"/>
                <a:gd name="T1" fmla="*/ 3 h 55"/>
                <a:gd name="T2" fmla="*/ 10 w 166"/>
                <a:gd name="T3" fmla="*/ 8 h 55"/>
                <a:gd name="T4" fmla="*/ 0 w 166"/>
                <a:gd name="T5" fmla="*/ 20 h 55"/>
                <a:gd name="T6" fmla="*/ 12 w 166"/>
                <a:gd name="T7" fmla="*/ 38 h 55"/>
                <a:gd name="T8" fmla="*/ 45 w 166"/>
                <a:gd name="T9" fmla="*/ 38 h 55"/>
                <a:gd name="T10" fmla="*/ 57 w 166"/>
                <a:gd name="T11" fmla="*/ 45 h 55"/>
                <a:gd name="T12" fmla="*/ 84 w 166"/>
                <a:gd name="T13" fmla="*/ 45 h 55"/>
                <a:gd name="T14" fmla="*/ 87 w 166"/>
                <a:gd name="T15" fmla="*/ 55 h 55"/>
                <a:gd name="T16" fmla="*/ 139 w 166"/>
                <a:gd name="T17" fmla="*/ 55 h 55"/>
                <a:gd name="T18" fmla="*/ 154 w 166"/>
                <a:gd name="T19" fmla="*/ 55 h 55"/>
                <a:gd name="T20" fmla="*/ 166 w 166"/>
                <a:gd name="T21" fmla="*/ 55 h 55"/>
                <a:gd name="T22" fmla="*/ 166 w 166"/>
                <a:gd name="T23" fmla="*/ 43 h 55"/>
                <a:gd name="T24" fmla="*/ 149 w 166"/>
                <a:gd name="T25" fmla="*/ 35 h 55"/>
                <a:gd name="T26" fmla="*/ 154 w 166"/>
                <a:gd name="T27" fmla="*/ 20 h 55"/>
                <a:gd name="T28" fmla="*/ 136 w 166"/>
                <a:gd name="T29" fmla="*/ 23 h 55"/>
                <a:gd name="T30" fmla="*/ 117 w 166"/>
                <a:gd name="T31" fmla="*/ 20 h 55"/>
                <a:gd name="T32" fmla="*/ 102 w 166"/>
                <a:gd name="T33" fmla="*/ 13 h 55"/>
                <a:gd name="T34" fmla="*/ 77 w 166"/>
                <a:gd name="T35" fmla="*/ 10 h 55"/>
                <a:gd name="T36" fmla="*/ 49 w 166"/>
                <a:gd name="T37" fmla="*/ 0 h 55"/>
                <a:gd name="T38" fmla="*/ 25 w 166"/>
                <a:gd name="T3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55">
                  <a:moveTo>
                    <a:pt x="25" y="3"/>
                  </a:moveTo>
                  <a:lnTo>
                    <a:pt x="10" y="8"/>
                  </a:lnTo>
                  <a:lnTo>
                    <a:pt x="0" y="20"/>
                  </a:lnTo>
                  <a:lnTo>
                    <a:pt x="12" y="38"/>
                  </a:lnTo>
                  <a:lnTo>
                    <a:pt x="45" y="38"/>
                  </a:lnTo>
                  <a:lnTo>
                    <a:pt x="57" y="45"/>
                  </a:lnTo>
                  <a:lnTo>
                    <a:pt x="84" y="45"/>
                  </a:lnTo>
                  <a:lnTo>
                    <a:pt x="87" y="55"/>
                  </a:lnTo>
                  <a:lnTo>
                    <a:pt x="139" y="55"/>
                  </a:lnTo>
                  <a:lnTo>
                    <a:pt x="154" y="55"/>
                  </a:lnTo>
                  <a:lnTo>
                    <a:pt x="166" y="55"/>
                  </a:lnTo>
                  <a:lnTo>
                    <a:pt x="166" y="43"/>
                  </a:lnTo>
                  <a:lnTo>
                    <a:pt x="149" y="35"/>
                  </a:lnTo>
                  <a:lnTo>
                    <a:pt x="154" y="20"/>
                  </a:lnTo>
                  <a:lnTo>
                    <a:pt x="136" y="23"/>
                  </a:lnTo>
                  <a:lnTo>
                    <a:pt x="117" y="20"/>
                  </a:lnTo>
                  <a:lnTo>
                    <a:pt x="102" y="13"/>
                  </a:lnTo>
                  <a:lnTo>
                    <a:pt x="77" y="10"/>
                  </a:lnTo>
                  <a:lnTo>
                    <a:pt x="49" y="0"/>
                  </a:lnTo>
                  <a:lnTo>
                    <a:pt x="25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50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5 w 15"/>
                <a:gd name="T17" fmla="*/ 10 h 10"/>
                <a:gd name="T18" fmla="*/ 8 w 15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5" y="10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51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8 w 15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52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7 w 7"/>
                <a:gd name="T17" fmla="*/ 10 h 10"/>
                <a:gd name="T18" fmla="*/ 5 w 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10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53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5 w 7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54"/>
            <p:cNvSpPr>
              <a:spLocks/>
            </p:cNvSpPr>
            <p:nvPr/>
          </p:nvSpPr>
          <p:spPr bwMode="auto">
            <a:xfrm>
              <a:off x="7271208" y="4598293"/>
              <a:ext cx="27345" cy="25906"/>
            </a:xfrm>
            <a:custGeom>
              <a:avLst/>
              <a:gdLst>
                <a:gd name="T0" fmla="*/ 2 w 19"/>
                <a:gd name="T1" fmla="*/ 8 h 18"/>
                <a:gd name="T2" fmla="*/ 12 w 19"/>
                <a:gd name="T3" fmla="*/ 0 h 18"/>
                <a:gd name="T4" fmla="*/ 19 w 19"/>
                <a:gd name="T5" fmla="*/ 8 h 18"/>
                <a:gd name="T6" fmla="*/ 17 w 19"/>
                <a:gd name="T7" fmla="*/ 18 h 18"/>
                <a:gd name="T8" fmla="*/ 0 w 19"/>
                <a:gd name="T9" fmla="*/ 13 h 18"/>
                <a:gd name="T10" fmla="*/ 2 w 19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8">
                  <a:moveTo>
                    <a:pt x="2" y="8"/>
                  </a:moveTo>
                  <a:lnTo>
                    <a:pt x="12" y="0"/>
                  </a:lnTo>
                  <a:lnTo>
                    <a:pt x="19" y="8"/>
                  </a:lnTo>
                  <a:lnTo>
                    <a:pt x="17" y="18"/>
                  </a:lnTo>
                  <a:lnTo>
                    <a:pt x="0" y="13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55"/>
            <p:cNvSpPr>
              <a:spLocks/>
            </p:cNvSpPr>
            <p:nvPr/>
          </p:nvSpPr>
          <p:spPr bwMode="auto">
            <a:xfrm>
              <a:off x="7305750" y="4644349"/>
              <a:ext cx="33102" cy="21589"/>
            </a:xfrm>
            <a:custGeom>
              <a:avLst/>
              <a:gdLst>
                <a:gd name="T0" fmla="*/ 3 w 23"/>
                <a:gd name="T1" fmla="*/ 3 h 15"/>
                <a:gd name="T2" fmla="*/ 0 w 23"/>
                <a:gd name="T3" fmla="*/ 15 h 15"/>
                <a:gd name="T4" fmla="*/ 18 w 23"/>
                <a:gd name="T5" fmla="*/ 8 h 15"/>
                <a:gd name="T6" fmla="*/ 23 w 23"/>
                <a:gd name="T7" fmla="*/ 0 h 15"/>
                <a:gd name="T8" fmla="*/ 3 w 2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3" y="3"/>
                  </a:moveTo>
                  <a:lnTo>
                    <a:pt x="0" y="15"/>
                  </a:lnTo>
                  <a:lnTo>
                    <a:pt x="18" y="8"/>
                  </a:lnTo>
                  <a:lnTo>
                    <a:pt x="2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56"/>
            <p:cNvSpPr>
              <a:spLocks/>
            </p:cNvSpPr>
            <p:nvPr/>
          </p:nvSpPr>
          <p:spPr bwMode="auto">
            <a:xfrm>
              <a:off x="7331656" y="4609807"/>
              <a:ext cx="57569" cy="24467"/>
            </a:xfrm>
            <a:custGeom>
              <a:avLst/>
              <a:gdLst>
                <a:gd name="T0" fmla="*/ 0 w 40"/>
                <a:gd name="T1" fmla="*/ 2 h 17"/>
                <a:gd name="T2" fmla="*/ 20 w 40"/>
                <a:gd name="T3" fmla="*/ 0 h 17"/>
                <a:gd name="T4" fmla="*/ 40 w 40"/>
                <a:gd name="T5" fmla="*/ 7 h 17"/>
                <a:gd name="T6" fmla="*/ 25 w 40"/>
                <a:gd name="T7" fmla="*/ 17 h 17"/>
                <a:gd name="T8" fmla="*/ 2 w 40"/>
                <a:gd name="T9" fmla="*/ 15 h 17"/>
                <a:gd name="T10" fmla="*/ 0 w 40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7">
                  <a:moveTo>
                    <a:pt x="0" y="2"/>
                  </a:moveTo>
                  <a:lnTo>
                    <a:pt x="20" y="0"/>
                  </a:lnTo>
                  <a:lnTo>
                    <a:pt x="40" y="7"/>
                  </a:lnTo>
                  <a:lnTo>
                    <a:pt x="25" y="17"/>
                  </a:lnTo>
                  <a:lnTo>
                    <a:pt x="2" y="1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57"/>
            <p:cNvSpPr>
              <a:spLocks/>
            </p:cNvSpPr>
            <p:nvPr/>
          </p:nvSpPr>
          <p:spPr bwMode="auto">
            <a:xfrm>
              <a:off x="7403618" y="4644349"/>
              <a:ext cx="31663" cy="21589"/>
            </a:xfrm>
            <a:custGeom>
              <a:avLst/>
              <a:gdLst>
                <a:gd name="T0" fmla="*/ 22 w 22"/>
                <a:gd name="T1" fmla="*/ 0 h 15"/>
                <a:gd name="T2" fmla="*/ 7 w 22"/>
                <a:gd name="T3" fmla="*/ 3 h 15"/>
                <a:gd name="T4" fmla="*/ 0 w 22"/>
                <a:gd name="T5" fmla="*/ 15 h 15"/>
                <a:gd name="T6" fmla="*/ 12 w 22"/>
                <a:gd name="T7" fmla="*/ 15 h 15"/>
                <a:gd name="T8" fmla="*/ 22 w 22"/>
                <a:gd name="T9" fmla="*/ 8 h 15"/>
                <a:gd name="T10" fmla="*/ 22 w 2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5">
                  <a:moveTo>
                    <a:pt x="22" y="0"/>
                  </a:moveTo>
                  <a:lnTo>
                    <a:pt x="7" y="3"/>
                  </a:lnTo>
                  <a:lnTo>
                    <a:pt x="0" y="15"/>
                  </a:lnTo>
                  <a:lnTo>
                    <a:pt x="12" y="15"/>
                  </a:lnTo>
                  <a:lnTo>
                    <a:pt x="22" y="8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58"/>
            <p:cNvSpPr>
              <a:spLocks/>
            </p:cNvSpPr>
            <p:nvPr/>
          </p:nvSpPr>
          <p:spPr bwMode="auto">
            <a:xfrm>
              <a:off x="7288479" y="4316203"/>
              <a:ext cx="168390" cy="214447"/>
            </a:xfrm>
            <a:custGeom>
              <a:avLst/>
              <a:gdLst>
                <a:gd name="T0" fmla="*/ 27 w 117"/>
                <a:gd name="T1" fmla="*/ 20 h 149"/>
                <a:gd name="T2" fmla="*/ 25 w 117"/>
                <a:gd name="T3" fmla="*/ 45 h 149"/>
                <a:gd name="T4" fmla="*/ 15 w 117"/>
                <a:gd name="T5" fmla="*/ 54 h 149"/>
                <a:gd name="T6" fmla="*/ 12 w 117"/>
                <a:gd name="T7" fmla="*/ 72 h 149"/>
                <a:gd name="T8" fmla="*/ 0 w 117"/>
                <a:gd name="T9" fmla="*/ 82 h 149"/>
                <a:gd name="T10" fmla="*/ 0 w 117"/>
                <a:gd name="T11" fmla="*/ 114 h 149"/>
                <a:gd name="T12" fmla="*/ 15 w 117"/>
                <a:gd name="T13" fmla="*/ 122 h 149"/>
                <a:gd name="T14" fmla="*/ 17 w 117"/>
                <a:gd name="T15" fmla="*/ 144 h 149"/>
                <a:gd name="T16" fmla="*/ 32 w 117"/>
                <a:gd name="T17" fmla="*/ 146 h 149"/>
                <a:gd name="T18" fmla="*/ 40 w 117"/>
                <a:gd name="T19" fmla="*/ 112 h 149"/>
                <a:gd name="T20" fmla="*/ 50 w 117"/>
                <a:gd name="T21" fmla="*/ 109 h 149"/>
                <a:gd name="T22" fmla="*/ 50 w 117"/>
                <a:gd name="T23" fmla="*/ 136 h 149"/>
                <a:gd name="T24" fmla="*/ 62 w 117"/>
                <a:gd name="T25" fmla="*/ 141 h 149"/>
                <a:gd name="T26" fmla="*/ 67 w 117"/>
                <a:gd name="T27" fmla="*/ 149 h 149"/>
                <a:gd name="T28" fmla="*/ 84 w 117"/>
                <a:gd name="T29" fmla="*/ 146 h 149"/>
                <a:gd name="T30" fmla="*/ 82 w 117"/>
                <a:gd name="T31" fmla="*/ 127 h 149"/>
                <a:gd name="T32" fmla="*/ 60 w 117"/>
                <a:gd name="T33" fmla="*/ 87 h 149"/>
                <a:gd name="T34" fmla="*/ 70 w 117"/>
                <a:gd name="T35" fmla="*/ 79 h 149"/>
                <a:gd name="T36" fmla="*/ 82 w 117"/>
                <a:gd name="T37" fmla="*/ 57 h 149"/>
                <a:gd name="T38" fmla="*/ 75 w 117"/>
                <a:gd name="T39" fmla="*/ 49 h 149"/>
                <a:gd name="T40" fmla="*/ 62 w 117"/>
                <a:gd name="T41" fmla="*/ 57 h 149"/>
                <a:gd name="T42" fmla="*/ 50 w 117"/>
                <a:gd name="T43" fmla="*/ 62 h 149"/>
                <a:gd name="T44" fmla="*/ 42 w 117"/>
                <a:gd name="T45" fmla="*/ 40 h 149"/>
                <a:gd name="T46" fmla="*/ 40 w 117"/>
                <a:gd name="T47" fmla="*/ 17 h 149"/>
                <a:gd name="T48" fmla="*/ 47 w 117"/>
                <a:gd name="T49" fmla="*/ 22 h 149"/>
                <a:gd name="T50" fmla="*/ 60 w 117"/>
                <a:gd name="T51" fmla="*/ 30 h 149"/>
                <a:gd name="T52" fmla="*/ 77 w 117"/>
                <a:gd name="T53" fmla="*/ 25 h 149"/>
                <a:gd name="T54" fmla="*/ 87 w 117"/>
                <a:gd name="T55" fmla="*/ 32 h 149"/>
                <a:gd name="T56" fmla="*/ 107 w 117"/>
                <a:gd name="T57" fmla="*/ 25 h 149"/>
                <a:gd name="T58" fmla="*/ 117 w 117"/>
                <a:gd name="T59" fmla="*/ 20 h 149"/>
                <a:gd name="T60" fmla="*/ 112 w 117"/>
                <a:gd name="T61" fmla="*/ 0 h 149"/>
                <a:gd name="T62" fmla="*/ 102 w 117"/>
                <a:gd name="T63" fmla="*/ 0 h 149"/>
                <a:gd name="T64" fmla="*/ 94 w 117"/>
                <a:gd name="T65" fmla="*/ 15 h 149"/>
                <a:gd name="T66" fmla="*/ 55 w 117"/>
                <a:gd name="T67" fmla="*/ 10 h 149"/>
                <a:gd name="T68" fmla="*/ 30 w 117"/>
                <a:gd name="T69" fmla="*/ 12 h 149"/>
                <a:gd name="T70" fmla="*/ 27 w 117"/>
                <a:gd name="T71" fmla="*/ 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149">
                  <a:moveTo>
                    <a:pt x="27" y="20"/>
                  </a:moveTo>
                  <a:lnTo>
                    <a:pt x="25" y="45"/>
                  </a:lnTo>
                  <a:lnTo>
                    <a:pt x="15" y="54"/>
                  </a:lnTo>
                  <a:lnTo>
                    <a:pt x="12" y="72"/>
                  </a:lnTo>
                  <a:lnTo>
                    <a:pt x="0" y="82"/>
                  </a:lnTo>
                  <a:lnTo>
                    <a:pt x="0" y="114"/>
                  </a:lnTo>
                  <a:lnTo>
                    <a:pt x="15" y="122"/>
                  </a:lnTo>
                  <a:lnTo>
                    <a:pt x="17" y="144"/>
                  </a:lnTo>
                  <a:lnTo>
                    <a:pt x="32" y="146"/>
                  </a:lnTo>
                  <a:lnTo>
                    <a:pt x="40" y="112"/>
                  </a:lnTo>
                  <a:lnTo>
                    <a:pt x="50" y="109"/>
                  </a:lnTo>
                  <a:lnTo>
                    <a:pt x="50" y="136"/>
                  </a:lnTo>
                  <a:lnTo>
                    <a:pt x="62" y="141"/>
                  </a:lnTo>
                  <a:lnTo>
                    <a:pt x="67" y="149"/>
                  </a:lnTo>
                  <a:lnTo>
                    <a:pt x="84" y="146"/>
                  </a:lnTo>
                  <a:lnTo>
                    <a:pt x="82" y="127"/>
                  </a:lnTo>
                  <a:lnTo>
                    <a:pt x="60" y="87"/>
                  </a:lnTo>
                  <a:lnTo>
                    <a:pt x="70" y="79"/>
                  </a:lnTo>
                  <a:lnTo>
                    <a:pt x="82" y="57"/>
                  </a:lnTo>
                  <a:lnTo>
                    <a:pt x="75" y="49"/>
                  </a:lnTo>
                  <a:lnTo>
                    <a:pt x="62" y="57"/>
                  </a:lnTo>
                  <a:lnTo>
                    <a:pt x="50" y="62"/>
                  </a:lnTo>
                  <a:lnTo>
                    <a:pt x="42" y="40"/>
                  </a:lnTo>
                  <a:lnTo>
                    <a:pt x="40" y="17"/>
                  </a:lnTo>
                  <a:lnTo>
                    <a:pt x="47" y="22"/>
                  </a:lnTo>
                  <a:lnTo>
                    <a:pt x="60" y="30"/>
                  </a:lnTo>
                  <a:lnTo>
                    <a:pt x="77" y="25"/>
                  </a:lnTo>
                  <a:lnTo>
                    <a:pt x="87" y="32"/>
                  </a:lnTo>
                  <a:lnTo>
                    <a:pt x="107" y="25"/>
                  </a:lnTo>
                  <a:lnTo>
                    <a:pt x="117" y="20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94" y="15"/>
                  </a:lnTo>
                  <a:lnTo>
                    <a:pt x="55" y="10"/>
                  </a:lnTo>
                  <a:lnTo>
                    <a:pt x="30" y="12"/>
                  </a:lnTo>
                  <a:lnTo>
                    <a:pt x="27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6852390" y="3943442"/>
              <a:ext cx="142485" cy="125213"/>
            </a:xfrm>
            <a:custGeom>
              <a:avLst/>
              <a:gdLst>
                <a:gd name="T0" fmla="*/ 39 w 99"/>
                <a:gd name="T1" fmla="*/ 72 h 87"/>
                <a:gd name="T2" fmla="*/ 17 w 99"/>
                <a:gd name="T3" fmla="*/ 80 h 87"/>
                <a:gd name="T4" fmla="*/ 15 w 99"/>
                <a:gd name="T5" fmla="*/ 50 h 87"/>
                <a:gd name="T6" fmla="*/ 0 w 99"/>
                <a:gd name="T7" fmla="*/ 38 h 87"/>
                <a:gd name="T8" fmla="*/ 7 w 99"/>
                <a:gd name="T9" fmla="*/ 15 h 87"/>
                <a:gd name="T10" fmla="*/ 22 w 99"/>
                <a:gd name="T11" fmla="*/ 0 h 87"/>
                <a:gd name="T12" fmla="*/ 39 w 99"/>
                <a:gd name="T13" fmla="*/ 10 h 87"/>
                <a:gd name="T14" fmla="*/ 59 w 99"/>
                <a:gd name="T15" fmla="*/ 8 h 87"/>
                <a:gd name="T16" fmla="*/ 72 w 99"/>
                <a:gd name="T17" fmla="*/ 20 h 87"/>
                <a:gd name="T18" fmla="*/ 89 w 99"/>
                <a:gd name="T19" fmla="*/ 8 h 87"/>
                <a:gd name="T20" fmla="*/ 97 w 99"/>
                <a:gd name="T21" fmla="*/ 13 h 87"/>
                <a:gd name="T22" fmla="*/ 99 w 99"/>
                <a:gd name="T23" fmla="*/ 47 h 87"/>
                <a:gd name="T24" fmla="*/ 87 w 99"/>
                <a:gd name="T25" fmla="*/ 55 h 87"/>
                <a:gd name="T26" fmla="*/ 69 w 99"/>
                <a:gd name="T27" fmla="*/ 72 h 87"/>
                <a:gd name="T28" fmla="*/ 52 w 99"/>
                <a:gd name="T29" fmla="*/ 87 h 87"/>
                <a:gd name="T30" fmla="*/ 39 w 99"/>
                <a:gd name="T31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87">
                  <a:moveTo>
                    <a:pt x="39" y="72"/>
                  </a:moveTo>
                  <a:lnTo>
                    <a:pt x="17" y="80"/>
                  </a:lnTo>
                  <a:lnTo>
                    <a:pt x="15" y="50"/>
                  </a:lnTo>
                  <a:lnTo>
                    <a:pt x="0" y="38"/>
                  </a:lnTo>
                  <a:lnTo>
                    <a:pt x="7" y="15"/>
                  </a:lnTo>
                  <a:lnTo>
                    <a:pt x="22" y="0"/>
                  </a:lnTo>
                  <a:lnTo>
                    <a:pt x="39" y="10"/>
                  </a:lnTo>
                  <a:lnTo>
                    <a:pt x="59" y="8"/>
                  </a:lnTo>
                  <a:lnTo>
                    <a:pt x="72" y="20"/>
                  </a:lnTo>
                  <a:lnTo>
                    <a:pt x="89" y="8"/>
                  </a:lnTo>
                  <a:lnTo>
                    <a:pt x="97" y="13"/>
                  </a:lnTo>
                  <a:lnTo>
                    <a:pt x="99" y="47"/>
                  </a:lnTo>
                  <a:lnTo>
                    <a:pt x="87" y="55"/>
                  </a:lnTo>
                  <a:lnTo>
                    <a:pt x="69" y="72"/>
                  </a:lnTo>
                  <a:lnTo>
                    <a:pt x="52" y="87"/>
                  </a:lnTo>
                  <a:lnTo>
                    <a:pt x="39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60"/>
            <p:cNvSpPr>
              <a:spLocks/>
            </p:cNvSpPr>
            <p:nvPr/>
          </p:nvSpPr>
          <p:spPr bwMode="auto">
            <a:xfrm>
              <a:off x="6794821" y="3707407"/>
              <a:ext cx="185662" cy="264819"/>
            </a:xfrm>
            <a:custGeom>
              <a:avLst/>
              <a:gdLst>
                <a:gd name="T0" fmla="*/ 0 w 129"/>
                <a:gd name="T1" fmla="*/ 28 h 184"/>
                <a:gd name="T2" fmla="*/ 2 w 129"/>
                <a:gd name="T3" fmla="*/ 42 h 184"/>
                <a:gd name="T4" fmla="*/ 7 w 129"/>
                <a:gd name="T5" fmla="*/ 62 h 184"/>
                <a:gd name="T6" fmla="*/ 15 w 129"/>
                <a:gd name="T7" fmla="*/ 70 h 184"/>
                <a:gd name="T8" fmla="*/ 27 w 129"/>
                <a:gd name="T9" fmla="*/ 75 h 184"/>
                <a:gd name="T10" fmla="*/ 47 w 129"/>
                <a:gd name="T11" fmla="*/ 100 h 184"/>
                <a:gd name="T12" fmla="*/ 60 w 129"/>
                <a:gd name="T13" fmla="*/ 87 h 184"/>
                <a:gd name="T14" fmla="*/ 74 w 129"/>
                <a:gd name="T15" fmla="*/ 102 h 184"/>
                <a:gd name="T16" fmla="*/ 84 w 129"/>
                <a:gd name="T17" fmla="*/ 127 h 184"/>
                <a:gd name="T18" fmla="*/ 89 w 129"/>
                <a:gd name="T19" fmla="*/ 139 h 184"/>
                <a:gd name="T20" fmla="*/ 99 w 129"/>
                <a:gd name="T21" fmla="*/ 142 h 184"/>
                <a:gd name="T22" fmla="*/ 99 w 129"/>
                <a:gd name="T23" fmla="*/ 172 h 184"/>
                <a:gd name="T24" fmla="*/ 112 w 129"/>
                <a:gd name="T25" fmla="*/ 184 h 184"/>
                <a:gd name="T26" fmla="*/ 129 w 129"/>
                <a:gd name="T27" fmla="*/ 172 h 184"/>
                <a:gd name="T28" fmla="*/ 129 w 129"/>
                <a:gd name="T29" fmla="*/ 134 h 184"/>
                <a:gd name="T30" fmla="*/ 114 w 129"/>
                <a:gd name="T31" fmla="*/ 124 h 184"/>
                <a:gd name="T32" fmla="*/ 87 w 129"/>
                <a:gd name="T33" fmla="*/ 85 h 184"/>
                <a:gd name="T34" fmla="*/ 74 w 129"/>
                <a:gd name="T35" fmla="*/ 70 h 184"/>
                <a:gd name="T36" fmla="*/ 79 w 129"/>
                <a:gd name="T37" fmla="*/ 50 h 184"/>
                <a:gd name="T38" fmla="*/ 77 w 129"/>
                <a:gd name="T39" fmla="*/ 37 h 184"/>
                <a:gd name="T40" fmla="*/ 45 w 129"/>
                <a:gd name="T41" fmla="*/ 28 h 184"/>
                <a:gd name="T42" fmla="*/ 35 w 129"/>
                <a:gd name="T43" fmla="*/ 0 h 184"/>
                <a:gd name="T44" fmla="*/ 20 w 129"/>
                <a:gd name="T45" fmla="*/ 8 h 184"/>
                <a:gd name="T46" fmla="*/ 22 w 129"/>
                <a:gd name="T47" fmla="*/ 25 h 184"/>
                <a:gd name="T48" fmla="*/ 0 w 129"/>
                <a:gd name="T49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84">
                  <a:moveTo>
                    <a:pt x="0" y="28"/>
                  </a:moveTo>
                  <a:lnTo>
                    <a:pt x="2" y="42"/>
                  </a:lnTo>
                  <a:lnTo>
                    <a:pt x="7" y="62"/>
                  </a:lnTo>
                  <a:lnTo>
                    <a:pt x="15" y="70"/>
                  </a:lnTo>
                  <a:lnTo>
                    <a:pt x="27" y="75"/>
                  </a:lnTo>
                  <a:lnTo>
                    <a:pt x="47" y="100"/>
                  </a:lnTo>
                  <a:lnTo>
                    <a:pt x="60" y="87"/>
                  </a:lnTo>
                  <a:lnTo>
                    <a:pt x="74" y="102"/>
                  </a:lnTo>
                  <a:lnTo>
                    <a:pt x="84" y="127"/>
                  </a:lnTo>
                  <a:lnTo>
                    <a:pt x="89" y="139"/>
                  </a:lnTo>
                  <a:lnTo>
                    <a:pt x="99" y="142"/>
                  </a:lnTo>
                  <a:lnTo>
                    <a:pt x="99" y="172"/>
                  </a:lnTo>
                  <a:lnTo>
                    <a:pt x="112" y="184"/>
                  </a:lnTo>
                  <a:lnTo>
                    <a:pt x="129" y="172"/>
                  </a:lnTo>
                  <a:lnTo>
                    <a:pt x="129" y="134"/>
                  </a:lnTo>
                  <a:lnTo>
                    <a:pt x="114" y="124"/>
                  </a:lnTo>
                  <a:lnTo>
                    <a:pt x="87" y="85"/>
                  </a:lnTo>
                  <a:lnTo>
                    <a:pt x="74" y="70"/>
                  </a:lnTo>
                  <a:lnTo>
                    <a:pt x="79" y="50"/>
                  </a:lnTo>
                  <a:lnTo>
                    <a:pt x="77" y="37"/>
                  </a:lnTo>
                  <a:lnTo>
                    <a:pt x="45" y="28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22" y="25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61"/>
            <p:cNvSpPr>
              <a:spLocks/>
            </p:cNvSpPr>
            <p:nvPr/>
          </p:nvSpPr>
          <p:spPr bwMode="auto">
            <a:xfrm>
              <a:off x="6845195" y="3685818"/>
              <a:ext cx="192858" cy="440406"/>
            </a:xfrm>
            <a:custGeom>
              <a:avLst/>
              <a:gdLst>
                <a:gd name="T0" fmla="*/ 0 w 134"/>
                <a:gd name="T1" fmla="*/ 15 h 306"/>
                <a:gd name="T2" fmla="*/ 10 w 134"/>
                <a:gd name="T3" fmla="*/ 43 h 306"/>
                <a:gd name="T4" fmla="*/ 42 w 134"/>
                <a:gd name="T5" fmla="*/ 52 h 306"/>
                <a:gd name="T6" fmla="*/ 44 w 134"/>
                <a:gd name="T7" fmla="*/ 65 h 306"/>
                <a:gd name="T8" fmla="*/ 39 w 134"/>
                <a:gd name="T9" fmla="*/ 85 h 306"/>
                <a:gd name="T10" fmla="*/ 52 w 134"/>
                <a:gd name="T11" fmla="*/ 100 h 306"/>
                <a:gd name="T12" fmla="*/ 79 w 134"/>
                <a:gd name="T13" fmla="*/ 139 h 306"/>
                <a:gd name="T14" fmla="*/ 94 w 134"/>
                <a:gd name="T15" fmla="*/ 149 h 306"/>
                <a:gd name="T16" fmla="*/ 94 w 134"/>
                <a:gd name="T17" fmla="*/ 187 h 306"/>
                <a:gd name="T18" fmla="*/ 102 w 134"/>
                <a:gd name="T19" fmla="*/ 192 h 306"/>
                <a:gd name="T20" fmla="*/ 104 w 134"/>
                <a:gd name="T21" fmla="*/ 226 h 306"/>
                <a:gd name="T22" fmla="*/ 92 w 134"/>
                <a:gd name="T23" fmla="*/ 234 h 306"/>
                <a:gd name="T24" fmla="*/ 74 w 134"/>
                <a:gd name="T25" fmla="*/ 251 h 306"/>
                <a:gd name="T26" fmla="*/ 57 w 134"/>
                <a:gd name="T27" fmla="*/ 266 h 306"/>
                <a:gd name="T28" fmla="*/ 64 w 134"/>
                <a:gd name="T29" fmla="*/ 276 h 306"/>
                <a:gd name="T30" fmla="*/ 57 w 134"/>
                <a:gd name="T31" fmla="*/ 289 h 306"/>
                <a:gd name="T32" fmla="*/ 62 w 134"/>
                <a:gd name="T33" fmla="*/ 306 h 306"/>
                <a:gd name="T34" fmla="*/ 94 w 134"/>
                <a:gd name="T35" fmla="*/ 281 h 306"/>
                <a:gd name="T36" fmla="*/ 122 w 134"/>
                <a:gd name="T37" fmla="*/ 259 h 306"/>
                <a:gd name="T38" fmla="*/ 129 w 134"/>
                <a:gd name="T39" fmla="*/ 246 h 306"/>
                <a:gd name="T40" fmla="*/ 134 w 134"/>
                <a:gd name="T41" fmla="*/ 202 h 306"/>
                <a:gd name="T42" fmla="*/ 126 w 134"/>
                <a:gd name="T43" fmla="*/ 162 h 306"/>
                <a:gd name="T44" fmla="*/ 99 w 134"/>
                <a:gd name="T45" fmla="*/ 135 h 306"/>
                <a:gd name="T46" fmla="*/ 69 w 134"/>
                <a:gd name="T47" fmla="*/ 97 h 306"/>
                <a:gd name="T48" fmla="*/ 69 w 134"/>
                <a:gd name="T49" fmla="*/ 72 h 306"/>
                <a:gd name="T50" fmla="*/ 77 w 134"/>
                <a:gd name="T51" fmla="*/ 62 h 306"/>
                <a:gd name="T52" fmla="*/ 99 w 134"/>
                <a:gd name="T53" fmla="*/ 48 h 306"/>
                <a:gd name="T54" fmla="*/ 72 w 134"/>
                <a:gd name="T55" fmla="*/ 8 h 306"/>
                <a:gd name="T56" fmla="*/ 44 w 134"/>
                <a:gd name="T57" fmla="*/ 0 h 306"/>
                <a:gd name="T58" fmla="*/ 27 w 134"/>
                <a:gd name="T59" fmla="*/ 0 h 306"/>
                <a:gd name="T60" fmla="*/ 0 w 134"/>
                <a:gd name="T61" fmla="*/ 1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4" h="306">
                  <a:moveTo>
                    <a:pt x="0" y="15"/>
                  </a:moveTo>
                  <a:lnTo>
                    <a:pt x="10" y="43"/>
                  </a:lnTo>
                  <a:lnTo>
                    <a:pt x="42" y="52"/>
                  </a:lnTo>
                  <a:lnTo>
                    <a:pt x="44" y="65"/>
                  </a:lnTo>
                  <a:lnTo>
                    <a:pt x="39" y="85"/>
                  </a:lnTo>
                  <a:lnTo>
                    <a:pt x="52" y="100"/>
                  </a:lnTo>
                  <a:lnTo>
                    <a:pt x="79" y="139"/>
                  </a:lnTo>
                  <a:lnTo>
                    <a:pt x="94" y="149"/>
                  </a:lnTo>
                  <a:lnTo>
                    <a:pt x="94" y="187"/>
                  </a:lnTo>
                  <a:lnTo>
                    <a:pt x="102" y="192"/>
                  </a:lnTo>
                  <a:lnTo>
                    <a:pt x="104" y="226"/>
                  </a:lnTo>
                  <a:lnTo>
                    <a:pt x="92" y="234"/>
                  </a:lnTo>
                  <a:lnTo>
                    <a:pt x="74" y="251"/>
                  </a:lnTo>
                  <a:lnTo>
                    <a:pt x="57" y="266"/>
                  </a:lnTo>
                  <a:lnTo>
                    <a:pt x="64" y="276"/>
                  </a:lnTo>
                  <a:lnTo>
                    <a:pt x="57" y="289"/>
                  </a:lnTo>
                  <a:lnTo>
                    <a:pt x="62" y="306"/>
                  </a:lnTo>
                  <a:lnTo>
                    <a:pt x="94" y="281"/>
                  </a:lnTo>
                  <a:lnTo>
                    <a:pt x="122" y="259"/>
                  </a:lnTo>
                  <a:lnTo>
                    <a:pt x="129" y="246"/>
                  </a:lnTo>
                  <a:lnTo>
                    <a:pt x="134" y="202"/>
                  </a:lnTo>
                  <a:lnTo>
                    <a:pt x="126" y="162"/>
                  </a:lnTo>
                  <a:lnTo>
                    <a:pt x="99" y="135"/>
                  </a:lnTo>
                  <a:lnTo>
                    <a:pt x="69" y="97"/>
                  </a:lnTo>
                  <a:lnTo>
                    <a:pt x="69" y="72"/>
                  </a:lnTo>
                  <a:lnTo>
                    <a:pt x="77" y="62"/>
                  </a:lnTo>
                  <a:lnTo>
                    <a:pt x="99" y="48"/>
                  </a:lnTo>
                  <a:lnTo>
                    <a:pt x="72" y="8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62"/>
            <p:cNvSpPr>
              <a:spLocks/>
            </p:cNvSpPr>
            <p:nvPr/>
          </p:nvSpPr>
          <p:spPr bwMode="auto">
            <a:xfrm>
              <a:off x="7674194" y="4408314"/>
              <a:ext cx="250427" cy="225960"/>
            </a:xfrm>
            <a:custGeom>
              <a:avLst/>
              <a:gdLst>
                <a:gd name="T0" fmla="*/ 155 w 174"/>
                <a:gd name="T1" fmla="*/ 30 h 157"/>
                <a:gd name="T2" fmla="*/ 135 w 174"/>
                <a:gd name="T3" fmla="*/ 23 h 157"/>
                <a:gd name="T4" fmla="*/ 97 w 174"/>
                <a:gd name="T5" fmla="*/ 8 h 157"/>
                <a:gd name="T6" fmla="*/ 87 w 174"/>
                <a:gd name="T7" fmla="*/ 0 h 157"/>
                <a:gd name="T8" fmla="*/ 68 w 174"/>
                <a:gd name="T9" fmla="*/ 5 h 157"/>
                <a:gd name="T10" fmla="*/ 48 w 174"/>
                <a:gd name="T11" fmla="*/ 25 h 157"/>
                <a:gd name="T12" fmla="*/ 28 w 174"/>
                <a:gd name="T13" fmla="*/ 38 h 157"/>
                <a:gd name="T14" fmla="*/ 8 w 174"/>
                <a:gd name="T15" fmla="*/ 40 h 157"/>
                <a:gd name="T16" fmla="*/ 0 w 174"/>
                <a:gd name="T17" fmla="*/ 43 h 157"/>
                <a:gd name="T18" fmla="*/ 8 w 174"/>
                <a:gd name="T19" fmla="*/ 58 h 157"/>
                <a:gd name="T20" fmla="*/ 25 w 174"/>
                <a:gd name="T21" fmla="*/ 55 h 157"/>
                <a:gd name="T22" fmla="*/ 50 w 174"/>
                <a:gd name="T23" fmla="*/ 68 h 157"/>
                <a:gd name="T24" fmla="*/ 68 w 174"/>
                <a:gd name="T25" fmla="*/ 77 h 157"/>
                <a:gd name="T26" fmla="*/ 85 w 174"/>
                <a:gd name="T27" fmla="*/ 95 h 157"/>
                <a:gd name="T28" fmla="*/ 85 w 174"/>
                <a:gd name="T29" fmla="*/ 115 h 157"/>
                <a:gd name="T30" fmla="*/ 80 w 174"/>
                <a:gd name="T31" fmla="*/ 122 h 157"/>
                <a:gd name="T32" fmla="*/ 65 w 174"/>
                <a:gd name="T33" fmla="*/ 130 h 157"/>
                <a:gd name="T34" fmla="*/ 68 w 174"/>
                <a:gd name="T35" fmla="*/ 145 h 157"/>
                <a:gd name="T36" fmla="*/ 92 w 174"/>
                <a:gd name="T37" fmla="*/ 142 h 157"/>
                <a:gd name="T38" fmla="*/ 115 w 174"/>
                <a:gd name="T39" fmla="*/ 142 h 157"/>
                <a:gd name="T40" fmla="*/ 122 w 174"/>
                <a:gd name="T41" fmla="*/ 152 h 157"/>
                <a:gd name="T42" fmla="*/ 137 w 174"/>
                <a:gd name="T43" fmla="*/ 157 h 157"/>
                <a:gd name="T44" fmla="*/ 157 w 174"/>
                <a:gd name="T45" fmla="*/ 150 h 157"/>
                <a:gd name="T46" fmla="*/ 167 w 174"/>
                <a:gd name="T47" fmla="*/ 135 h 157"/>
                <a:gd name="T48" fmla="*/ 174 w 174"/>
                <a:gd name="T49" fmla="*/ 120 h 157"/>
                <a:gd name="T50" fmla="*/ 155 w 174"/>
                <a:gd name="T51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4" h="157">
                  <a:moveTo>
                    <a:pt x="155" y="30"/>
                  </a:moveTo>
                  <a:lnTo>
                    <a:pt x="135" y="23"/>
                  </a:lnTo>
                  <a:lnTo>
                    <a:pt x="97" y="8"/>
                  </a:lnTo>
                  <a:lnTo>
                    <a:pt x="87" y="0"/>
                  </a:lnTo>
                  <a:lnTo>
                    <a:pt x="68" y="5"/>
                  </a:lnTo>
                  <a:lnTo>
                    <a:pt x="48" y="25"/>
                  </a:lnTo>
                  <a:lnTo>
                    <a:pt x="28" y="38"/>
                  </a:lnTo>
                  <a:lnTo>
                    <a:pt x="8" y="40"/>
                  </a:lnTo>
                  <a:lnTo>
                    <a:pt x="0" y="43"/>
                  </a:lnTo>
                  <a:lnTo>
                    <a:pt x="8" y="58"/>
                  </a:lnTo>
                  <a:lnTo>
                    <a:pt x="25" y="55"/>
                  </a:lnTo>
                  <a:lnTo>
                    <a:pt x="50" y="68"/>
                  </a:lnTo>
                  <a:lnTo>
                    <a:pt x="68" y="77"/>
                  </a:lnTo>
                  <a:lnTo>
                    <a:pt x="85" y="95"/>
                  </a:lnTo>
                  <a:lnTo>
                    <a:pt x="85" y="115"/>
                  </a:lnTo>
                  <a:lnTo>
                    <a:pt x="80" y="122"/>
                  </a:lnTo>
                  <a:lnTo>
                    <a:pt x="65" y="130"/>
                  </a:lnTo>
                  <a:lnTo>
                    <a:pt x="68" y="145"/>
                  </a:lnTo>
                  <a:lnTo>
                    <a:pt x="92" y="142"/>
                  </a:lnTo>
                  <a:lnTo>
                    <a:pt x="115" y="142"/>
                  </a:lnTo>
                  <a:lnTo>
                    <a:pt x="122" y="152"/>
                  </a:lnTo>
                  <a:lnTo>
                    <a:pt x="137" y="157"/>
                  </a:lnTo>
                  <a:lnTo>
                    <a:pt x="157" y="150"/>
                  </a:lnTo>
                  <a:lnTo>
                    <a:pt x="167" y="135"/>
                  </a:lnTo>
                  <a:lnTo>
                    <a:pt x="174" y="120"/>
                  </a:lnTo>
                  <a:lnTo>
                    <a:pt x="15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7507243" y="4283101"/>
              <a:ext cx="41737" cy="93550"/>
            </a:xfrm>
            <a:custGeom>
              <a:avLst/>
              <a:gdLst>
                <a:gd name="T0" fmla="*/ 15 w 29"/>
                <a:gd name="T1" fmla="*/ 28 h 65"/>
                <a:gd name="T2" fmla="*/ 0 w 29"/>
                <a:gd name="T3" fmla="*/ 35 h 65"/>
                <a:gd name="T4" fmla="*/ 5 w 29"/>
                <a:gd name="T5" fmla="*/ 53 h 65"/>
                <a:gd name="T6" fmla="*/ 22 w 29"/>
                <a:gd name="T7" fmla="*/ 65 h 65"/>
                <a:gd name="T8" fmla="*/ 27 w 29"/>
                <a:gd name="T9" fmla="*/ 40 h 65"/>
                <a:gd name="T10" fmla="*/ 29 w 29"/>
                <a:gd name="T11" fmla="*/ 18 h 65"/>
                <a:gd name="T12" fmla="*/ 22 w 29"/>
                <a:gd name="T13" fmla="*/ 0 h 65"/>
                <a:gd name="T14" fmla="*/ 15 w 29"/>
                <a:gd name="T15" fmla="*/ 8 h 65"/>
                <a:gd name="T16" fmla="*/ 15 w 29"/>
                <a:gd name="T17" fmla="*/ 2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65">
                  <a:moveTo>
                    <a:pt x="15" y="28"/>
                  </a:moveTo>
                  <a:lnTo>
                    <a:pt x="0" y="35"/>
                  </a:lnTo>
                  <a:lnTo>
                    <a:pt x="5" y="53"/>
                  </a:lnTo>
                  <a:lnTo>
                    <a:pt x="22" y="65"/>
                  </a:lnTo>
                  <a:lnTo>
                    <a:pt x="27" y="40"/>
                  </a:lnTo>
                  <a:lnTo>
                    <a:pt x="29" y="18"/>
                  </a:lnTo>
                  <a:lnTo>
                    <a:pt x="22" y="0"/>
                  </a:lnTo>
                  <a:lnTo>
                    <a:pt x="15" y="8"/>
                  </a:lnTo>
                  <a:lnTo>
                    <a:pt x="15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7538906" y="4441417"/>
              <a:ext cx="64765" cy="31663"/>
            </a:xfrm>
            <a:custGeom>
              <a:avLst/>
              <a:gdLst>
                <a:gd name="T0" fmla="*/ 5 w 45"/>
                <a:gd name="T1" fmla="*/ 5 h 22"/>
                <a:gd name="T2" fmla="*/ 22 w 45"/>
                <a:gd name="T3" fmla="*/ 0 h 22"/>
                <a:gd name="T4" fmla="*/ 35 w 45"/>
                <a:gd name="T5" fmla="*/ 0 h 22"/>
                <a:gd name="T6" fmla="*/ 42 w 45"/>
                <a:gd name="T7" fmla="*/ 12 h 22"/>
                <a:gd name="T8" fmla="*/ 45 w 45"/>
                <a:gd name="T9" fmla="*/ 22 h 22"/>
                <a:gd name="T10" fmla="*/ 30 w 45"/>
                <a:gd name="T11" fmla="*/ 15 h 22"/>
                <a:gd name="T12" fmla="*/ 17 w 45"/>
                <a:gd name="T13" fmla="*/ 12 h 22"/>
                <a:gd name="T14" fmla="*/ 0 w 45"/>
                <a:gd name="T15" fmla="*/ 15 h 22"/>
                <a:gd name="T16" fmla="*/ 5 w 45"/>
                <a:gd name="T1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2">
                  <a:moveTo>
                    <a:pt x="5" y="5"/>
                  </a:moveTo>
                  <a:lnTo>
                    <a:pt x="22" y="0"/>
                  </a:lnTo>
                  <a:lnTo>
                    <a:pt x="35" y="0"/>
                  </a:lnTo>
                  <a:lnTo>
                    <a:pt x="42" y="12"/>
                  </a:lnTo>
                  <a:lnTo>
                    <a:pt x="45" y="22"/>
                  </a:lnTo>
                  <a:lnTo>
                    <a:pt x="30" y="15"/>
                  </a:lnTo>
                  <a:lnTo>
                    <a:pt x="17" y="12"/>
                  </a:lnTo>
                  <a:lnTo>
                    <a:pt x="0" y="1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5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20 w 35"/>
                <a:gd name="T21" fmla="*/ 8 h 8"/>
                <a:gd name="T22" fmla="*/ 18 w 35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20" y="8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18 w 35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7685708" y="4386726"/>
              <a:ext cx="64765" cy="43177"/>
            </a:xfrm>
            <a:custGeom>
              <a:avLst/>
              <a:gdLst>
                <a:gd name="T0" fmla="*/ 17 w 45"/>
                <a:gd name="T1" fmla="*/ 30 h 30"/>
                <a:gd name="T2" fmla="*/ 0 w 45"/>
                <a:gd name="T3" fmla="*/ 30 h 30"/>
                <a:gd name="T4" fmla="*/ 5 w 45"/>
                <a:gd name="T5" fmla="*/ 15 h 30"/>
                <a:gd name="T6" fmla="*/ 12 w 45"/>
                <a:gd name="T7" fmla="*/ 0 h 30"/>
                <a:gd name="T8" fmla="*/ 30 w 45"/>
                <a:gd name="T9" fmla="*/ 5 h 30"/>
                <a:gd name="T10" fmla="*/ 45 w 45"/>
                <a:gd name="T11" fmla="*/ 8 h 30"/>
                <a:gd name="T12" fmla="*/ 40 w 45"/>
                <a:gd name="T13" fmla="*/ 20 h 30"/>
                <a:gd name="T14" fmla="*/ 30 w 45"/>
                <a:gd name="T15" fmla="*/ 30 h 30"/>
                <a:gd name="T16" fmla="*/ 17 w 4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0">
                  <a:moveTo>
                    <a:pt x="17" y="30"/>
                  </a:moveTo>
                  <a:lnTo>
                    <a:pt x="0" y="30"/>
                  </a:lnTo>
                  <a:lnTo>
                    <a:pt x="5" y="15"/>
                  </a:lnTo>
                  <a:lnTo>
                    <a:pt x="12" y="0"/>
                  </a:lnTo>
                  <a:lnTo>
                    <a:pt x="30" y="5"/>
                  </a:lnTo>
                  <a:lnTo>
                    <a:pt x="45" y="8"/>
                  </a:lnTo>
                  <a:lnTo>
                    <a:pt x="40" y="20"/>
                  </a:lnTo>
                  <a:lnTo>
                    <a:pt x="30" y="30"/>
                  </a:lnTo>
                  <a:lnTo>
                    <a:pt x="17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7009268" y="3779369"/>
              <a:ext cx="50373" cy="71962"/>
            </a:xfrm>
            <a:custGeom>
              <a:avLst/>
              <a:gdLst>
                <a:gd name="T0" fmla="*/ 12 w 35"/>
                <a:gd name="T1" fmla="*/ 10 h 50"/>
                <a:gd name="T2" fmla="*/ 0 w 35"/>
                <a:gd name="T3" fmla="*/ 27 h 50"/>
                <a:gd name="T4" fmla="*/ 3 w 35"/>
                <a:gd name="T5" fmla="*/ 50 h 50"/>
                <a:gd name="T6" fmla="*/ 17 w 35"/>
                <a:gd name="T7" fmla="*/ 50 h 50"/>
                <a:gd name="T8" fmla="*/ 35 w 35"/>
                <a:gd name="T9" fmla="*/ 30 h 50"/>
                <a:gd name="T10" fmla="*/ 22 w 35"/>
                <a:gd name="T11" fmla="*/ 0 h 50"/>
                <a:gd name="T12" fmla="*/ 12 w 35"/>
                <a:gd name="T13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50">
                  <a:moveTo>
                    <a:pt x="12" y="10"/>
                  </a:moveTo>
                  <a:lnTo>
                    <a:pt x="0" y="27"/>
                  </a:lnTo>
                  <a:lnTo>
                    <a:pt x="3" y="50"/>
                  </a:lnTo>
                  <a:lnTo>
                    <a:pt x="17" y="50"/>
                  </a:lnTo>
                  <a:lnTo>
                    <a:pt x="35" y="30"/>
                  </a:lnTo>
                  <a:lnTo>
                    <a:pt x="22" y="0"/>
                  </a:lnTo>
                  <a:lnTo>
                    <a:pt x="1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7199247" y="4190990"/>
              <a:ext cx="28785" cy="38859"/>
            </a:xfrm>
            <a:custGeom>
              <a:avLst/>
              <a:gdLst>
                <a:gd name="T0" fmla="*/ 17 w 20"/>
                <a:gd name="T1" fmla="*/ 0 h 27"/>
                <a:gd name="T2" fmla="*/ 5 w 20"/>
                <a:gd name="T3" fmla="*/ 7 h 27"/>
                <a:gd name="T4" fmla="*/ 0 w 20"/>
                <a:gd name="T5" fmla="*/ 27 h 27"/>
                <a:gd name="T6" fmla="*/ 15 w 20"/>
                <a:gd name="T7" fmla="*/ 20 h 27"/>
                <a:gd name="T8" fmla="*/ 20 w 20"/>
                <a:gd name="T9" fmla="*/ 7 h 27"/>
                <a:gd name="T10" fmla="*/ 17 w 2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7">
                  <a:moveTo>
                    <a:pt x="17" y="0"/>
                  </a:moveTo>
                  <a:lnTo>
                    <a:pt x="5" y="7"/>
                  </a:lnTo>
                  <a:lnTo>
                    <a:pt x="0" y="27"/>
                  </a:lnTo>
                  <a:lnTo>
                    <a:pt x="15" y="20"/>
                  </a:lnTo>
                  <a:lnTo>
                    <a:pt x="20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5345511" y="3160498"/>
              <a:ext cx="505171" cy="461994"/>
            </a:xfrm>
            <a:custGeom>
              <a:avLst/>
              <a:gdLst>
                <a:gd name="T0" fmla="*/ 0 w 351"/>
                <a:gd name="T1" fmla="*/ 7 h 321"/>
                <a:gd name="T2" fmla="*/ 17 w 351"/>
                <a:gd name="T3" fmla="*/ 55 h 321"/>
                <a:gd name="T4" fmla="*/ 25 w 351"/>
                <a:gd name="T5" fmla="*/ 92 h 321"/>
                <a:gd name="T6" fmla="*/ 40 w 351"/>
                <a:gd name="T7" fmla="*/ 112 h 321"/>
                <a:gd name="T8" fmla="*/ 27 w 351"/>
                <a:gd name="T9" fmla="*/ 139 h 321"/>
                <a:gd name="T10" fmla="*/ 47 w 351"/>
                <a:gd name="T11" fmla="*/ 164 h 321"/>
                <a:gd name="T12" fmla="*/ 72 w 351"/>
                <a:gd name="T13" fmla="*/ 164 h 321"/>
                <a:gd name="T14" fmla="*/ 70 w 351"/>
                <a:gd name="T15" fmla="*/ 196 h 321"/>
                <a:gd name="T16" fmla="*/ 82 w 351"/>
                <a:gd name="T17" fmla="*/ 216 h 321"/>
                <a:gd name="T18" fmla="*/ 107 w 351"/>
                <a:gd name="T19" fmla="*/ 221 h 321"/>
                <a:gd name="T20" fmla="*/ 117 w 351"/>
                <a:gd name="T21" fmla="*/ 231 h 321"/>
                <a:gd name="T22" fmla="*/ 137 w 351"/>
                <a:gd name="T23" fmla="*/ 261 h 321"/>
                <a:gd name="T24" fmla="*/ 152 w 351"/>
                <a:gd name="T25" fmla="*/ 273 h 321"/>
                <a:gd name="T26" fmla="*/ 214 w 351"/>
                <a:gd name="T27" fmla="*/ 288 h 321"/>
                <a:gd name="T28" fmla="*/ 234 w 351"/>
                <a:gd name="T29" fmla="*/ 281 h 321"/>
                <a:gd name="T30" fmla="*/ 259 w 351"/>
                <a:gd name="T31" fmla="*/ 321 h 321"/>
                <a:gd name="T32" fmla="*/ 323 w 351"/>
                <a:gd name="T33" fmla="*/ 321 h 321"/>
                <a:gd name="T34" fmla="*/ 341 w 351"/>
                <a:gd name="T35" fmla="*/ 298 h 321"/>
                <a:gd name="T36" fmla="*/ 346 w 351"/>
                <a:gd name="T37" fmla="*/ 273 h 321"/>
                <a:gd name="T38" fmla="*/ 326 w 351"/>
                <a:gd name="T39" fmla="*/ 253 h 321"/>
                <a:gd name="T40" fmla="*/ 308 w 351"/>
                <a:gd name="T41" fmla="*/ 226 h 321"/>
                <a:gd name="T42" fmla="*/ 311 w 351"/>
                <a:gd name="T43" fmla="*/ 194 h 321"/>
                <a:gd name="T44" fmla="*/ 293 w 351"/>
                <a:gd name="T45" fmla="*/ 149 h 321"/>
                <a:gd name="T46" fmla="*/ 296 w 351"/>
                <a:gd name="T47" fmla="*/ 82 h 321"/>
                <a:gd name="T48" fmla="*/ 244 w 351"/>
                <a:gd name="T49" fmla="*/ 50 h 321"/>
                <a:gd name="T50" fmla="*/ 191 w 351"/>
                <a:gd name="T51" fmla="*/ 42 h 321"/>
                <a:gd name="T52" fmla="*/ 167 w 351"/>
                <a:gd name="T53" fmla="*/ 64 h 321"/>
                <a:gd name="T54" fmla="*/ 139 w 351"/>
                <a:gd name="T55" fmla="*/ 82 h 321"/>
                <a:gd name="T56" fmla="*/ 97 w 351"/>
                <a:gd name="T57" fmla="*/ 62 h 321"/>
                <a:gd name="T58" fmla="*/ 75 w 351"/>
                <a:gd name="T59" fmla="*/ 27 h 321"/>
                <a:gd name="T60" fmla="*/ 57 w 351"/>
                <a:gd name="T61" fmla="*/ 10 h 321"/>
                <a:gd name="T62" fmla="*/ 30 w 351"/>
                <a:gd name="T63" fmla="*/ 25 h 321"/>
                <a:gd name="T64" fmla="*/ 8 w 351"/>
                <a:gd name="T65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1" h="321">
                  <a:moveTo>
                    <a:pt x="8" y="0"/>
                  </a:moveTo>
                  <a:lnTo>
                    <a:pt x="0" y="7"/>
                  </a:lnTo>
                  <a:lnTo>
                    <a:pt x="8" y="30"/>
                  </a:lnTo>
                  <a:lnTo>
                    <a:pt x="17" y="55"/>
                  </a:lnTo>
                  <a:lnTo>
                    <a:pt x="22" y="77"/>
                  </a:lnTo>
                  <a:lnTo>
                    <a:pt x="25" y="92"/>
                  </a:lnTo>
                  <a:lnTo>
                    <a:pt x="42" y="94"/>
                  </a:lnTo>
                  <a:lnTo>
                    <a:pt x="40" y="112"/>
                  </a:lnTo>
                  <a:lnTo>
                    <a:pt x="27" y="122"/>
                  </a:lnTo>
                  <a:lnTo>
                    <a:pt x="27" y="139"/>
                  </a:lnTo>
                  <a:lnTo>
                    <a:pt x="45" y="147"/>
                  </a:lnTo>
                  <a:lnTo>
                    <a:pt x="47" y="164"/>
                  </a:lnTo>
                  <a:lnTo>
                    <a:pt x="60" y="166"/>
                  </a:lnTo>
                  <a:lnTo>
                    <a:pt x="72" y="164"/>
                  </a:lnTo>
                  <a:lnTo>
                    <a:pt x="75" y="179"/>
                  </a:lnTo>
                  <a:lnTo>
                    <a:pt x="70" y="196"/>
                  </a:lnTo>
                  <a:lnTo>
                    <a:pt x="80" y="201"/>
                  </a:lnTo>
                  <a:lnTo>
                    <a:pt x="82" y="216"/>
                  </a:lnTo>
                  <a:lnTo>
                    <a:pt x="90" y="224"/>
                  </a:lnTo>
                  <a:lnTo>
                    <a:pt x="107" y="221"/>
                  </a:lnTo>
                  <a:lnTo>
                    <a:pt x="109" y="214"/>
                  </a:lnTo>
                  <a:lnTo>
                    <a:pt x="117" y="231"/>
                  </a:lnTo>
                  <a:lnTo>
                    <a:pt x="122" y="256"/>
                  </a:lnTo>
                  <a:lnTo>
                    <a:pt x="137" y="261"/>
                  </a:lnTo>
                  <a:lnTo>
                    <a:pt x="137" y="271"/>
                  </a:lnTo>
                  <a:lnTo>
                    <a:pt x="152" y="273"/>
                  </a:lnTo>
                  <a:lnTo>
                    <a:pt x="159" y="286"/>
                  </a:lnTo>
                  <a:lnTo>
                    <a:pt x="214" y="288"/>
                  </a:lnTo>
                  <a:lnTo>
                    <a:pt x="221" y="276"/>
                  </a:lnTo>
                  <a:lnTo>
                    <a:pt x="234" y="281"/>
                  </a:lnTo>
                  <a:lnTo>
                    <a:pt x="239" y="308"/>
                  </a:lnTo>
                  <a:lnTo>
                    <a:pt x="259" y="321"/>
                  </a:lnTo>
                  <a:lnTo>
                    <a:pt x="311" y="318"/>
                  </a:lnTo>
                  <a:lnTo>
                    <a:pt x="323" y="321"/>
                  </a:lnTo>
                  <a:lnTo>
                    <a:pt x="326" y="303"/>
                  </a:lnTo>
                  <a:lnTo>
                    <a:pt x="341" y="298"/>
                  </a:lnTo>
                  <a:lnTo>
                    <a:pt x="351" y="286"/>
                  </a:lnTo>
                  <a:lnTo>
                    <a:pt x="346" y="273"/>
                  </a:lnTo>
                  <a:lnTo>
                    <a:pt x="331" y="273"/>
                  </a:lnTo>
                  <a:lnTo>
                    <a:pt x="326" y="253"/>
                  </a:lnTo>
                  <a:lnTo>
                    <a:pt x="306" y="243"/>
                  </a:lnTo>
                  <a:lnTo>
                    <a:pt x="308" y="226"/>
                  </a:lnTo>
                  <a:lnTo>
                    <a:pt x="318" y="214"/>
                  </a:lnTo>
                  <a:lnTo>
                    <a:pt x="311" y="194"/>
                  </a:lnTo>
                  <a:lnTo>
                    <a:pt x="291" y="194"/>
                  </a:lnTo>
                  <a:lnTo>
                    <a:pt x="293" y="149"/>
                  </a:lnTo>
                  <a:lnTo>
                    <a:pt x="291" y="122"/>
                  </a:lnTo>
                  <a:lnTo>
                    <a:pt x="296" y="82"/>
                  </a:lnTo>
                  <a:lnTo>
                    <a:pt x="271" y="69"/>
                  </a:lnTo>
                  <a:lnTo>
                    <a:pt x="244" y="50"/>
                  </a:lnTo>
                  <a:lnTo>
                    <a:pt x="224" y="47"/>
                  </a:lnTo>
                  <a:lnTo>
                    <a:pt x="191" y="42"/>
                  </a:lnTo>
                  <a:lnTo>
                    <a:pt x="184" y="57"/>
                  </a:lnTo>
                  <a:lnTo>
                    <a:pt x="167" y="64"/>
                  </a:lnTo>
                  <a:lnTo>
                    <a:pt x="149" y="72"/>
                  </a:lnTo>
                  <a:lnTo>
                    <a:pt x="139" y="82"/>
                  </a:lnTo>
                  <a:lnTo>
                    <a:pt x="117" y="77"/>
                  </a:lnTo>
                  <a:lnTo>
                    <a:pt x="97" y="62"/>
                  </a:lnTo>
                  <a:lnTo>
                    <a:pt x="80" y="50"/>
                  </a:lnTo>
                  <a:lnTo>
                    <a:pt x="75" y="27"/>
                  </a:lnTo>
                  <a:lnTo>
                    <a:pt x="67" y="5"/>
                  </a:lnTo>
                  <a:lnTo>
                    <a:pt x="57" y="10"/>
                  </a:lnTo>
                  <a:lnTo>
                    <a:pt x="52" y="25"/>
                  </a:lnTo>
                  <a:lnTo>
                    <a:pt x="30" y="25"/>
                  </a:lnTo>
                  <a:lnTo>
                    <a:pt x="22" y="1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72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5 w 18"/>
                <a:gd name="T11" fmla="*/ 32 h 32"/>
                <a:gd name="T12" fmla="*/ 13 w 18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5" y="32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73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3 w 18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74"/>
            <p:cNvSpPr>
              <a:spLocks/>
            </p:cNvSpPr>
            <p:nvPr/>
          </p:nvSpPr>
          <p:spPr bwMode="auto">
            <a:xfrm>
              <a:off x="5571471" y="3639763"/>
              <a:ext cx="192858" cy="246110"/>
            </a:xfrm>
            <a:custGeom>
              <a:avLst/>
              <a:gdLst>
                <a:gd name="T0" fmla="*/ 47 w 134"/>
                <a:gd name="T1" fmla="*/ 40 h 171"/>
                <a:gd name="T2" fmla="*/ 62 w 134"/>
                <a:gd name="T3" fmla="*/ 62 h 171"/>
                <a:gd name="T4" fmla="*/ 49 w 134"/>
                <a:gd name="T5" fmla="*/ 112 h 171"/>
                <a:gd name="T6" fmla="*/ 0 w 134"/>
                <a:gd name="T7" fmla="*/ 122 h 171"/>
                <a:gd name="T8" fmla="*/ 7 w 134"/>
                <a:gd name="T9" fmla="*/ 144 h 171"/>
                <a:gd name="T10" fmla="*/ 17 w 134"/>
                <a:gd name="T11" fmla="*/ 171 h 171"/>
                <a:gd name="T12" fmla="*/ 49 w 134"/>
                <a:gd name="T13" fmla="*/ 167 h 171"/>
                <a:gd name="T14" fmla="*/ 59 w 134"/>
                <a:gd name="T15" fmla="*/ 149 h 171"/>
                <a:gd name="T16" fmla="*/ 74 w 134"/>
                <a:gd name="T17" fmla="*/ 144 h 171"/>
                <a:gd name="T18" fmla="*/ 84 w 134"/>
                <a:gd name="T19" fmla="*/ 134 h 171"/>
                <a:gd name="T20" fmla="*/ 104 w 134"/>
                <a:gd name="T21" fmla="*/ 129 h 171"/>
                <a:gd name="T22" fmla="*/ 107 w 134"/>
                <a:gd name="T23" fmla="*/ 94 h 171"/>
                <a:gd name="T24" fmla="*/ 114 w 134"/>
                <a:gd name="T25" fmla="*/ 82 h 171"/>
                <a:gd name="T26" fmla="*/ 129 w 134"/>
                <a:gd name="T27" fmla="*/ 75 h 171"/>
                <a:gd name="T28" fmla="*/ 134 w 134"/>
                <a:gd name="T29" fmla="*/ 40 h 171"/>
                <a:gd name="T30" fmla="*/ 117 w 134"/>
                <a:gd name="T31" fmla="*/ 37 h 171"/>
                <a:gd name="T32" fmla="*/ 117 w 134"/>
                <a:gd name="T33" fmla="*/ 20 h 171"/>
                <a:gd name="T34" fmla="*/ 84 w 134"/>
                <a:gd name="T35" fmla="*/ 15 h 171"/>
                <a:gd name="T36" fmla="*/ 72 w 134"/>
                <a:gd name="T37" fmla="*/ 0 h 171"/>
                <a:gd name="T38" fmla="*/ 47 w 134"/>
                <a:gd name="T39" fmla="*/ 4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4" h="171">
                  <a:moveTo>
                    <a:pt x="47" y="40"/>
                  </a:moveTo>
                  <a:lnTo>
                    <a:pt x="62" y="62"/>
                  </a:lnTo>
                  <a:lnTo>
                    <a:pt x="49" y="112"/>
                  </a:lnTo>
                  <a:lnTo>
                    <a:pt x="0" y="122"/>
                  </a:lnTo>
                  <a:lnTo>
                    <a:pt x="7" y="144"/>
                  </a:lnTo>
                  <a:lnTo>
                    <a:pt x="17" y="171"/>
                  </a:lnTo>
                  <a:lnTo>
                    <a:pt x="49" y="167"/>
                  </a:lnTo>
                  <a:lnTo>
                    <a:pt x="59" y="149"/>
                  </a:lnTo>
                  <a:lnTo>
                    <a:pt x="74" y="144"/>
                  </a:lnTo>
                  <a:lnTo>
                    <a:pt x="84" y="134"/>
                  </a:lnTo>
                  <a:lnTo>
                    <a:pt x="104" y="129"/>
                  </a:lnTo>
                  <a:lnTo>
                    <a:pt x="107" y="94"/>
                  </a:lnTo>
                  <a:lnTo>
                    <a:pt x="114" y="82"/>
                  </a:lnTo>
                  <a:lnTo>
                    <a:pt x="129" y="75"/>
                  </a:lnTo>
                  <a:lnTo>
                    <a:pt x="134" y="40"/>
                  </a:lnTo>
                  <a:lnTo>
                    <a:pt x="117" y="37"/>
                  </a:lnTo>
                  <a:lnTo>
                    <a:pt x="117" y="20"/>
                  </a:lnTo>
                  <a:lnTo>
                    <a:pt x="84" y="15"/>
                  </a:lnTo>
                  <a:lnTo>
                    <a:pt x="72" y="0"/>
                  </a:lnTo>
                  <a:lnTo>
                    <a:pt x="47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75"/>
            <p:cNvSpPr>
              <a:spLocks/>
            </p:cNvSpPr>
            <p:nvPr/>
          </p:nvSpPr>
          <p:spPr bwMode="auto">
            <a:xfrm>
              <a:off x="5542686" y="3608099"/>
              <a:ext cx="132410" cy="89233"/>
            </a:xfrm>
            <a:custGeom>
              <a:avLst/>
              <a:gdLst>
                <a:gd name="T0" fmla="*/ 0 w 92"/>
                <a:gd name="T1" fmla="*/ 19 h 62"/>
                <a:gd name="T2" fmla="*/ 12 w 92"/>
                <a:gd name="T3" fmla="*/ 59 h 62"/>
                <a:gd name="T4" fmla="*/ 67 w 92"/>
                <a:gd name="T5" fmla="*/ 62 h 62"/>
                <a:gd name="T6" fmla="*/ 92 w 92"/>
                <a:gd name="T7" fmla="*/ 22 h 62"/>
                <a:gd name="T8" fmla="*/ 87 w 92"/>
                <a:gd name="T9" fmla="*/ 0 h 62"/>
                <a:gd name="T10" fmla="*/ 72 w 92"/>
                <a:gd name="T11" fmla="*/ 17 h 62"/>
                <a:gd name="T12" fmla="*/ 59 w 92"/>
                <a:gd name="T13" fmla="*/ 32 h 62"/>
                <a:gd name="T14" fmla="*/ 30 w 92"/>
                <a:gd name="T15" fmla="*/ 37 h 62"/>
                <a:gd name="T16" fmla="*/ 15 w 92"/>
                <a:gd name="T17" fmla="*/ 29 h 62"/>
                <a:gd name="T18" fmla="*/ 0 w 92"/>
                <a:gd name="T19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2">
                  <a:moveTo>
                    <a:pt x="0" y="19"/>
                  </a:moveTo>
                  <a:lnTo>
                    <a:pt x="12" y="59"/>
                  </a:lnTo>
                  <a:lnTo>
                    <a:pt x="67" y="62"/>
                  </a:lnTo>
                  <a:lnTo>
                    <a:pt x="92" y="22"/>
                  </a:lnTo>
                  <a:lnTo>
                    <a:pt x="87" y="0"/>
                  </a:lnTo>
                  <a:lnTo>
                    <a:pt x="72" y="17"/>
                  </a:lnTo>
                  <a:lnTo>
                    <a:pt x="59" y="32"/>
                  </a:lnTo>
                  <a:lnTo>
                    <a:pt x="30" y="37"/>
                  </a:lnTo>
                  <a:lnTo>
                    <a:pt x="15" y="2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76"/>
            <p:cNvSpPr>
              <a:spLocks/>
            </p:cNvSpPr>
            <p:nvPr/>
          </p:nvSpPr>
          <p:spPr bwMode="auto">
            <a:xfrm>
              <a:off x="5213102" y="3249730"/>
              <a:ext cx="250427" cy="286407"/>
            </a:xfrm>
            <a:custGeom>
              <a:avLst/>
              <a:gdLst>
                <a:gd name="T0" fmla="*/ 134 w 174"/>
                <a:gd name="T1" fmla="*/ 199 h 199"/>
                <a:gd name="T2" fmla="*/ 124 w 174"/>
                <a:gd name="T3" fmla="*/ 191 h 199"/>
                <a:gd name="T4" fmla="*/ 105 w 174"/>
                <a:gd name="T5" fmla="*/ 179 h 199"/>
                <a:gd name="T6" fmla="*/ 87 w 174"/>
                <a:gd name="T7" fmla="*/ 152 h 199"/>
                <a:gd name="T8" fmla="*/ 75 w 174"/>
                <a:gd name="T9" fmla="*/ 147 h 199"/>
                <a:gd name="T10" fmla="*/ 62 w 174"/>
                <a:gd name="T11" fmla="*/ 127 h 199"/>
                <a:gd name="T12" fmla="*/ 42 w 174"/>
                <a:gd name="T13" fmla="*/ 129 h 199"/>
                <a:gd name="T14" fmla="*/ 30 w 174"/>
                <a:gd name="T15" fmla="*/ 119 h 199"/>
                <a:gd name="T16" fmla="*/ 17 w 174"/>
                <a:gd name="T17" fmla="*/ 109 h 199"/>
                <a:gd name="T18" fmla="*/ 10 w 174"/>
                <a:gd name="T19" fmla="*/ 112 h 199"/>
                <a:gd name="T20" fmla="*/ 0 w 174"/>
                <a:gd name="T21" fmla="*/ 94 h 199"/>
                <a:gd name="T22" fmla="*/ 17 w 174"/>
                <a:gd name="T23" fmla="*/ 82 h 199"/>
                <a:gd name="T24" fmla="*/ 42 w 174"/>
                <a:gd name="T25" fmla="*/ 67 h 199"/>
                <a:gd name="T26" fmla="*/ 45 w 174"/>
                <a:gd name="T27" fmla="*/ 50 h 199"/>
                <a:gd name="T28" fmla="*/ 45 w 174"/>
                <a:gd name="T29" fmla="*/ 27 h 199"/>
                <a:gd name="T30" fmla="*/ 57 w 174"/>
                <a:gd name="T31" fmla="*/ 17 h 199"/>
                <a:gd name="T32" fmla="*/ 70 w 174"/>
                <a:gd name="T33" fmla="*/ 5 h 199"/>
                <a:gd name="T34" fmla="*/ 85 w 174"/>
                <a:gd name="T35" fmla="*/ 0 h 199"/>
                <a:gd name="T36" fmla="*/ 92 w 174"/>
                <a:gd name="T37" fmla="*/ 12 h 199"/>
                <a:gd name="T38" fmla="*/ 114 w 174"/>
                <a:gd name="T39" fmla="*/ 15 h 199"/>
                <a:gd name="T40" fmla="*/ 117 w 174"/>
                <a:gd name="T41" fmla="*/ 30 h 199"/>
                <a:gd name="T42" fmla="*/ 134 w 174"/>
                <a:gd name="T43" fmla="*/ 32 h 199"/>
                <a:gd name="T44" fmla="*/ 132 w 174"/>
                <a:gd name="T45" fmla="*/ 50 h 199"/>
                <a:gd name="T46" fmla="*/ 119 w 174"/>
                <a:gd name="T47" fmla="*/ 60 h 199"/>
                <a:gd name="T48" fmla="*/ 119 w 174"/>
                <a:gd name="T49" fmla="*/ 77 h 199"/>
                <a:gd name="T50" fmla="*/ 137 w 174"/>
                <a:gd name="T51" fmla="*/ 85 h 199"/>
                <a:gd name="T52" fmla="*/ 139 w 174"/>
                <a:gd name="T53" fmla="*/ 102 h 199"/>
                <a:gd name="T54" fmla="*/ 152 w 174"/>
                <a:gd name="T55" fmla="*/ 104 h 199"/>
                <a:gd name="T56" fmla="*/ 164 w 174"/>
                <a:gd name="T57" fmla="*/ 102 h 199"/>
                <a:gd name="T58" fmla="*/ 167 w 174"/>
                <a:gd name="T59" fmla="*/ 117 h 199"/>
                <a:gd name="T60" fmla="*/ 162 w 174"/>
                <a:gd name="T61" fmla="*/ 134 h 199"/>
                <a:gd name="T62" fmla="*/ 172 w 174"/>
                <a:gd name="T63" fmla="*/ 139 h 199"/>
                <a:gd name="T64" fmla="*/ 174 w 174"/>
                <a:gd name="T65" fmla="*/ 154 h 199"/>
                <a:gd name="T66" fmla="*/ 159 w 174"/>
                <a:gd name="T67" fmla="*/ 159 h 199"/>
                <a:gd name="T68" fmla="*/ 149 w 174"/>
                <a:gd name="T69" fmla="*/ 162 h 199"/>
                <a:gd name="T70" fmla="*/ 147 w 174"/>
                <a:gd name="T71" fmla="*/ 189 h 199"/>
                <a:gd name="T72" fmla="*/ 134 w 174"/>
                <a:gd name="T7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4" h="199">
                  <a:moveTo>
                    <a:pt x="134" y="199"/>
                  </a:moveTo>
                  <a:lnTo>
                    <a:pt x="124" y="191"/>
                  </a:lnTo>
                  <a:lnTo>
                    <a:pt x="105" y="179"/>
                  </a:lnTo>
                  <a:lnTo>
                    <a:pt x="87" y="152"/>
                  </a:lnTo>
                  <a:lnTo>
                    <a:pt x="75" y="147"/>
                  </a:lnTo>
                  <a:lnTo>
                    <a:pt x="62" y="127"/>
                  </a:lnTo>
                  <a:lnTo>
                    <a:pt x="42" y="129"/>
                  </a:lnTo>
                  <a:lnTo>
                    <a:pt x="30" y="119"/>
                  </a:lnTo>
                  <a:lnTo>
                    <a:pt x="17" y="109"/>
                  </a:lnTo>
                  <a:lnTo>
                    <a:pt x="10" y="112"/>
                  </a:lnTo>
                  <a:lnTo>
                    <a:pt x="0" y="94"/>
                  </a:lnTo>
                  <a:lnTo>
                    <a:pt x="17" y="82"/>
                  </a:lnTo>
                  <a:lnTo>
                    <a:pt x="42" y="67"/>
                  </a:lnTo>
                  <a:lnTo>
                    <a:pt x="45" y="50"/>
                  </a:lnTo>
                  <a:lnTo>
                    <a:pt x="45" y="27"/>
                  </a:lnTo>
                  <a:lnTo>
                    <a:pt x="57" y="17"/>
                  </a:lnTo>
                  <a:lnTo>
                    <a:pt x="70" y="5"/>
                  </a:lnTo>
                  <a:lnTo>
                    <a:pt x="85" y="0"/>
                  </a:lnTo>
                  <a:lnTo>
                    <a:pt x="92" y="12"/>
                  </a:lnTo>
                  <a:lnTo>
                    <a:pt x="114" y="15"/>
                  </a:lnTo>
                  <a:lnTo>
                    <a:pt x="117" y="30"/>
                  </a:lnTo>
                  <a:lnTo>
                    <a:pt x="134" y="32"/>
                  </a:lnTo>
                  <a:lnTo>
                    <a:pt x="132" y="50"/>
                  </a:lnTo>
                  <a:lnTo>
                    <a:pt x="119" y="60"/>
                  </a:lnTo>
                  <a:lnTo>
                    <a:pt x="119" y="77"/>
                  </a:lnTo>
                  <a:lnTo>
                    <a:pt x="137" y="85"/>
                  </a:lnTo>
                  <a:lnTo>
                    <a:pt x="139" y="102"/>
                  </a:lnTo>
                  <a:lnTo>
                    <a:pt x="152" y="104"/>
                  </a:lnTo>
                  <a:lnTo>
                    <a:pt x="164" y="102"/>
                  </a:lnTo>
                  <a:lnTo>
                    <a:pt x="167" y="117"/>
                  </a:lnTo>
                  <a:lnTo>
                    <a:pt x="162" y="134"/>
                  </a:lnTo>
                  <a:lnTo>
                    <a:pt x="172" y="139"/>
                  </a:lnTo>
                  <a:lnTo>
                    <a:pt x="174" y="154"/>
                  </a:lnTo>
                  <a:lnTo>
                    <a:pt x="159" y="159"/>
                  </a:lnTo>
                  <a:lnTo>
                    <a:pt x="149" y="162"/>
                  </a:lnTo>
                  <a:lnTo>
                    <a:pt x="147" y="189"/>
                  </a:lnTo>
                  <a:lnTo>
                    <a:pt x="134" y="1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77"/>
            <p:cNvSpPr>
              <a:spLocks/>
            </p:cNvSpPr>
            <p:nvPr/>
          </p:nvSpPr>
          <p:spPr bwMode="auto">
            <a:xfrm>
              <a:off x="4257449" y="4080169"/>
              <a:ext cx="43177" cy="120896"/>
            </a:xfrm>
            <a:custGeom>
              <a:avLst/>
              <a:gdLst>
                <a:gd name="T0" fmla="*/ 18 w 30"/>
                <a:gd name="T1" fmla="*/ 84 h 84"/>
                <a:gd name="T2" fmla="*/ 13 w 30"/>
                <a:gd name="T3" fmla="*/ 62 h 84"/>
                <a:gd name="T4" fmla="*/ 10 w 30"/>
                <a:gd name="T5" fmla="*/ 37 h 84"/>
                <a:gd name="T6" fmla="*/ 10 w 30"/>
                <a:gd name="T7" fmla="*/ 22 h 84"/>
                <a:gd name="T8" fmla="*/ 3 w 30"/>
                <a:gd name="T9" fmla="*/ 17 h 84"/>
                <a:gd name="T10" fmla="*/ 0 w 30"/>
                <a:gd name="T11" fmla="*/ 0 h 84"/>
                <a:gd name="T12" fmla="*/ 10 w 30"/>
                <a:gd name="T13" fmla="*/ 0 h 84"/>
                <a:gd name="T14" fmla="*/ 18 w 30"/>
                <a:gd name="T15" fmla="*/ 12 h 84"/>
                <a:gd name="T16" fmla="*/ 23 w 30"/>
                <a:gd name="T17" fmla="*/ 35 h 84"/>
                <a:gd name="T18" fmla="*/ 23 w 30"/>
                <a:gd name="T19" fmla="*/ 59 h 84"/>
                <a:gd name="T20" fmla="*/ 30 w 30"/>
                <a:gd name="T21" fmla="*/ 82 h 84"/>
                <a:gd name="T22" fmla="*/ 18 w 30"/>
                <a:gd name="T2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84">
                  <a:moveTo>
                    <a:pt x="18" y="84"/>
                  </a:moveTo>
                  <a:lnTo>
                    <a:pt x="13" y="62"/>
                  </a:lnTo>
                  <a:lnTo>
                    <a:pt x="10" y="37"/>
                  </a:lnTo>
                  <a:lnTo>
                    <a:pt x="10" y="22"/>
                  </a:lnTo>
                  <a:lnTo>
                    <a:pt x="3" y="1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8" y="12"/>
                  </a:lnTo>
                  <a:lnTo>
                    <a:pt x="23" y="35"/>
                  </a:lnTo>
                  <a:lnTo>
                    <a:pt x="23" y="59"/>
                  </a:lnTo>
                  <a:lnTo>
                    <a:pt x="30" y="82"/>
                  </a:lnTo>
                  <a:lnTo>
                    <a:pt x="18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178"/>
            <p:cNvSpPr>
              <a:spLocks/>
            </p:cNvSpPr>
            <p:nvPr/>
          </p:nvSpPr>
          <p:spPr bwMode="auto">
            <a:xfrm>
              <a:off x="3985433" y="4133421"/>
              <a:ext cx="115139" cy="132410"/>
            </a:xfrm>
            <a:custGeom>
              <a:avLst/>
              <a:gdLst>
                <a:gd name="T0" fmla="*/ 0 w 80"/>
                <a:gd name="T1" fmla="*/ 32 h 92"/>
                <a:gd name="T2" fmla="*/ 18 w 80"/>
                <a:gd name="T3" fmla="*/ 0 h 92"/>
                <a:gd name="T4" fmla="*/ 28 w 80"/>
                <a:gd name="T5" fmla="*/ 22 h 92"/>
                <a:gd name="T6" fmla="*/ 43 w 80"/>
                <a:gd name="T7" fmla="*/ 27 h 92"/>
                <a:gd name="T8" fmla="*/ 48 w 80"/>
                <a:gd name="T9" fmla="*/ 42 h 92"/>
                <a:gd name="T10" fmla="*/ 58 w 80"/>
                <a:gd name="T11" fmla="*/ 45 h 92"/>
                <a:gd name="T12" fmla="*/ 60 w 80"/>
                <a:gd name="T13" fmla="*/ 67 h 92"/>
                <a:gd name="T14" fmla="*/ 80 w 80"/>
                <a:gd name="T15" fmla="*/ 75 h 92"/>
                <a:gd name="T16" fmla="*/ 77 w 80"/>
                <a:gd name="T17" fmla="*/ 85 h 92"/>
                <a:gd name="T18" fmla="*/ 65 w 80"/>
                <a:gd name="T19" fmla="*/ 92 h 92"/>
                <a:gd name="T20" fmla="*/ 45 w 80"/>
                <a:gd name="T21" fmla="*/ 85 h 92"/>
                <a:gd name="T22" fmla="*/ 0 w 80"/>
                <a:gd name="T23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2">
                  <a:moveTo>
                    <a:pt x="0" y="32"/>
                  </a:moveTo>
                  <a:lnTo>
                    <a:pt x="18" y="0"/>
                  </a:lnTo>
                  <a:lnTo>
                    <a:pt x="28" y="22"/>
                  </a:lnTo>
                  <a:lnTo>
                    <a:pt x="43" y="27"/>
                  </a:lnTo>
                  <a:lnTo>
                    <a:pt x="48" y="42"/>
                  </a:lnTo>
                  <a:lnTo>
                    <a:pt x="58" y="45"/>
                  </a:lnTo>
                  <a:lnTo>
                    <a:pt x="60" y="67"/>
                  </a:lnTo>
                  <a:lnTo>
                    <a:pt x="80" y="75"/>
                  </a:lnTo>
                  <a:lnTo>
                    <a:pt x="77" y="85"/>
                  </a:lnTo>
                  <a:lnTo>
                    <a:pt x="65" y="92"/>
                  </a:lnTo>
                  <a:lnTo>
                    <a:pt x="45" y="85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79"/>
            <p:cNvSpPr>
              <a:spLocks/>
            </p:cNvSpPr>
            <p:nvPr/>
          </p:nvSpPr>
          <p:spPr bwMode="auto">
            <a:xfrm>
              <a:off x="2161923" y="3707407"/>
              <a:ext cx="260501" cy="115139"/>
            </a:xfrm>
            <a:custGeom>
              <a:avLst/>
              <a:gdLst>
                <a:gd name="T0" fmla="*/ 0 w 181"/>
                <a:gd name="T1" fmla="*/ 23 h 80"/>
                <a:gd name="T2" fmla="*/ 17 w 181"/>
                <a:gd name="T3" fmla="*/ 8 h 80"/>
                <a:gd name="T4" fmla="*/ 32 w 181"/>
                <a:gd name="T5" fmla="*/ 0 h 80"/>
                <a:gd name="T6" fmla="*/ 57 w 181"/>
                <a:gd name="T7" fmla="*/ 5 h 80"/>
                <a:gd name="T8" fmla="*/ 92 w 181"/>
                <a:gd name="T9" fmla="*/ 13 h 80"/>
                <a:gd name="T10" fmla="*/ 121 w 181"/>
                <a:gd name="T11" fmla="*/ 28 h 80"/>
                <a:gd name="T12" fmla="*/ 174 w 181"/>
                <a:gd name="T13" fmla="*/ 52 h 80"/>
                <a:gd name="T14" fmla="*/ 181 w 181"/>
                <a:gd name="T15" fmla="*/ 65 h 80"/>
                <a:gd name="T16" fmla="*/ 156 w 181"/>
                <a:gd name="T17" fmla="*/ 80 h 80"/>
                <a:gd name="T18" fmla="*/ 119 w 181"/>
                <a:gd name="T19" fmla="*/ 75 h 80"/>
                <a:gd name="T20" fmla="*/ 121 w 181"/>
                <a:gd name="T21" fmla="*/ 57 h 80"/>
                <a:gd name="T22" fmla="*/ 109 w 181"/>
                <a:gd name="T23" fmla="*/ 45 h 80"/>
                <a:gd name="T24" fmla="*/ 84 w 181"/>
                <a:gd name="T25" fmla="*/ 25 h 80"/>
                <a:gd name="T26" fmla="*/ 72 w 181"/>
                <a:gd name="T27" fmla="*/ 20 h 80"/>
                <a:gd name="T28" fmla="*/ 19 w 181"/>
                <a:gd name="T29" fmla="*/ 18 h 80"/>
                <a:gd name="T30" fmla="*/ 0 w 181"/>
                <a:gd name="T31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1" h="80">
                  <a:moveTo>
                    <a:pt x="0" y="23"/>
                  </a:moveTo>
                  <a:lnTo>
                    <a:pt x="17" y="8"/>
                  </a:lnTo>
                  <a:lnTo>
                    <a:pt x="32" y="0"/>
                  </a:lnTo>
                  <a:lnTo>
                    <a:pt x="57" y="5"/>
                  </a:lnTo>
                  <a:lnTo>
                    <a:pt x="92" y="13"/>
                  </a:lnTo>
                  <a:lnTo>
                    <a:pt x="121" y="28"/>
                  </a:lnTo>
                  <a:lnTo>
                    <a:pt x="174" y="52"/>
                  </a:lnTo>
                  <a:lnTo>
                    <a:pt x="181" y="65"/>
                  </a:lnTo>
                  <a:lnTo>
                    <a:pt x="156" y="80"/>
                  </a:lnTo>
                  <a:lnTo>
                    <a:pt x="119" y="75"/>
                  </a:lnTo>
                  <a:lnTo>
                    <a:pt x="121" y="57"/>
                  </a:lnTo>
                  <a:lnTo>
                    <a:pt x="109" y="45"/>
                  </a:lnTo>
                  <a:lnTo>
                    <a:pt x="84" y="25"/>
                  </a:lnTo>
                  <a:lnTo>
                    <a:pt x="72" y="20"/>
                  </a:lnTo>
                  <a:lnTo>
                    <a:pt x="19" y="18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180"/>
            <p:cNvSpPr>
              <a:spLocks/>
            </p:cNvSpPr>
            <p:nvPr/>
          </p:nvSpPr>
          <p:spPr bwMode="auto">
            <a:xfrm>
              <a:off x="5099402" y="4663059"/>
              <a:ext cx="82037" cy="197175"/>
            </a:xfrm>
            <a:custGeom>
              <a:avLst/>
              <a:gdLst>
                <a:gd name="T0" fmla="*/ 0 w 57"/>
                <a:gd name="T1" fmla="*/ 87 h 137"/>
                <a:gd name="T2" fmla="*/ 2 w 57"/>
                <a:gd name="T3" fmla="*/ 55 h 137"/>
                <a:gd name="T4" fmla="*/ 12 w 57"/>
                <a:gd name="T5" fmla="*/ 47 h 137"/>
                <a:gd name="T6" fmla="*/ 7 w 57"/>
                <a:gd name="T7" fmla="*/ 25 h 137"/>
                <a:gd name="T8" fmla="*/ 9 w 57"/>
                <a:gd name="T9" fmla="*/ 0 h 137"/>
                <a:gd name="T10" fmla="*/ 17 w 57"/>
                <a:gd name="T11" fmla="*/ 5 h 137"/>
                <a:gd name="T12" fmla="*/ 32 w 57"/>
                <a:gd name="T13" fmla="*/ 12 h 137"/>
                <a:gd name="T14" fmla="*/ 34 w 57"/>
                <a:gd name="T15" fmla="*/ 30 h 137"/>
                <a:gd name="T16" fmla="*/ 32 w 57"/>
                <a:gd name="T17" fmla="*/ 47 h 137"/>
                <a:gd name="T18" fmla="*/ 29 w 57"/>
                <a:gd name="T19" fmla="*/ 60 h 137"/>
                <a:gd name="T20" fmla="*/ 37 w 57"/>
                <a:gd name="T21" fmla="*/ 69 h 137"/>
                <a:gd name="T22" fmla="*/ 42 w 57"/>
                <a:gd name="T23" fmla="*/ 74 h 137"/>
                <a:gd name="T24" fmla="*/ 49 w 57"/>
                <a:gd name="T25" fmla="*/ 84 h 137"/>
                <a:gd name="T26" fmla="*/ 54 w 57"/>
                <a:gd name="T27" fmla="*/ 97 h 137"/>
                <a:gd name="T28" fmla="*/ 57 w 57"/>
                <a:gd name="T29" fmla="*/ 114 h 137"/>
                <a:gd name="T30" fmla="*/ 44 w 57"/>
                <a:gd name="T31" fmla="*/ 122 h 137"/>
                <a:gd name="T32" fmla="*/ 39 w 57"/>
                <a:gd name="T33" fmla="*/ 134 h 137"/>
                <a:gd name="T34" fmla="*/ 27 w 57"/>
                <a:gd name="T35" fmla="*/ 137 h 137"/>
                <a:gd name="T36" fmla="*/ 19 w 57"/>
                <a:gd name="T37" fmla="*/ 129 h 137"/>
                <a:gd name="T38" fmla="*/ 24 w 57"/>
                <a:gd name="T39" fmla="*/ 112 h 137"/>
                <a:gd name="T40" fmla="*/ 27 w 57"/>
                <a:gd name="T41" fmla="*/ 97 h 137"/>
                <a:gd name="T42" fmla="*/ 12 w 57"/>
                <a:gd name="T43" fmla="*/ 94 h 137"/>
                <a:gd name="T44" fmla="*/ 0 w 57"/>
                <a:gd name="T45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137">
                  <a:moveTo>
                    <a:pt x="0" y="87"/>
                  </a:moveTo>
                  <a:lnTo>
                    <a:pt x="2" y="55"/>
                  </a:lnTo>
                  <a:lnTo>
                    <a:pt x="12" y="47"/>
                  </a:lnTo>
                  <a:lnTo>
                    <a:pt x="7" y="25"/>
                  </a:lnTo>
                  <a:lnTo>
                    <a:pt x="9" y="0"/>
                  </a:lnTo>
                  <a:lnTo>
                    <a:pt x="17" y="5"/>
                  </a:lnTo>
                  <a:lnTo>
                    <a:pt x="32" y="12"/>
                  </a:lnTo>
                  <a:lnTo>
                    <a:pt x="34" y="30"/>
                  </a:lnTo>
                  <a:lnTo>
                    <a:pt x="32" y="47"/>
                  </a:lnTo>
                  <a:lnTo>
                    <a:pt x="29" y="60"/>
                  </a:lnTo>
                  <a:lnTo>
                    <a:pt x="37" y="69"/>
                  </a:lnTo>
                  <a:lnTo>
                    <a:pt x="42" y="74"/>
                  </a:lnTo>
                  <a:lnTo>
                    <a:pt x="49" y="84"/>
                  </a:lnTo>
                  <a:lnTo>
                    <a:pt x="54" y="97"/>
                  </a:lnTo>
                  <a:lnTo>
                    <a:pt x="57" y="114"/>
                  </a:lnTo>
                  <a:lnTo>
                    <a:pt x="44" y="122"/>
                  </a:lnTo>
                  <a:lnTo>
                    <a:pt x="39" y="134"/>
                  </a:lnTo>
                  <a:lnTo>
                    <a:pt x="27" y="137"/>
                  </a:lnTo>
                  <a:lnTo>
                    <a:pt x="19" y="129"/>
                  </a:lnTo>
                  <a:lnTo>
                    <a:pt x="24" y="112"/>
                  </a:lnTo>
                  <a:lnTo>
                    <a:pt x="27" y="97"/>
                  </a:lnTo>
                  <a:lnTo>
                    <a:pt x="12" y="94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181"/>
            <p:cNvSpPr>
              <a:spLocks/>
            </p:cNvSpPr>
            <p:nvPr/>
          </p:nvSpPr>
          <p:spPr bwMode="auto">
            <a:xfrm>
              <a:off x="4916619" y="4824254"/>
              <a:ext cx="185661" cy="221642"/>
            </a:xfrm>
            <a:custGeom>
              <a:avLst/>
              <a:gdLst>
                <a:gd name="T0" fmla="*/ 79 w 129"/>
                <a:gd name="T1" fmla="*/ 0 h 154"/>
                <a:gd name="T2" fmla="*/ 72 w 129"/>
                <a:gd name="T3" fmla="*/ 10 h 154"/>
                <a:gd name="T4" fmla="*/ 57 w 129"/>
                <a:gd name="T5" fmla="*/ 12 h 154"/>
                <a:gd name="T6" fmla="*/ 54 w 129"/>
                <a:gd name="T7" fmla="*/ 25 h 154"/>
                <a:gd name="T8" fmla="*/ 47 w 129"/>
                <a:gd name="T9" fmla="*/ 30 h 154"/>
                <a:gd name="T10" fmla="*/ 37 w 129"/>
                <a:gd name="T11" fmla="*/ 32 h 154"/>
                <a:gd name="T12" fmla="*/ 35 w 129"/>
                <a:gd name="T13" fmla="*/ 44 h 154"/>
                <a:gd name="T14" fmla="*/ 25 w 129"/>
                <a:gd name="T15" fmla="*/ 49 h 154"/>
                <a:gd name="T16" fmla="*/ 10 w 129"/>
                <a:gd name="T17" fmla="*/ 49 h 154"/>
                <a:gd name="T18" fmla="*/ 0 w 129"/>
                <a:gd name="T19" fmla="*/ 52 h 154"/>
                <a:gd name="T20" fmla="*/ 7 w 129"/>
                <a:gd name="T21" fmla="*/ 79 h 154"/>
                <a:gd name="T22" fmla="*/ 7 w 129"/>
                <a:gd name="T23" fmla="*/ 92 h 154"/>
                <a:gd name="T24" fmla="*/ 17 w 129"/>
                <a:gd name="T25" fmla="*/ 97 h 154"/>
                <a:gd name="T26" fmla="*/ 22 w 129"/>
                <a:gd name="T27" fmla="*/ 112 h 154"/>
                <a:gd name="T28" fmla="*/ 32 w 129"/>
                <a:gd name="T29" fmla="*/ 114 h 154"/>
                <a:gd name="T30" fmla="*/ 37 w 129"/>
                <a:gd name="T31" fmla="*/ 131 h 154"/>
                <a:gd name="T32" fmla="*/ 45 w 129"/>
                <a:gd name="T33" fmla="*/ 134 h 154"/>
                <a:gd name="T34" fmla="*/ 62 w 129"/>
                <a:gd name="T35" fmla="*/ 141 h 154"/>
                <a:gd name="T36" fmla="*/ 74 w 129"/>
                <a:gd name="T37" fmla="*/ 146 h 154"/>
                <a:gd name="T38" fmla="*/ 79 w 129"/>
                <a:gd name="T39" fmla="*/ 154 h 154"/>
                <a:gd name="T40" fmla="*/ 99 w 129"/>
                <a:gd name="T41" fmla="*/ 154 h 154"/>
                <a:gd name="T42" fmla="*/ 102 w 129"/>
                <a:gd name="T43" fmla="*/ 139 h 154"/>
                <a:gd name="T44" fmla="*/ 112 w 129"/>
                <a:gd name="T45" fmla="*/ 134 h 154"/>
                <a:gd name="T46" fmla="*/ 112 w 129"/>
                <a:gd name="T47" fmla="*/ 109 h 154"/>
                <a:gd name="T48" fmla="*/ 124 w 129"/>
                <a:gd name="T49" fmla="*/ 102 h 154"/>
                <a:gd name="T50" fmla="*/ 129 w 129"/>
                <a:gd name="T51" fmla="*/ 92 h 154"/>
                <a:gd name="T52" fmla="*/ 124 w 129"/>
                <a:gd name="T53" fmla="*/ 77 h 154"/>
                <a:gd name="T54" fmla="*/ 122 w 129"/>
                <a:gd name="T55" fmla="*/ 62 h 154"/>
                <a:gd name="T56" fmla="*/ 129 w 129"/>
                <a:gd name="T57" fmla="*/ 40 h 154"/>
                <a:gd name="T58" fmla="*/ 119 w 129"/>
                <a:gd name="T59" fmla="*/ 20 h 154"/>
                <a:gd name="T60" fmla="*/ 94 w 129"/>
                <a:gd name="T61" fmla="*/ 17 h 154"/>
                <a:gd name="T62" fmla="*/ 87 w 129"/>
                <a:gd name="T63" fmla="*/ 2 h 154"/>
                <a:gd name="T64" fmla="*/ 79 w 129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9" h="154">
                  <a:moveTo>
                    <a:pt x="79" y="0"/>
                  </a:moveTo>
                  <a:lnTo>
                    <a:pt x="72" y="10"/>
                  </a:lnTo>
                  <a:lnTo>
                    <a:pt x="57" y="12"/>
                  </a:lnTo>
                  <a:lnTo>
                    <a:pt x="54" y="25"/>
                  </a:lnTo>
                  <a:lnTo>
                    <a:pt x="47" y="30"/>
                  </a:lnTo>
                  <a:lnTo>
                    <a:pt x="37" y="32"/>
                  </a:lnTo>
                  <a:lnTo>
                    <a:pt x="35" y="44"/>
                  </a:lnTo>
                  <a:lnTo>
                    <a:pt x="25" y="49"/>
                  </a:lnTo>
                  <a:lnTo>
                    <a:pt x="10" y="49"/>
                  </a:lnTo>
                  <a:lnTo>
                    <a:pt x="0" y="52"/>
                  </a:lnTo>
                  <a:lnTo>
                    <a:pt x="7" y="79"/>
                  </a:lnTo>
                  <a:lnTo>
                    <a:pt x="7" y="92"/>
                  </a:lnTo>
                  <a:lnTo>
                    <a:pt x="17" y="97"/>
                  </a:lnTo>
                  <a:lnTo>
                    <a:pt x="22" y="112"/>
                  </a:lnTo>
                  <a:lnTo>
                    <a:pt x="32" y="114"/>
                  </a:lnTo>
                  <a:lnTo>
                    <a:pt x="37" y="131"/>
                  </a:lnTo>
                  <a:lnTo>
                    <a:pt x="45" y="134"/>
                  </a:lnTo>
                  <a:lnTo>
                    <a:pt x="62" y="141"/>
                  </a:lnTo>
                  <a:lnTo>
                    <a:pt x="74" y="146"/>
                  </a:lnTo>
                  <a:lnTo>
                    <a:pt x="79" y="154"/>
                  </a:lnTo>
                  <a:lnTo>
                    <a:pt x="99" y="154"/>
                  </a:lnTo>
                  <a:lnTo>
                    <a:pt x="102" y="139"/>
                  </a:lnTo>
                  <a:lnTo>
                    <a:pt x="112" y="134"/>
                  </a:lnTo>
                  <a:lnTo>
                    <a:pt x="112" y="109"/>
                  </a:lnTo>
                  <a:lnTo>
                    <a:pt x="124" y="102"/>
                  </a:lnTo>
                  <a:lnTo>
                    <a:pt x="129" y="92"/>
                  </a:lnTo>
                  <a:lnTo>
                    <a:pt x="124" y="77"/>
                  </a:lnTo>
                  <a:lnTo>
                    <a:pt x="122" y="62"/>
                  </a:lnTo>
                  <a:lnTo>
                    <a:pt x="129" y="40"/>
                  </a:lnTo>
                  <a:lnTo>
                    <a:pt x="119" y="20"/>
                  </a:lnTo>
                  <a:lnTo>
                    <a:pt x="94" y="17"/>
                  </a:lnTo>
                  <a:lnTo>
                    <a:pt x="8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182"/>
            <p:cNvSpPr>
              <a:spLocks/>
            </p:cNvSpPr>
            <p:nvPr/>
          </p:nvSpPr>
          <p:spPr bwMode="auto">
            <a:xfrm>
              <a:off x="3860220" y="3546213"/>
              <a:ext cx="264819" cy="404425"/>
            </a:xfrm>
            <a:custGeom>
              <a:avLst/>
              <a:gdLst>
                <a:gd name="T0" fmla="*/ 137 w 184"/>
                <a:gd name="T1" fmla="*/ 0 h 281"/>
                <a:gd name="T2" fmla="*/ 132 w 184"/>
                <a:gd name="T3" fmla="*/ 25 h 281"/>
                <a:gd name="T4" fmla="*/ 122 w 184"/>
                <a:gd name="T5" fmla="*/ 35 h 281"/>
                <a:gd name="T6" fmla="*/ 80 w 184"/>
                <a:gd name="T7" fmla="*/ 40 h 281"/>
                <a:gd name="T8" fmla="*/ 80 w 184"/>
                <a:gd name="T9" fmla="*/ 100 h 281"/>
                <a:gd name="T10" fmla="*/ 65 w 184"/>
                <a:gd name="T11" fmla="*/ 95 h 281"/>
                <a:gd name="T12" fmla="*/ 55 w 184"/>
                <a:gd name="T13" fmla="*/ 105 h 281"/>
                <a:gd name="T14" fmla="*/ 50 w 184"/>
                <a:gd name="T15" fmla="*/ 120 h 281"/>
                <a:gd name="T16" fmla="*/ 48 w 184"/>
                <a:gd name="T17" fmla="*/ 145 h 281"/>
                <a:gd name="T18" fmla="*/ 33 w 184"/>
                <a:gd name="T19" fmla="*/ 145 h 281"/>
                <a:gd name="T20" fmla="*/ 8 w 184"/>
                <a:gd name="T21" fmla="*/ 142 h 281"/>
                <a:gd name="T22" fmla="*/ 0 w 184"/>
                <a:gd name="T23" fmla="*/ 140 h 281"/>
                <a:gd name="T24" fmla="*/ 0 w 184"/>
                <a:gd name="T25" fmla="*/ 194 h 281"/>
                <a:gd name="T26" fmla="*/ 5 w 184"/>
                <a:gd name="T27" fmla="*/ 199 h 281"/>
                <a:gd name="T28" fmla="*/ 5 w 184"/>
                <a:gd name="T29" fmla="*/ 241 h 281"/>
                <a:gd name="T30" fmla="*/ 20 w 184"/>
                <a:gd name="T31" fmla="*/ 239 h 281"/>
                <a:gd name="T32" fmla="*/ 28 w 184"/>
                <a:gd name="T33" fmla="*/ 249 h 281"/>
                <a:gd name="T34" fmla="*/ 40 w 184"/>
                <a:gd name="T35" fmla="*/ 254 h 281"/>
                <a:gd name="T36" fmla="*/ 55 w 184"/>
                <a:gd name="T37" fmla="*/ 274 h 281"/>
                <a:gd name="T38" fmla="*/ 68 w 184"/>
                <a:gd name="T39" fmla="*/ 281 h 281"/>
                <a:gd name="T40" fmla="*/ 85 w 184"/>
                <a:gd name="T41" fmla="*/ 259 h 281"/>
                <a:gd name="T42" fmla="*/ 100 w 184"/>
                <a:gd name="T43" fmla="*/ 266 h 281"/>
                <a:gd name="T44" fmla="*/ 162 w 184"/>
                <a:gd name="T45" fmla="*/ 271 h 281"/>
                <a:gd name="T46" fmla="*/ 184 w 184"/>
                <a:gd name="T47" fmla="*/ 269 h 281"/>
                <a:gd name="T48" fmla="*/ 184 w 184"/>
                <a:gd name="T49" fmla="*/ 246 h 281"/>
                <a:gd name="T50" fmla="*/ 169 w 184"/>
                <a:gd name="T51" fmla="*/ 241 h 281"/>
                <a:gd name="T52" fmla="*/ 172 w 184"/>
                <a:gd name="T53" fmla="*/ 105 h 281"/>
                <a:gd name="T54" fmla="*/ 162 w 184"/>
                <a:gd name="T55" fmla="*/ 92 h 281"/>
                <a:gd name="T56" fmla="*/ 162 w 184"/>
                <a:gd name="T57" fmla="*/ 65 h 281"/>
                <a:gd name="T58" fmla="*/ 174 w 184"/>
                <a:gd name="T59" fmla="*/ 62 h 281"/>
                <a:gd name="T60" fmla="*/ 174 w 184"/>
                <a:gd name="T61" fmla="*/ 45 h 281"/>
                <a:gd name="T62" fmla="*/ 137 w 184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281">
                  <a:moveTo>
                    <a:pt x="137" y="0"/>
                  </a:moveTo>
                  <a:lnTo>
                    <a:pt x="132" y="25"/>
                  </a:lnTo>
                  <a:lnTo>
                    <a:pt x="122" y="35"/>
                  </a:lnTo>
                  <a:lnTo>
                    <a:pt x="80" y="40"/>
                  </a:lnTo>
                  <a:lnTo>
                    <a:pt x="80" y="100"/>
                  </a:lnTo>
                  <a:lnTo>
                    <a:pt x="65" y="95"/>
                  </a:lnTo>
                  <a:lnTo>
                    <a:pt x="55" y="105"/>
                  </a:lnTo>
                  <a:lnTo>
                    <a:pt x="50" y="120"/>
                  </a:lnTo>
                  <a:lnTo>
                    <a:pt x="48" y="145"/>
                  </a:lnTo>
                  <a:lnTo>
                    <a:pt x="33" y="145"/>
                  </a:lnTo>
                  <a:lnTo>
                    <a:pt x="8" y="142"/>
                  </a:lnTo>
                  <a:lnTo>
                    <a:pt x="0" y="140"/>
                  </a:lnTo>
                  <a:lnTo>
                    <a:pt x="0" y="194"/>
                  </a:lnTo>
                  <a:lnTo>
                    <a:pt x="5" y="199"/>
                  </a:lnTo>
                  <a:lnTo>
                    <a:pt x="5" y="241"/>
                  </a:lnTo>
                  <a:lnTo>
                    <a:pt x="20" y="239"/>
                  </a:lnTo>
                  <a:lnTo>
                    <a:pt x="28" y="249"/>
                  </a:lnTo>
                  <a:lnTo>
                    <a:pt x="40" y="254"/>
                  </a:lnTo>
                  <a:lnTo>
                    <a:pt x="55" y="274"/>
                  </a:lnTo>
                  <a:lnTo>
                    <a:pt x="68" y="281"/>
                  </a:lnTo>
                  <a:lnTo>
                    <a:pt x="85" y="259"/>
                  </a:lnTo>
                  <a:lnTo>
                    <a:pt x="100" y="266"/>
                  </a:lnTo>
                  <a:lnTo>
                    <a:pt x="162" y="271"/>
                  </a:lnTo>
                  <a:lnTo>
                    <a:pt x="184" y="269"/>
                  </a:lnTo>
                  <a:lnTo>
                    <a:pt x="184" y="246"/>
                  </a:lnTo>
                  <a:lnTo>
                    <a:pt x="169" y="241"/>
                  </a:lnTo>
                  <a:lnTo>
                    <a:pt x="172" y="105"/>
                  </a:lnTo>
                  <a:lnTo>
                    <a:pt x="162" y="92"/>
                  </a:lnTo>
                  <a:lnTo>
                    <a:pt x="162" y="65"/>
                  </a:lnTo>
                  <a:lnTo>
                    <a:pt x="174" y="62"/>
                  </a:lnTo>
                  <a:lnTo>
                    <a:pt x="174" y="45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83"/>
            <p:cNvSpPr>
              <a:spLocks/>
            </p:cNvSpPr>
            <p:nvPr/>
          </p:nvSpPr>
          <p:spPr bwMode="auto">
            <a:xfrm>
              <a:off x="4558249" y="4265830"/>
              <a:ext cx="178465" cy="253305"/>
            </a:xfrm>
            <a:custGeom>
              <a:avLst/>
              <a:gdLst>
                <a:gd name="T0" fmla="*/ 0 w 124"/>
                <a:gd name="T1" fmla="*/ 164 h 176"/>
                <a:gd name="T2" fmla="*/ 5 w 124"/>
                <a:gd name="T3" fmla="*/ 154 h 176"/>
                <a:gd name="T4" fmla="*/ 13 w 124"/>
                <a:gd name="T5" fmla="*/ 139 h 176"/>
                <a:gd name="T6" fmla="*/ 3 w 124"/>
                <a:gd name="T7" fmla="*/ 134 h 176"/>
                <a:gd name="T8" fmla="*/ 3 w 124"/>
                <a:gd name="T9" fmla="*/ 124 h 176"/>
                <a:gd name="T10" fmla="*/ 15 w 124"/>
                <a:gd name="T11" fmla="*/ 119 h 176"/>
                <a:gd name="T12" fmla="*/ 23 w 124"/>
                <a:gd name="T13" fmla="*/ 117 h 176"/>
                <a:gd name="T14" fmla="*/ 32 w 124"/>
                <a:gd name="T15" fmla="*/ 129 h 176"/>
                <a:gd name="T16" fmla="*/ 47 w 124"/>
                <a:gd name="T17" fmla="*/ 122 h 176"/>
                <a:gd name="T18" fmla="*/ 60 w 124"/>
                <a:gd name="T19" fmla="*/ 104 h 176"/>
                <a:gd name="T20" fmla="*/ 55 w 124"/>
                <a:gd name="T21" fmla="*/ 89 h 176"/>
                <a:gd name="T22" fmla="*/ 47 w 124"/>
                <a:gd name="T23" fmla="*/ 80 h 176"/>
                <a:gd name="T24" fmla="*/ 42 w 124"/>
                <a:gd name="T25" fmla="*/ 67 h 176"/>
                <a:gd name="T26" fmla="*/ 45 w 124"/>
                <a:gd name="T27" fmla="*/ 57 h 176"/>
                <a:gd name="T28" fmla="*/ 42 w 124"/>
                <a:gd name="T29" fmla="*/ 47 h 176"/>
                <a:gd name="T30" fmla="*/ 30 w 124"/>
                <a:gd name="T31" fmla="*/ 47 h 176"/>
                <a:gd name="T32" fmla="*/ 30 w 124"/>
                <a:gd name="T33" fmla="*/ 30 h 176"/>
                <a:gd name="T34" fmla="*/ 85 w 124"/>
                <a:gd name="T35" fmla="*/ 22 h 176"/>
                <a:gd name="T36" fmla="*/ 92 w 124"/>
                <a:gd name="T37" fmla="*/ 12 h 176"/>
                <a:gd name="T38" fmla="*/ 102 w 124"/>
                <a:gd name="T39" fmla="*/ 2 h 176"/>
                <a:gd name="T40" fmla="*/ 115 w 124"/>
                <a:gd name="T41" fmla="*/ 0 h 176"/>
                <a:gd name="T42" fmla="*/ 124 w 124"/>
                <a:gd name="T43" fmla="*/ 5 h 176"/>
                <a:gd name="T44" fmla="*/ 122 w 124"/>
                <a:gd name="T45" fmla="*/ 27 h 176"/>
                <a:gd name="T46" fmla="*/ 117 w 124"/>
                <a:gd name="T47" fmla="*/ 32 h 176"/>
                <a:gd name="T48" fmla="*/ 115 w 124"/>
                <a:gd name="T49" fmla="*/ 87 h 176"/>
                <a:gd name="T50" fmla="*/ 110 w 124"/>
                <a:gd name="T51" fmla="*/ 94 h 176"/>
                <a:gd name="T52" fmla="*/ 102 w 124"/>
                <a:gd name="T53" fmla="*/ 102 h 176"/>
                <a:gd name="T54" fmla="*/ 102 w 124"/>
                <a:gd name="T55" fmla="*/ 127 h 176"/>
                <a:gd name="T56" fmla="*/ 87 w 124"/>
                <a:gd name="T57" fmla="*/ 129 h 176"/>
                <a:gd name="T58" fmla="*/ 85 w 124"/>
                <a:gd name="T59" fmla="*/ 157 h 176"/>
                <a:gd name="T60" fmla="*/ 67 w 124"/>
                <a:gd name="T61" fmla="*/ 164 h 176"/>
                <a:gd name="T62" fmla="*/ 62 w 124"/>
                <a:gd name="T63" fmla="*/ 171 h 176"/>
                <a:gd name="T64" fmla="*/ 47 w 124"/>
                <a:gd name="T65" fmla="*/ 171 h 176"/>
                <a:gd name="T66" fmla="*/ 40 w 124"/>
                <a:gd name="T67" fmla="*/ 167 h 176"/>
                <a:gd name="T68" fmla="*/ 28 w 124"/>
                <a:gd name="T69" fmla="*/ 171 h 176"/>
                <a:gd name="T70" fmla="*/ 18 w 124"/>
                <a:gd name="T71" fmla="*/ 174 h 176"/>
                <a:gd name="T72" fmla="*/ 10 w 124"/>
                <a:gd name="T73" fmla="*/ 176 h 176"/>
                <a:gd name="T74" fmla="*/ 10 w 124"/>
                <a:gd name="T75" fmla="*/ 169 h 176"/>
                <a:gd name="T76" fmla="*/ 0 w 124"/>
                <a:gd name="T77" fmla="*/ 16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76">
                  <a:moveTo>
                    <a:pt x="0" y="164"/>
                  </a:moveTo>
                  <a:lnTo>
                    <a:pt x="5" y="154"/>
                  </a:lnTo>
                  <a:lnTo>
                    <a:pt x="13" y="139"/>
                  </a:lnTo>
                  <a:lnTo>
                    <a:pt x="3" y="134"/>
                  </a:lnTo>
                  <a:lnTo>
                    <a:pt x="3" y="124"/>
                  </a:lnTo>
                  <a:lnTo>
                    <a:pt x="15" y="119"/>
                  </a:lnTo>
                  <a:lnTo>
                    <a:pt x="23" y="117"/>
                  </a:lnTo>
                  <a:lnTo>
                    <a:pt x="32" y="129"/>
                  </a:lnTo>
                  <a:lnTo>
                    <a:pt x="47" y="122"/>
                  </a:lnTo>
                  <a:lnTo>
                    <a:pt x="60" y="104"/>
                  </a:lnTo>
                  <a:lnTo>
                    <a:pt x="55" y="89"/>
                  </a:lnTo>
                  <a:lnTo>
                    <a:pt x="47" y="80"/>
                  </a:lnTo>
                  <a:lnTo>
                    <a:pt x="42" y="67"/>
                  </a:lnTo>
                  <a:lnTo>
                    <a:pt x="45" y="57"/>
                  </a:lnTo>
                  <a:lnTo>
                    <a:pt x="42" y="47"/>
                  </a:lnTo>
                  <a:lnTo>
                    <a:pt x="30" y="47"/>
                  </a:lnTo>
                  <a:lnTo>
                    <a:pt x="30" y="30"/>
                  </a:lnTo>
                  <a:lnTo>
                    <a:pt x="85" y="22"/>
                  </a:lnTo>
                  <a:lnTo>
                    <a:pt x="92" y="12"/>
                  </a:lnTo>
                  <a:lnTo>
                    <a:pt x="102" y="2"/>
                  </a:lnTo>
                  <a:lnTo>
                    <a:pt x="115" y="0"/>
                  </a:lnTo>
                  <a:lnTo>
                    <a:pt x="124" y="5"/>
                  </a:lnTo>
                  <a:lnTo>
                    <a:pt x="122" y="27"/>
                  </a:lnTo>
                  <a:lnTo>
                    <a:pt x="117" y="32"/>
                  </a:lnTo>
                  <a:lnTo>
                    <a:pt x="115" y="87"/>
                  </a:lnTo>
                  <a:lnTo>
                    <a:pt x="110" y="94"/>
                  </a:lnTo>
                  <a:lnTo>
                    <a:pt x="102" y="102"/>
                  </a:lnTo>
                  <a:lnTo>
                    <a:pt x="102" y="127"/>
                  </a:lnTo>
                  <a:lnTo>
                    <a:pt x="87" y="129"/>
                  </a:lnTo>
                  <a:lnTo>
                    <a:pt x="85" y="157"/>
                  </a:lnTo>
                  <a:lnTo>
                    <a:pt x="67" y="164"/>
                  </a:lnTo>
                  <a:lnTo>
                    <a:pt x="62" y="171"/>
                  </a:lnTo>
                  <a:lnTo>
                    <a:pt x="47" y="171"/>
                  </a:lnTo>
                  <a:lnTo>
                    <a:pt x="40" y="167"/>
                  </a:lnTo>
                  <a:lnTo>
                    <a:pt x="28" y="171"/>
                  </a:lnTo>
                  <a:lnTo>
                    <a:pt x="18" y="174"/>
                  </a:lnTo>
                  <a:lnTo>
                    <a:pt x="10" y="176"/>
                  </a:lnTo>
                  <a:lnTo>
                    <a:pt x="10" y="169"/>
                  </a:lnTo>
                  <a:lnTo>
                    <a:pt x="0" y="16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184"/>
            <p:cNvSpPr>
              <a:spLocks/>
            </p:cNvSpPr>
            <p:nvPr/>
          </p:nvSpPr>
          <p:spPr bwMode="auto">
            <a:xfrm>
              <a:off x="4572642" y="4226971"/>
              <a:ext cx="493658" cy="549788"/>
            </a:xfrm>
            <a:custGeom>
              <a:avLst/>
              <a:gdLst>
                <a:gd name="T0" fmla="*/ 0 w 343"/>
                <a:gd name="T1" fmla="*/ 216 h 382"/>
                <a:gd name="T2" fmla="*/ 8 w 343"/>
                <a:gd name="T3" fmla="*/ 226 h 382"/>
                <a:gd name="T4" fmla="*/ 50 w 343"/>
                <a:gd name="T5" fmla="*/ 221 h 382"/>
                <a:gd name="T6" fmla="*/ 92 w 343"/>
                <a:gd name="T7" fmla="*/ 253 h 382"/>
                <a:gd name="T8" fmla="*/ 100 w 343"/>
                <a:gd name="T9" fmla="*/ 268 h 382"/>
                <a:gd name="T10" fmla="*/ 134 w 343"/>
                <a:gd name="T11" fmla="*/ 248 h 382"/>
                <a:gd name="T12" fmla="*/ 152 w 343"/>
                <a:gd name="T13" fmla="*/ 263 h 382"/>
                <a:gd name="T14" fmla="*/ 172 w 343"/>
                <a:gd name="T15" fmla="*/ 256 h 382"/>
                <a:gd name="T16" fmla="*/ 179 w 343"/>
                <a:gd name="T17" fmla="*/ 305 h 382"/>
                <a:gd name="T18" fmla="*/ 189 w 343"/>
                <a:gd name="T19" fmla="*/ 330 h 382"/>
                <a:gd name="T20" fmla="*/ 229 w 343"/>
                <a:gd name="T21" fmla="*/ 333 h 382"/>
                <a:gd name="T22" fmla="*/ 244 w 343"/>
                <a:gd name="T23" fmla="*/ 353 h 382"/>
                <a:gd name="T24" fmla="*/ 264 w 343"/>
                <a:gd name="T25" fmla="*/ 340 h 382"/>
                <a:gd name="T26" fmla="*/ 279 w 343"/>
                <a:gd name="T27" fmla="*/ 353 h 382"/>
                <a:gd name="T28" fmla="*/ 291 w 343"/>
                <a:gd name="T29" fmla="*/ 382 h 382"/>
                <a:gd name="T30" fmla="*/ 313 w 343"/>
                <a:gd name="T31" fmla="*/ 370 h 382"/>
                <a:gd name="T32" fmla="*/ 298 w 343"/>
                <a:gd name="T33" fmla="*/ 348 h 382"/>
                <a:gd name="T34" fmla="*/ 296 w 343"/>
                <a:gd name="T35" fmla="*/ 285 h 382"/>
                <a:gd name="T36" fmla="*/ 316 w 343"/>
                <a:gd name="T37" fmla="*/ 268 h 382"/>
                <a:gd name="T38" fmla="*/ 321 w 343"/>
                <a:gd name="T39" fmla="*/ 246 h 382"/>
                <a:gd name="T40" fmla="*/ 316 w 343"/>
                <a:gd name="T41" fmla="*/ 223 h 382"/>
                <a:gd name="T42" fmla="*/ 313 w 343"/>
                <a:gd name="T43" fmla="*/ 196 h 382"/>
                <a:gd name="T44" fmla="*/ 303 w 343"/>
                <a:gd name="T45" fmla="*/ 179 h 382"/>
                <a:gd name="T46" fmla="*/ 296 w 343"/>
                <a:gd name="T47" fmla="*/ 161 h 382"/>
                <a:gd name="T48" fmla="*/ 301 w 343"/>
                <a:gd name="T49" fmla="*/ 144 h 382"/>
                <a:gd name="T50" fmla="*/ 308 w 343"/>
                <a:gd name="T51" fmla="*/ 126 h 382"/>
                <a:gd name="T52" fmla="*/ 333 w 343"/>
                <a:gd name="T53" fmla="*/ 77 h 382"/>
                <a:gd name="T54" fmla="*/ 343 w 343"/>
                <a:gd name="T55" fmla="*/ 62 h 382"/>
                <a:gd name="T56" fmla="*/ 333 w 343"/>
                <a:gd name="T57" fmla="*/ 52 h 382"/>
                <a:gd name="T58" fmla="*/ 328 w 343"/>
                <a:gd name="T59" fmla="*/ 27 h 382"/>
                <a:gd name="T60" fmla="*/ 311 w 343"/>
                <a:gd name="T61" fmla="*/ 15 h 382"/>
                <a:gd name="T62" fmla="*/ 264 w 343"/>
                <a:gd name="T63" fmla="*/ 2 h 382"/>
                <a:gd name="T64" fmla="*/ 231 w 343"/>
                <a:gd name="T65" fmla="*/ 5 h 382"/>
                <a:gd name="T66" fmla="*/ 216 w 343"/>
                <a:gd name="T67" fmla="*/ 10 h 382"/>
                <a:gd name="T68" fmla="*/ 177 w 343"/>
                <a:gd name="T69" fmla="*/ 20 h 382"/>
                <a:gd name="T70" fmla="*/ 139 w 343"/>
                <a:gd name="T71" fmla="*/ 12 h 382"/>
                <a:gd name="T72" fmla="*/ 119 w 343"/>
                <a:gd name="T73" fmla="*/ 17 h 382"/>
                <a:gd name="T74" fmla="*/ 105 w 343"/>
                <a:gd name="T75" fmla="*/ 27 h 382"/>
                <a:gd name="T76" fmla="*/ 112 w 343"/>
                <a:gd name="T77" fmla="*/ 54 h 382"/>
                <a:gd name="T78" fmla="*/ 105 w 343"/>
                <a:gd name="T79" fmla="*/ 114 h 382"/>
                <a:gd name="T80" fmla="*/ 92 w 343"/>
                <a:gd name="T81" fmla="*/ 129 h 382"/>
                <a:gd name="T82" fmla="*/ 77 w 343"/>
                <a:gd name="T83" fmla="*/ 156 h 382"/>
                <a:gd name="T84" fmla="*/ 57 w 343"/>
                <a:gd name="T85" fmla="*/ 191 h 382"/>
                <a:gd name="T86" fmla="*/ 37 w 343"/>
                <a:gd name="T87" fmla="*/ 198 h 382"/>
                <a:gd name="T88" fmla="*/ 18 w 343"/>
                <a:gd name="T89" fmla="*/ 198 h 382"/>
                <a:gd name="T90" fmla="*/ 0 w 343"/>
                <a:gd name="T91" fmla="*/ 203 h 382"/>
                <a:gd name="T92" fmla="*/ 8 w 343"/>
                <a:gd name="T93" fmla="*/ 21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3" h="382">
                  <a:moveTo>
                    <a:pt x="8" y="211"/>
                  </a:moveTo>
                  <a:lnTo>
                    <a:pt x="0" y="216"/>
                  </a:lnTo>
                  <a:lnTo>
                    <a:pt x="0" y="223"/>
                  </a:lnTo>
                  <a:lnTo>
                    <a:pt x="8" y="226"/>
                  </a:lnTo>
                  <a:lnTo>
                    <a:pt x="32" y="226"/>
                  </a:lnTo>
                  <a:lnTo>
                    <a:pt x="50" y="221"/>
                  </a:lnTo>
                  <a:lnTo>
                    <a:pt x="85" y="223"/>
                  </a:lnTo>
                  <a:lnTo>
                    <a:pt x="92" y="253"/>
                  </a:lnTo>
                  <a:lnTo>
                    <a:pt x="100" y="258"/>
                  </a:lnTo>
                  <a:lnTo>
                    <a:pt x="100" y="268"/>
                  </a:lnTo>
                  <a:lnTo>
                    <a:pt x="132" y="268"/>
                  </a:lnTo>
                  <a:lnTo>
                    <a:pt x="134" y="248"/>
                  </a:lnTo>
                  <a:lnTo>
                    <a:pt x="142" y="241"/>
                  </a:lnTo>
                  <a:lnTo>
                    <a:pt x="152" y="263"/>
                  </a:lnTo>
                  <a:lnTo>
                    <a:pt x="159" y="258"/>
                  </a:lnTo>
                  <a:lnTo>
                    <a:pt x="172" y="256"/>
                  </a:lnTo>
                  <a:lnTo>
                    <a:pt x="177" y="266"/>
                  </a:lnTo>
                  <a:lnTo>
                    <a:pt x="179" y="305"/>
                  </a:lnTo>
                  <a:lnTo>
                    <a:pt x="179" y="320"/>
                  </a:lnTo>
                  <a:lnTo>
                    <a:pt x="189" y="330"/>
                  </a:lnTo>
                  <a:lnTo>
                    <a:pt x="211" y="330"/>
                  </a:lnTo>
                  <a:lnTo>
                    <a:pt x="229" y="333"/>
                  </a:lnTo>
                  <a:lnTo>
                    <a:pt x="234" y="350"/>
                  </a:lnTo>
                  <a:lnTo>
                    <a:pt x="244" y="353"/>
                  </a:lnTo>
                  <a:lnTo>
                    <a:pt x="249" y="343"/>
                  </a:lnTo>
                  <a:lnTo>
                    <a:pt x="264" y="340"/>
                  </a:lnTo>
                  <a:lnTo>
                    <a:pt x="264" y="345"/>
                  </a:lnTo>
                  <a:lnTo>
                    <a:pt x="279" y="353"/>
                  </a:lnTo>
                  <a:lnTo>
                    <a:pt x="284" y="372"/>
                  </a:lnTo>
                  <a:lnTo>
                    <a:pt x="291" y="382"/>
                  </a:lnTo>
                  <a:lnTo>
                    <a:pt x="308" y="382"/>
                  </a:lnTo>
                  <a:lnTo>
                    <a:pt x="313" y="370"/>
                  </a:lnTo>
                  <a:lnTo>
                    <a:pt x="311" y="348"/>
                  </a:lnTo>
                  <a:lnTo>
                    <a:pt x="298" y="348"/>
                  </a:lnTo>
                  <a:lnTo>
                    <a:pt x="291" y="340"/>
                  </a:lnTo>
                  <a:lnTo>
                    <a:pt x="296" y="285"/>
                  </a:lnTo>
                  <a:lnTo>
                    <a:pt x="303" y="273"/>
                  </a:lnTo>
                  <a:lnTo>
                    <a:pt x="316" y="268"/>
                  </a:lnTo>
                  <a:lnTo>
                    <a:pt x="321" y="256"/>
                  </a:lnTo>
                  <a:lnTo>
                    <a:pt x="321" y="246"/>
                  </a:lnTo>
                  <a:lnTo>
                    <a:pt x="321" y="233"/>
                  </a:lnTo>
                  <a:lnTo>
                    <a:pt x="316" y="223"/>
                  </a:lnTo>
                  <a:lnTo>
                    <a:pt x="313" y="213"/>
                  </a:lnTo>
                  <a:lnTo>
                    <a:pt x="313" y="196"/>
                  </a:lnTo>
                  <a:lnTo>
                    <a:pt x="308" y="184"/>
                  </a:lnTo>
                  <a:lnTo>
                    <a:pt x="303" y="179"/>
                  </a:lnTo>
                  <a:lnTo>
                    <a:pt x="306" y="159"/>
                  </a:lnTo>
                  <a:lnTo>
                    <a:pt x="296" y="161"/>
                  </a:lnTo>
                  <a:lnTo>
                    <a:pt x="293" y="151"/>
                  </a:lnTo>
                  <a:lnTo>
                    <a:pt x="301" y="144"/>
                  </a:lnTo>
                  <a:lnTo>
                    <a:pt x="298" y="131"/>
                  </a:lnTo>
                  <a:lnTo>
                    <a:pt x="308" y="126"/>
                  </a:lnTo>
                  <a:lnTo>
                    <a:pt x="313" y="84"/>
                  </a:lnTo>
                  <a:lnTo>
                    <a:pt x="333" y="77"/>
                  </a:lnTo>
                  <a:lnTo>
                    <a:pt x="343" y="72"/>
                  </a:lnTo>
                  <a:lnTo>
                    <a:pt x="343" y="62"/>
                  </a:lnTo>
                  <a:lnTo>
                    <a:pt x="333" y="59"/>
                  </a:lnTo>
                  <a:lnTo>
                    <a:pt x="333" y="52"/>
                  </a:lnTo>
                  <a:lnTo>
                    <a:pt x="328" y="29"/>
                  </a:lnTo>
                  <a:lnTo>
                    <a:pt x="328" y="27"/>
                  </a:lnTo>
                  <a:lnTo>
                    <a:pt x="316" y="24"/>
                  </a:lnTo>
                  <a:lnTo>
                    <a:pt x="311" y="15"/>
                  </a:lnTo>
                  <a:lnTo>
                    <a:pt x="269" y="10"/>
                  </a:lnTo>
                  <a:lnTo>
                    <a:pt x="264" y="2"/>
                  </a:lnTo>
                  <a:lnTo>
                    <a:pt x="254" y="0"/>
                  </a:lnTo>
                  <a:lnTo>
                    <a:pt x="231" y="5"/>
                  </a:lnTo>
                  <a:lnTo>
                    <a:pt x="216" y="2"/>
                  </a:lnTo>
                  <a:lnTo>
                    <a:pt x="216" y="10"/>
                  </a:lnTo>
                  <a:lnTo>
                    <a:pt x="179" y="12"/>
                  </a:lnTo>
                  <a:lnTo>
                    <a:pt x="177" y="20"/>
                  </a:lnTo>
                  <a:lnTo>
                    <a:pt x="144" y="24"/>
                  </a:lnTo>
                  <a:lnTo>
                    <a:pt x="139" y="12"/>
                  </a:lnTo>
                  <a:lnTo>
                    <a:pt x="127" y="7"/>
                  </a:lnTo>
                  <a:lnTo>
                    <a:pt x="119" y="17"/>
                  </a:lnTo>
                  <a:lnTo>
                    <a:pt x="112" y="22"/>
                  </a:lnTo>
                  <a:lnTo>
                    <a:pt x="105" y="27"/>
                  </a:lnTo>
                  <a:lnTo>
                    <a:pt x="114" y="32"/>
                  </a:lnTo>
                  <a:lnTo>
                    <a:pt x="112" y="54"/>
                  </a:lnTo>
                  <a:lnTo>
                    <a:pt x="107" y="59"/>
                  </a:lnTo>
                  <a:lnTo>
                    <a:pt x="105" y="114"/>
                  </a:lnTo>
                  <a:lnTo>
                    <a:pt x="100" y="121"/>
                  </a:lnTo>
                  <a:lnTo>
                    <a:pt x="92" y="129"/>
                  </a:lnTo>
                  <a:lnTo>
                    <a:pt x="92" y="154"/>
                  </a:lnTo>
                  <a:lnTo>
                    <a:pt x="77" y="156"/>
                  </a:lnTo>
                  <a:lnTo>
                    <a:pt x="75" y="184"/>
                  </a:lnTo>
                  <a:lnTo>
                    <a:pt x="57" y="191"/>
                  </a:lnTo>
                  <a:lnTo>
                    <a:pt x="52" y="198"/>
                  </a:lnTo>
                  <a:lnTo>
                    <a:pt x="37" y="198"/>
                  </a:lnTo>
                  <a:lnTo>
                    <a:pt x="30" y="194"/>
                  </a:lnTo>
                  <a:lnTo>
                    <a:pt x="18" y="198"/>
                  </a:lnTo>
                  <a:lnTo>
                    <a:pt x="8" y="201"/>
                  </a:lnTo>
                  <a:lnTo>
                    <a:pt x="0" y="203"/>
                  </a:lnTo>
                  <a:lnTo>
                    <a:pt x="5" y="211"/>
                  </a:lnTo>
                  <a:lnTo>
                    <a:pt x="8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187"/>
            <p:cNvSpPr>
              <a:spLocks/>
            </p:cNvSpPr>
            <p:nvPr/>
          </p:nvSpPr>
          <p:spPr bwMode="auto">
            <a:xfrm>
              <a:off x="4558249" y="4545042"/>
              <a:ext cx="318071" cy="356930"/>
            </a:xfrm>
            <a:custGeom>
              <a:avLst/>
              <a:gdLst>
                <a:gd name="T0" fmla="*/ 10 w 221"/>
                <a:gd name="T1" fmla="*/ 2 h 248"/>
                <a:gd name="T2" fmla="*/ 18 w 221"/>
                <a:gd name="T3" fmla="*/ 5 h 248"/>
                <a:gd name="T4" fmla="*/ 42 w 221"/>
                <a:gd name="T5" fmla="*/ 5 h 248"/>
                <a:gd name="T6" fmla="*/ 60 w 221"/>
                <a:gd name="T7" fmla="*/ 0 h 248"/>
                <a:gd name="T8" fmla="*/ 95 w 221"/>
                <a:gd name="T9" fmla="*/ 2 h 248"/>
                <a:gd name="T10" fmla="*/ 102 w 221"/>
                <a:gd name="T11" fmla="*/ 32 h 248"/>
                <a:gd name="T12" fmla="*/ 110 w 221"/>
                <a:gd name="T13" fmla="*/ 37 h 248"/>
                <a:gd name="T14" fmla="*/ 110 w 221"/>
                <a:gd name="T15" fmla="*/ 47 h 248"/>
                <a:gd name="T16" fmla="*/ 142 w 221"/>
                <a:gd name="T17" fmla="*/ 47 h 248"/>
                <a:gd name="T18" fmla="*/ 144 w 221"/>
                <a:gd name="T19" fmla="*/ 27 h 248"/>
                <a:gd name="T20" fmla="*/ 152 w 221"/>
                <a:gd name="T21" fmla="*/ 20 h 248"/>
                <a:gd name="T22" fmla="*/ 162 w 221"/>
                <a:gd name="T23" fmla="*/ 42 h 248"/>
                <a:gd name="T24" fmla="*/ 169 w 221"/>
                <a:gd name="T25" fmla="*/ 37 h 248"/>
                <a:gd name="T26" fmla="*/ 182 w 221"/>
                <a:gd name="T27" fmla="*/ 35 h 248"/>
                <a:gd name="T28" fmla="*/ 187 w 221"/>
                <a:gd name="T29" fmla="*/ 45 h 248"/>
                <a:gd name="T30" fmla="*/ 189 w 221"/>
                <a:gd name="T31" fmla="*/ 84 h 248"/>
                <a:gd name="T32" fmla="*/ 189 w 221"/>
                <a:gd name="T33" fmla="*/ 99 h 248"/>
                <a:gd name="T34" fmla="*/ 199 w 221"/>
                <a:gd name="T35" fmla="*/ 109 h 248"/>
                <a:gd name="T36" fmla="*/ 221 w 221"/>
                <a:gd name="T37" fmla="*/ 109 h 248"/>
                <a:gd name="T38" fmla="*/ 219 w 221"/>
                <a:gd name="T39" fmla="*/ 149 h 248"/>
                <a:gd name="T40" fmla="*/ 202 w 221"/>
                <a:gd name="T41" fmla="*/ 149 h 248"/>
                <a:gd name="T42" fmla="*/ 197 w 221"/>
                <a:gd name="T43" fmla="*/ 139 h 248"/>
                <a:gd name="T44" fmla="*/ 189 w 221"/>
                <a:gd name="T45" fmla="*/ 139 h 248"/>
                <a:gd name="T46" fmla="*/ 189 w 221"/>
                <a:gd name="T47" fmla="*/ 149 h 248"/>
                <a:gd name="T48" fmla="*/ 177 w 221"/>
                <a:gd name="T49" fmla="*/ 151 h 248"/>
                <a:gd name="T50" fmla="*/ 174 w 221"/>
                <a:gd name="T51" fmla="*/ 199 h 248"/>
                <a:gd name="T52" fmla="*/ 177 w 221"/>
                <a:gd name="T53" fmla="*/ 214 h 248"/>
                <a:gd name="T54" fmla="*/ 192 w 221"/>
                <a:gd name="T55" fmla="*/ 231 h 248"/>
                <a:gd name="T56" fmla="*/ 192 w 221"/>
                <a:gd name="T57" fmla="*/ 241 h 248"/>
                <a:gd name="T58" fmla="*/ 172 w 221"/>
                <a:gd name="T59" fmla="*/ 248 h 248"/>
                <a:gd name="T60" fmla="*/ 157 w 221"/>
                <a:gd name="T61" fmla="*/ 246 h 248"/>
                <a:gd name="T62" fmla="*/ 119 w 221"/>
                <a:gd name="T63" fmla="*/ 241 h 248"/>
                <a:gd name="T64" fmla="*/ 115 w 221"/>
                <a:gd name="T65" fmla="*/ 231 h 248"/>
                <a:gd name="T66" fmla="*/ 67 w 221"/>
                <a:gd name="T67" fmla="*/ 234 h 248"/>
                <a:gd name="T68" fmla="*/ 37 w 221"/>
                <a:gd name="T69" fmla="*/ 231 h 248"/>
                <a:gd name="T70" fmla="*/ 18 w 221"/>
                <a:gd name="T71" fmla="*/ 224 h 248"/>
                <a:gd name="T72" fmla="*/ 0 w 221"/>
                <a:gd name="T73" fmla="*/ 229 h 248"/>
                <a:gd name="T74" fmla="*/ 0 w 221"/>
                <a:gd name="T75" fmla="*/ 199 h 248"/>
                <a:gd name="T76" fmla="*/ 20 w 221"/>
                <a:gd name="T77" fmla="*/ 164 h 248"/>
                <a:gd name="T78" fmla="*/ 30 w 221"/>
                <a:gd name="T79" fmla="*/ 142 h 248"/>
                <a:gd name="T80" fmla="*/ 32 w 221"/>
                <a:gd name="T81" fmla="*/ 134 h 248"/>
                <a:gd name="T82" fmla="*/ 40 w 221"/>
                <a:gd name="T83" fmla="*/ 132 h 248"/>
                <a:gd name="T84" fmla="*/ 42 w 221"/>
                <a:gd name="T85" fmla="*/ 114 h 248"/>
                <a:gd name="T86" fmla="*/ 32 w 221"/>
                <a:gd name="T87" fmla="*/ 97 h 248"/>
                <a:gd name="T88" fmla="*/ 28 w 221"/>
                <a:gd name="T89" fmla="*/ 72 h 248"/>
                <a:gd name="T90" fmla="*/ 25 w 221"/>
                <a:gd name="T91" fmla="*/ 47 h 248"/>
                <a:gd name="T92" fmla="*/ 15 w 221"/>
                <a:gd name="T93" fmla="*/ 40 h 248"/>
                <a:gd name="T94" fmla="*/ 15 w 221"/>
                <a:gd name="T95" fmla="*/ 12 h 248"/>
                <a:gd name="T96" fmla="*/ 5 w 221"/>
                <a:gd name="T97" fmla="*/ 12 h 248"/>
                <a:gd name="T98" fmla="*/ 10 w 221"/>
                <a:gd name="T99" fmla="*/ 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1" h="248">
                  <a:moveTo>
                    <a:pt x="10" y="2"/>
                  </a:moveTo>
                  <a:lnTo>
                    <a:pt x="18" y="5"/>
                  </a:lnTo>
                  <a:lnTo>
                    <a:pt x="42" y="5"/>
                  </a:lnTo>
                  <a:lnTo>
                    <a:pt x="60" y="0"/>
                  </a:lnTo>
                  <a:lnTo>
                    <a:pt x="95" y="2"/>
                  </a:lnTo>
                  <a:lnTo>
                    <a:pt x="102" y="32"/>
                  </a:lnTo>
                  <a:lnTo>
                    <a:pt x="110" y="37"/>
                  </a:lnTo>
                  <a:lnTo>
                    <a:pt x="110" y="47"/>
                  </a:lnTo>
                  <a:lnTo>
                    <a:pt x="142" y="47"/>
                  </a:lnTo>
                  <a:lnTo>
                    <a:pt x="144" y="27"/>
                  </a:lnTo>
                  <a:lnTo>
                    <a:pt x="152" y="20"/>
                  </a:lnTo>
                  <a:lnTo>
                    <a:pt x="162" y="42"/>
                  </a:lnTo>
                  <a:lnTo>
                    <a:pt x="169" y="37"/>
                  </a:lnTo>
                  <a:lnTo>
                    <a:pt x="182" y="35"/>
                  </a:lnTo>
                  <a:lnTo>
                    <a:pt x="187" y="45"/>
                  </a:lnTo>
                  <a:lnTo>
                    <a:pt x="189" y="84"/>
                  </a:lnTo>
                  <a:lnTo>
                    <a:pt x="189" y="99"/>
                  </a:lnTo>
                  <a:lnTo>
                    <a:pt x="199" y="109"/>
                  </a:lnTo>
                  <a:lnTo>
                    <a:pt x="221" y="109"/>
                  </a:lnTo>
                  <a:lnTo>
                    <a:pt x="219" y="149"/>
                  </a:lnTo>
                  <a:lnTo>
                    <a:pt x="202" y="149"/>
                  </a:lnTo>
                  <a:lnTo>
                    <a:pt x="197" y="139"/>
                  </a:lnTo>
                  <a:lnTo>
                    <a:pt x="189" y="139"/>
                  </a:lnTo>
                  <a:lnTo>
                    <a:pt x="189" y="149"/>
                  </a:lnTo>
                  <a:lnTo>
                    <a:pt x="177" y="151"/>
                  </a:lnTo>
                  <a:lnTo>
                    <a:pt x="174" y="199"/>
                  </a:lnTo>
                  <a:lnTo>
                    <a:pt x="177" y="214"/>
                  </a:lnTo>
                  <a:lnTo>
                    <a:pt x="192" y="231"/>
                  </a:lnTo>
                  <a:lnTo>
                    <a:pt x="192" y="241"/>
                  </a:lnTo>
                  <a:lnTo>
                    <a:pt x="172" y="248"/>
                  </a:lnTo>
                  <a:lnTo>
                    <a:pt x="157" y="246"/>
                  </a:lnTo>
                  <a:lnTo>
                    <a:pt x="119" y="241"/>
                  </a:lnTo>
                  <a:lnTo>
                    <a:pt x="115" y="231"/>
                  </a:lnTo>
                  <a:lnTo>
                    <a:pt x="67" y="234"/>
                  </a:lnTo>
                  <a:lnTo>
                    <a:pt x="37" y="231"/>
                  </a:lnTo>
                  <a:lnTo>
                    <a:pt x="18" y="224"/>
                  </a:lnTo>
                  <a:lnTo>
                    <a:pt x="0" y="229"/>
                  </a:lnTo>
                  <a:lnTo>
                    <a:pt x="0" y="199"/>
                  </a:lnTo>
                  <a:lnTo>
                    <a:pt x="20" y="164"/>
                  </a:lnTo>
                  <a:lnTo>
                    <a:pt x="30" y="142"/>
                  </a:lnTo>
                  <a:lnTo>
                    <a:pt x="32" y="134"/>
                  </a:lnTo>
                  <a:lnTo>
                    <a:pt x="40" y="132"/>
                  </a:lnTo>
                  <a:lnTo>
                    <a:pt x="42" y="114"/>
                  </a:lnTo>
                  <a:lnTo>
                    <a:pt x="32" y="97"/>
                  </a:lnTo>
                  <a:lnTo>
                    <a:pt x="28" y="72"/>
                  </a:lnTo>
                  <a:lnTo>
                    <a:pt x="25" y="47"/>
                  </a:lnTo>
                  <a:lnTo>
                    <a:pt x="15" y="40"/>
                  </a:lnTo>
                  <a:lnTo>
                    <a:pt x="15" y="12"/>
                  </a:lnTo>
                  <a:lnTo>
                    <a:pt x="5" y="1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188"/>
            <p:cNvSpPr>
              <a:spLocks/>
            </p:cNvSpPr>
            <p:nvPr/>
          </p:nvSpPr>
          <p:spPr bwMode="auto">
            <a:xfrm>
              <a:off x="5034637" y="5145203"/>
              <a:ext cx="38859" cy="47495"/>
            </a:xfrm>
            <a:custGeom>
              <a:avLst/>
              <a:gdLst>
                <a:gd name="T0" fmla="*/ 27 w 27"/>
                <a:gd name="T1" fmla="*/ 28 h 33"/>
                <a:gd name="T2" fmla="*/ 22 w 27"/>
                <a:gd name="T3" fmla="*/ 13 h 33"/>
                <a:gd name="T4" fmla="*/ 17 w 27"/>
                <a:gd name="T5" fmla="*/ 0 h 33"/>
                <a:gd name="T6" fmla="*/ 2 w 27"/>
                <a:gd name="T7" fmla="*/ 5 h 33"/>
                <a:gd name="T8" fmla="*/ 0 w 27"/>
                <a:gd name="T9" fmla="*/ 18 h 33"/>
                <a:gd name="T10" fmla="*/ 2 w 27"/>
                <a:gd name="T11" fmla="*/ 25 h 33"/>
                <a:gd name="T12" fmla="*/ 10 w 27"/>
                <a:gd name="T13" fmla="*/ 28 h 33"/>
                <a:gd name="T14" fmla="*/ 20 w 27"/>
                <a:gd name="T15" fmla="*/ 33 h 33"/>
                <a:gd name="T16" fmla="*/ 27 w 27"/>
                <a:gd name="T17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3">
                  <a:moveTo>
                    <a:pt x="27" y="28"/>
                  </a:moveTo>
                  <a:lnTo>
                    <a:pt x="22" y="13"/>
                  </a:lnTo>
                  <a:lnTo>
                    <a:pt x="17" y="0"/>
                  </a:lnTo>
                  <a:lnTo>
                    <a:pt x="2" y="5"/>
                  </a:lnTo>
                  <a:lnTo>
                    <a:pt x="0" y="18"/>
                  </a:lnTo>
                  <a:lnTo>
                    <a:pt x="2" y="25"/>
                  </a:lnTo>
                  <a:lnTo>
                    <a:pt x="10" y="28"/>
                  </a:lnTo>
                  <a:lnTo>
                    <a:pt x="20" y="33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189"/>
            <p:cNvSpPr>
              <a:spLocks/>
            </p:cNvSpPr>
            <p:nvPr/>
          </p:nvSpPr>
          <p:spPr bwMode="auto">
            <a:xfrm>
              <a:off x="5119551" y="4234167"/>
              <a:ext cx="204371" cy="267698"/>
            </a:xfrm>
            <a:custGeom>
              <a:avLst/>
              <a:gdLst>
                <a:gd name="T0" fmla="*/ 102 w 142"/>
                <a:gd name="T1" fmla="*/ 186 h 186"/>
                <a:gd name="T2" fmla="*/ 75 w 142"/>
                <a:gd name="T3" fmla="*/ 171 h 186"/>
                <a:gd name="T4" fmla="*/ 75 w 142"/>
                <a:gd name="T5" fmla="*/ 156 h 186"/>
                <a:gd name="T6" fmla="*/ 55 w 142"/>
                <a:gd name="T7" fmla="*/ 151 h 186"/>
                <a:gd name="T8" fmla="*/ 20 w 142"/>
                <a:gd name="T9" fmla="*/ 121 h 186"/>
                <a:gd name="T10" fmla="*/ 5 w 142"/>
                <a:gd name="T11" fmla="*/ 121 h 186"/>
                <a:gd name="T12" fmla="*/ 0 w 142"/>
                <a:gd name="T13" fmla="*/ 109 h 186"/>
                <a:gd name="T14" fmla="*/ 5 w 142"/>
                <a:gd name="T15" fmla="*/ 89 h 186"/>
                <a:gd name="T16" fmla="*/ 15 w 142"/>
                <a:gd name="T17" fmla="*/ 69 h 186"/>
                <a:gd name="T18" fmla="*/ 15 w 142"/>
                <a:gd name="T19" fmla="*/ 37 h 186"/>
                <a:gd name="T20" fmla="*/ 5 w 142"/>
                <a:gd name="T21" fmla="*/ 19 h 186"/>
                <a:gd name="T22" fmla="*/ 30 w 142"/>
                <a:gd name="T23" fmla="*/ 0 h 186"/>
                <a:gd name="T24" fmla="*/ 48 w 142"/>
                <a:gd name="T25" fmla="*/ 5 h 186"/>
                <a:gd name="T26" fmla="*/ 65 w 142"/>
                <a:gd name="T27" fmla="*/ 17 h 186"/>
                <a:gd name="T28" fmla="*/ 68 w 142"/>
                <a:gd name="T29" fmla="*/ 29 h 186"/>
                <a:gd name="T30" fmla="*/ 105 w 142"/>
                <a:gd name="T31" fmla="*/ 27 h 186"/>
                <a:gd name="T32" fmla="*/ 105 w 142"/>
                <a:gd name="T33" fmla="*/ 19 h 186"/>
                <a:gd name="T34" fmla="*/ 127 w 142"/>
                <a:gd name="T35" fmla="*/ 17 h 186"/>
                <a:gd name="T36" fmla="*/ 135 w 142"/>
                <a:gd name="T37" fmla="*/ 24 h 186"/>
                <a:gd name="T38" fmla="*/ 142 w 142"/>
                <a:gd name="T39" fmla="*/ 29 h 186"/>
                <a:gd name="T40" fmla="*/ 135 w 142"/>
                <a:gd name="T41" fmla="*/ 37 h 186"/>
                <a:gd name="T42" fmla="*/ 127 w 142"/>
                <a:gd name="T43" fmla="*/ 49 h 186"/>
                <a:gd name="T44" fmla="*/ 132 w 142"/>
                <a:gd name="T45" fmla="*/ 126 h 186"/>
                <a:gd name="T46" fmla="*/ 140 w 142"/>
                <a:gd name="T47" fmla="*/ 131 h 186"/>
                <a:gd name="T48" fmla="*/ 132 w 142"/>
                <a:gd name="T49" fmla="*/ 139 h 186"/>
                <a:gd name="T50" fmla="*/ 125 w 142"/>
                <a:gd name="T51" fmla="*/ 151 h 186"/>
                <a:gd name="T52" fmla="*/ 112 w 142"/>
                <a:gd name="T53" fmla="*/ 161 h 186"/>
                <a:gd name="T54" fmla="*/ 110 w 142"/>
                <a:gd name="T55" fmla="*/ 174 h 186"/>
                <a:gd name="T56" fmla="*/ 102 w 142"/>
                <a:gd name="T5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2" h="186">
                  <a:moveTo>
                    <a:pt x="102" y="186"/>
                  </a:moveTo>
                  <a:lnTo>
                    <a:pt x="75" y="171"/>
                  </a:lnTo>
                  <a:lnTo>
                    <a:pt x="75" y="156"/>
                  </a:lnTo>
                  <a:lnTo>
                    <a:pt x="55" y="151"/>
                  </a:lnTo>
                  <a:lnTo>
                    <a:pt x="20" y="121"/>
                  </a:lnTo>
                  <a:lnTo>
                    <a:pt x="5" y="121"/>
                  </a:lnTo>
                  <a:lnTo>
                    <a:pt x="0" y="109"/>
                  </a:lnTo>
                  <a:lnTo>
                    <a:pt x="5" y="89"/>
                  </a:lnTo>
                  <a:lnTo>
                    <a:pt x="15" y="69"/>
                  </a:lnTo>
                  <a:lnTo>
                    <a:pt x="15" y="37"/>
                  </a:lnTo>
                  <a:lnTo>
                    <a:pt x="5" y="19"/>
                  </a:lnTo>
                  <a:lnTo>
                    <a:pt x="30" y="0"/>
                  </a:lnTo>
                  <a:lnTo>
                    <a:pt x="48" y="5"/>
                  </a:lnTo>
                  <a:lnTo>
                    <a:pt x="65" y="17"/>
                  </a:lnTo>
                  <a:lnTo>
                    <a:pt x="68" y="29"/>
                  </a:lnTo>
                  <a:lnTo>
                    <a:pt x="105" y="27"/>
                  </a:lnTo>
                  <a:lnTo>
                    <a:pt x="105" y="19"/>
                  </a:lnTo>
                  <a:lnTo>
                    <a:pt x="127" y="17"/>
                  </a:lnTo>
                  <a:lnTo>
                    <a:pt x="135" y="24"/>
                  </a:lnTo>
                  <a:lnTo>
                    <a:pt x="142" y="29"/>
                  </a:lnTo>
                  <a:lnTo>
                    <a:pt x="135" y="37"/>
                  </a:lnTo>
                  <a:lnTo>
                    <a:pt x="127" y="49"/>
                  </a:lnTo>
                  <a:lnTo>
                    <a:pt x="132" y="126"/>
                  </a:lnTo>
                  <a:lnTo>
                    <a:pt x="140" y="131"/>
                  </a:lnTo>
                  <a:lnTo>
                    <a:pt x="132" y="139"/>
                  </a:lnTo>
                  <a:lnTo>
                    <a:pt x="125" y="151"/>
                  </a:lnTo>
                  <a:lnTo>
                    <a:pt x="112" y="161"/>
                  </a:lnTo>
                  <a:lnTo>
                    <a:pt x="110" y="174"/>
                  </a:lnTo>
                  <a:lnTo>
                    <a:pt x="102" y="18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90"/>
            <p:cNvSpPr>
              <a:spLocks/>
            </p:cNvSpPr>
            <p:nvPr/>
          </p:nvSpPr>
          <p:spPr bwMode="auto">
            <a:xfrm>
              <a:off x="5102280" y="3786565"/>
              <a:ext cx="358370" cy="489340"/>
            </a:xfrm>
            <a:custGeom>
              <a:avLst/>
              <a:gdLst>
                <a:gd name="T0" fmla="*/ 154 w 249"/>
                <a:gd name="T1" fmla="*/ 340 h 340"/>
                <a:gd name="T2" fmla="*/ 147 w 249"/>
                <a:gd name="T3" fmla="*/ 335 h 340"/>
                <a:gd name="T4" fmla="*/ 139 w 249"/>
                <a:gd name="T5" fmla="*/ 328 h 340"/>
                <a:gd name="T6" fmla="*/ 117 w 249"/>
                <a:gd name="T7" fmla="*/ 330 h 340"/>
                <a:gd name="T8" fmla="*/ 117 w 249"/>
                <a:gd name="T9" fmla="*/ 338 h 340"/>
                <a:gd name="T10" fmla="*/ 80 w 249"/>
                <a:gd name="T11" fmla="*/ 340 h 340"/>
                <a:gd name="T12" fmla="*/ 77 w 249"/>
                <a:gd name="T13" fmla="*/ 328 h 340"/>
                <a:gd name="T14" fmla="*/ 60 w 249"/>
                <a:gd name="T15" fmla="*/ 316 h 340"/>
                <a:gd name="T16" fmla="*/ 42 w 249"/>
                <a:gd name="T17" fmla="*/ 311 h 340"/>
                <a:gd name="T18" fmla="*/ 42 w 249"/>
                <a:gd name="T19" fmla="*/ 301 h 340"/>
                <a:gd name="T20" fmla="*/ 35 w 249"/>
                <a:gd name="T21" fmla="*/ 286 h 340"/>
                <a:gd name="T22" fmla="*/ 27 w 249"/>
                <a:gd name="T23" fmla="*/ 281 h 340"/>
                <a:gd name="T24" fmla="*/ 20 w 249"/>
                <a:gd name="T25" fmla="*/ 276 h 340"/>
                <a:gd name="T26" fmla="*/ 17 w 249"/>
                <a:gd name="T27" fmla="*/ 261 h 340"/>
                <a:gd name="T28" fmla="*/ 10 w 249"/>
                <a:gd name="T29" fmla="*/ 258 h 340"/>
                <a:gd name="T30" fmla="*/ 0 w 249"/>
                <a:gd name="T31" fmla="*/ 241 h 340"/>
                <a:gd name="T32" fmla="*/ 17 w 249"/>
                <a:gd name="T33" fmla="*/ 239 h 340"/>
                <a:gd name="T34" fmla="*/ 22 w 249"/>
                <a:gd name="T35" fmla="*/ 199 h 340"/>
                <a:gd name="T36" fmla="*/ 37 w 249"/>
                <a:gd name="T37" fmla="*/ 199 h 340"/>
                <a:gd name="T38" fmla="*/ 40 w 249"/>
                <a:gd name="T39" fmla="*/ 159 h 340"/>
                <a:gd name="T40" fmla="*/ 62 w 249"/>
                <a:gd name="T41" fmla="*/ 154 h 340"/>
                <a:gd name="T42" fmla="*/ 60 w 249"/>
                <a:gd name="T43" fmla="*/ 107 h 340"/>
                <a:gd name="T44" fmla="*/ 47 w 249"/>
                <a:gd name="T45" fmla="*/ 102 h 340"/>
                <a:gd name="T46" fmla="*/ 47 w 249"/>
                <a:gd name="T47" fmla="*/ 89 h 340"/>
                <a:gd name="T48" fmla="*/ 65 w 249"/>
                <a:gd name="T49" fmla="*/ 89 h 340"/>
                <a:gd name="T50" fmla="*/ 62 w 249"/>
                <a:gd name="T51" fmla="*/ 74 h 340"/>
                <a:gd name="T52" fmla="*/ 55 w 249"/>
                <a:gd name="T53" fmla="*/ 57 h 340"/>
                <a:gd name="T54" fmla="*/ 55 w 249"/>
                <a:gd name="T55" fmla="*/ 35 h 340"/>
                <a:gd name="T56" fmla="*/ 67 w 249"/>
                <a:gd name="T57" fmla="*/ 0 h 340"/>
                <a:gd name="T58" fmla="*/ 75 w 249"/>
                <a:gd name="T59" fmla="*/ 15 h 340"/>
                <a:gd name="T60" fmla="*/ 82 w 249"/>
                <a:gd name="T61" fmla="*/ 32 h 340"/>
                <a:gd name="T62" fmla="*/ 92 w 249"/>
                <a:gd name="T63" fmla="*/ 42 h 340"/>
                <a:gd name="T64" fmla="*/ 102 w 249"/>
                <a:gd name="T65" fmla="*/ 65 h 340"/>
                <a:gd name="T66" fmla="*/ 109 w 249"/>
                <a:gd name="T67" fmla="*/ 79 h 340"/>
                <a:gd name="T68" fmla="*/ 112 w 249"/>
                <a:gd name="T69" fmla="*/ 94 h 340"/>
                <a:gd name="T70" fmla="*/ 132 w 249"/>
                <a:gd name="T71" fmla="*/ 102 h 340"/>
                <a:gd name="T72" fmla="*/ 142 w 249"/>
                <a:gd name="T73" fmla="*/ 124 h 340"/>
                <a:gd name="T74" fmla="*/ 157 w 249"/>
                <a:gd name="T75" fmla="*/ 152 h 340"/>
                <a:gd name="T76" fmla="*/ 152 w 249"/>
                <a:gd name="T77" fmla="*/ 164 h 340"/>
                <a:gd name="T78" fmla="*/ 149 w 249"/>
                <a:gd name="T79" fmla="*/ 196 h 340"/>
                <a:gd name="T80" fmla="*/ 169 w 249"/>
                <a:gd name="T81" fmla="*/ 201 h 340"/>
                <a:gd name="T82" fmla="*/ 182 w 249"/>
                <a:gd name="T83" fmla="*/ 211 h 340"/>
                <a:gd name="T84" fmla="*/ 211 w 249"/>
                <a:gd name="T85" fmla="*/ 241 h 340"/>
                <a:gd name="T86" fmla="*/ 234 w 249"/>
                <a:gd name="T87" fmla="*/ 241 h 340"/>
                <a:gd name="T88" fmla="*/ 249 w 249"/>
                <a:gd name="T89" fmla="*/ 258 h 340"/>
                <a:gd name="T90" fmla="*/ 231 w 249"/>
                <a:gd name="T91" fmla="*/ 273 h 340"/>
                <a:gd name="T92" fmla="*/ 229 w 249"/>
                <a:gd name="T93" fmla="*/ 298 h 340"/>
                <a:gd name="T94" fmla="*/ 209 w 249"/>
                <a:gd name="T95" fmla="*/ 316 h 340"/>
                <a:gd name="T96" fmla="*/ 186 w 249"/>
                <a:gd name="T97" fmla="*/ 321 h 340"/>
                <a:gd name="T98" fmla="*/ 169 w 249"/>
                <a:gd name="T99" fmla="*/ 321 h 340"/>
                <a:gd name="T100" fmla="*/ 154 w 249"/>
                <a:gd name="T101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9" h="340">
                  <a:moveTo>
                    <a:pt x="154" y="340"/>
                  </a:moveTo>
                  <a:lnTo>
                    <a:pt x="147" y="335"/>
                  </a:lnTo>
                  <a:lnTo>
                    <a:pt x="139" y="328"/>
                  </a:lnTo>
                  <a:lnTo>
                    <a:pt x="117" y="330"/>
                  </a:lnTo>
                  <a:lnTo>
                    <a:pt x="117" y="338"/>
                  </a:lnTo>
                  <a:lnTo>
                    <a:pt x="80" y="340"/>
                  </a:lnTo>
                  <a:lnTo>
                    <a:pt x="77" y="328"/>
                  </a:lnTo>
                  <a:lnTo>
                    <a:pt x="60" y="316"/>
                  </a:lnTo>
                  <a:lnTo>
                    <a:pt x="42" y="311"/>
                  </a:lnTo>
                  <a:lnTo>
                    <a:pt x="42" y="301"/>
                  </a:lnTo>
                  <a:lnTo>
                    <a:pt x="35" y="286"/>
                  </a:lnTo>
                  <a:lnTo>
                    <a:pt x="27" y="281"/>
                  </a:lnTo>
                  <a:lnTo>
                    <a:pt x="20" y="276"/>
                  </a:lnTo>
                  <a:lnTo>
                    <a:pt x="17" y="261"/>
                  </a:lnTo>
                  <a:lnTo>
                    <a:pt x="10" y="258"/>
                  </a:lnTo>
                  <a:lnTo>
                    <a:pt x="0" y="241"/>
                  </a:lnTo>
                  <a:lnTo>
                    <a:pt x="17" y="239"/>
                  </a:lnTo>
                  <a:lnTo>
                    <a:pt x="22" y="199"/>
                  </a:lnTo>
                  <a:lnTo>
                    <a:pt x="37" y="199"/>
                  </a:lnTo>
                  <a:lnTo>
                    <a:pt x="40" y="159"/>
                  </a:lnTo>
                  <a:lnTo>
                    <a:pt x="62" y="154"/>
                  </a:lnTo>
                  <a:lnTo>
                    <a:pt x="60" y="107"/>
                  </a:lnTo>
                  <a:lnTo>
                    <a:pt x="47" y="102"/>
                  </a:lnTo>
                  <a:lnTo>
                    <a:pt x="47" y="89"/>
                  </a:lnTo>
                  <a:lnTo>
                    <a:pt x="65" y="89"/>
                  </a:lnTo>
                  <a:lnTo>
                    <a:pt x="62" y="74"/>
                  </a:lnTo>
                  <a:lnTo>
                    <a:pt x="55" y="57"/>
                  </a:lnTo>
                  <a:lnTo>
                    <a:pt x="55" y="35"/>
                  </a:lnTo>
                  <a:lnTo>
                    <a:pt x="67" y="0"/>
                  </a:lnTo>
                  <a:lnTo>
                    <a:pt x="75" y="15"/>
                  </a:lnTo>
                  <a:lnTo>
                    <a:pt x="82" y="32"/>
                  </a:lnTo>
                  <a:lnTo>
                    <a:pt x="92" y="42"/>
                  </a:lnTo>
                  <a:lnTo>
                    <a:pt x="102" y="65"/>
                  </a:lnTo>
                  <a:lnTo>
                    <a:pt x="109" y="79"/>
                  </a:lnTo>
                  <a:lnTo>
                    <a:pt x="112" y="94"/>
                  </a:lnTo>
                  <a:lnTo>
                    <a:pt x="132" y="102"/>
                  </a:lnTo>
                  <a:lnTo>
                    <a:pt x="142" y="124"/>
                  </a:lnTo>
                  <a:lnTo>
                    <a:pt x="157" y="152"/>
                  </a:lnTo>
                  <a:lnTo>
                    <a:pt x="152" y="164"/>
                  </a:lnTo>
                  <a:lnTo>
                    <a:pt x="149" y="196"/>
                  </a:lnTo>
                  <a:lnTo>
                    <a:pt x="169" y="201"/>
                  </a:lnTo>
                  <a:lnTo>
                    <a:pt x="182" y="211"/>
                  </a:lnTo>
                  <a:lnTo>
                    <a:pt x="211" y="241"/>
                  </a:lnTo>
                  <a:lnTo>
                    <a:pt x="234" y="241"/>
                  </a:lnTo>
                  <a:lnTo>
                    <a:pt x="249" y="258"/>
                  </a:lnTo>
                  <a:lnTo>
                    <a:pt x="231" y="273"/>
                  </a:lnTo>
                  <a:lnTo>
                    <a:pt x="229" y="298"/>
                  </a:lnTo>
                  <a:lnTo>
                    <a:pt x="209" y="316"/>
                  </a:lnTo>
                  <a:lnTo>
                    <a:pt x="186" y="321"/>
                  </a:lnTo>
                  <a:lnTo>
                    <a:pt x="169" y="321"/>
                  </a:lnTo>
                  <a:lnTo>
                    <a:pt x="154" y="3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93"/>
            <p:cNvSpPr>
              <a:spLocks/>
            </p:cNvSpPr>
            <p:nvPr/>
          </p:nvSpPr>
          <p:spPr bwMode="auto">
            <a:xfrm>
              <a:off x="5302334" y="4015403"/>
              <a:ext cx="272015" cy="407303"/>
            </a:xfrm>
            <a:custGeom>
              <a:avLst/>
              <a:gdLst>
                <a:gd name="T0" fmla="*/ 30 w 189"/>
                <a:gd name="T1" fmla="*/ 42 h 283"/>
                <a:gd name="T2" fmla="*/ 43 w 189"/>
                <a:gd name="T3" fmla="*/ 52 h 283"/>
                <a:gd name="T4" fmla="*/ 72 w 189"/>
                <a:gd name="T5" fmla="*/ 82 h 283"/>
                <a:gd name="T6" fmla="*/ 95 w 189"/>
                <a:gd name="T7" fmla="*/ 82 h 283"/>
                <a:gd name="T8" fmla="*/ 110 w 189"/>
                <a:gd name="T9" fmla="*/ 99 h 283"/>
                <a:gd name="T10" fmla="*/ 92 w 189"/>
                <a:gd name="T11" fmla="*/ 114 h 283"/>
                <a:gd name="T12" fmla="*/ 90 w 189"/>
                <a:gd name="T13" fmla="*/ 139 h 283"/>
                <a:gd name="T14" fmla="*/ 70 w 189"/>
                <a:gd name="T15" fmla="*/ 157 h 283"/>
                <a:gd name="T16" fmla="*/ 47 w 189"/>
                <a:gd name="T17" fmla="*/ 162 h 283"/>
                <a:gd name="T18" fmla="*/ 30 w 189"/>
                <a:gd name="T19" fmla="*/ 162 h 283"/>
                <a:gd name="T20" fmla="*/ 15 w 189"/>
                <a:gd name="T21" fmla="*/ 181 h 283"/>
                <a:gd name="T22" fmla="*/ 8 w 189"/>
                <a:gd name="T23" fmla="*/ 189 h 283"/>
                <a:gd name="T24" fmla="*/ 0 w 189"/>
                <a:gd name="T25" fmla="*/ 201 h 283"/>
                <a:gd name="T26" fmla="*/ 5 w 189"/>
                <a:gd name="T27" fmla="*/ 278 h 283"/>
                <a:gd name="T28" fmla="*/ 13 w 189"/>
                <a:gd name="T29" fmla="*/ 283 h 283"/>
                <a:gd name="T30" fmla="*/ 25 w 189"/>
                <a:gd name="T31" fmla="*/ 266 h 283"/>
                <a:gd name="T32" fmla="*/ 35 w 189"/>
                <a:gd name="T33" fmla="*/ 249 h 283"/>
                <a:gd name="T34" fmla="*/ 55 w 189"/>
                <a:gd name="T35" fmla="*/ 234 h 283"/>
                <a:gd name="T36" fmla="*/ 90 w 189"/>
                <a:gd name="T37" fmla="*/ 201 h 283"/>
                <a:gd name="T38" fmla="*/ 122 w 189"/>
                <a:gd name="T39" fmla="*/ 171 h 283"/>
                <a:gd name="T40" fmla="*/ 142 w 189"/>
                <a:gd name="T41" fmla="*/ 142 h 283"/>
                <a:gd name="T42" fmla="*/ 149 w 189"/>
                <a:gd name="T43" fmla="*/ 109 h 283"/>
                <a:gd name="T44" fmla="*/ 159 w 189"/>
                <a:gd name="T45" fmla="*/ 82 h 283"/>
                <a:gd name="T46" fmla="*/ 174 w 189"/>
                <a:gd name="T47" fmla="*/ 62 h 283"/>
                <a:gd name="T48" fmla="*/ 182 w 189"/>
                <a:gd name="T49" fmla="*/ 42 h 283"/>
                <a:gd name="T50" fmla="*/ 189 w 189"/>
                <a:gd name="T51" fmla="*/ 30 h 283"/>
                <a:gd name="T52" fmla="*/ 179 w 189"/>
                <a:gd name="T53" fmla="*/ 20 h 283"/>
                <a:gd name="T54" fmla="*/ 167 w 189"/>
                <a:gd name="T55" fmla="*/ 0 h 283"/>
                <a:gd name="T56" fmla="*/ 147 w 189"/>
                <a:gd name="T57" fmla="*/ 17 h 283"/>
                <a:gd name="T58" fmla="*/ 127 w 189"/>
                <a:gd name="T59" fmla="*/ 22 h 283"/>
                <a:gd name="T60" fmla="*/ 115 w 189"/>
                <a:gd name="T61" fmla="*/ 27 h 283"/>
                <a:gd name="T62" fmla="*/ 105 w 189"/>
                <a:gd name="T63" fmla="*/ 35 h 283"/>
                <a:gd name="T64" fmla="*/ 67 w 189"/>
                <a:gd name="T65" fmla="*/ 32 h 283"/>
                <a:gd name="T66" fmla="*/ 47 w 189"/>
                <a:gd name="T67" fmla="*/ 25 h 283"/>
                <a:gd name="T68" fmla="*/ 30 w 189"/>
                <a:gd name="T69" fmla="*/ 4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283">
                  <a:moveTo>
                    <a:pt x="30" y="42"/>
                  </a:moveTo>
                  <a:lnTo>
                    <a:pt x="43" y="52"/>
                  </a:lnTo>
                  <a:lnTo>
                    <a:pt x="72" y="82"/>
                  </a:lnTo>
                  <a:lnTo>
                    <a:pt x="95" y="82"/>
                  </a:lnTo>
                  <a:lnTo>
                    <a:pt x="110" y="99"/>
                  </a:lnTo>
                  <a:lnTo>
                    <a:pt x="92" y="114"/>
                  </a:lnTo>
                  <a:lnTo>
                    <a:pt x="90" y="139"/>
                  </a:lnTo>
                  <a:lnTo>
                    <a:pt x="70" y="157"/>
                  </a:lnTo>
                  <a:lnTo>
                    <a:pt x="47" y="162"/>
                  </a:lnTo>
                  <a:lnTo>
                    <a:pt x="30" y="162"/>
                  </a:lnTo>
                  <a:lnTo>
                    <a:pt x="15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5" y="278"/>
                  </a:lnTo>
                  <a:lnTo>
                    <a:pt x="13" y="283"/>
                  </a:lnTo>
                  <a:lnTo>
                    <a:pt x="25" y="266"/>
                  </a:lnTo>
                  <a:lnTo>
                    <a:pt x="35" y="249"/>
                  </a:lnTo>
                  <a:lnTo>
                    <a:pt x="55" y="234"/>
                  </a:lnTo>
                  <a:lnTo>
                    <a:pt x="90" y="201"/>
                  </a:lnTo>
                  <a:lnTo>
                    <a:pt x="122" y="171"/>
                  </a:lnTo>
                  <a:lnTo>
                    <a:pt x="142" y="142"/>
                  </a:lnTo>
                  <a:lnTo>
                    <a:pt x="149" y="109"/>
                  </a:lnTo>
                  <a:lnTo>
                    <a:pt x="159" y="82"/>
                  </a:lnTo>
                  <a:lnTo>
                    <a:pt x="174" y="62"/>
                  </a:lnTo>
                  <a:lnTo>
                    <a:pt x="182" y="42"/>
                  </a:lnTo>
                  <a:lnTo>
                    <a:pt x="189" y="30"/>
                  </a:lnTo>
                  <a:lnTo>
                    <a:pt x="179" y="20"/>
                  </a:lnTo>
                  <a:lnTo>
                    <a:pt x="167" y="0"/>
                  </a:lnTo>
                  <a:lnTo>
                    <a:pt x="147" y="17"/>
                  </a:lnTo>
                  <a:lnTo>
                    <a:pt x="127" y="22"/>
                  </a:lnTo>
                  <a:lnTo>
                    <a:pt x="115" y="27"/>
                  </a:lnTo>
                  <a:lnTo>
                    <a:pt x="105" y="35"/>
                  </a:lnTo>
                  <a:lnTo>
                    <a:pt x="67" y="32"/>
                  </a:lnTo>
                  <a:lnTo>
                    <a:pt x="47" y="25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94"/>
            <p:cNvSpPr>
              <a:spLocks/>
            </p:cNvSpPr>
            <p:nvPr/>
          </p:nvSpPr>
          <p:spPr bwMode="auto">
            <a:xfrm>
              <a:off x="4500680" y="3377822"/>
              <a:ext cx="390033" cy="466312"/>
            </a:xfrm>
            <a:custGeom>
              <a:avLst/>
              <a:gdLst>
                <a:gd name="T0" fmla="*/ 33 w 271"/>
                <a:gd name="T1" fmla="*/ 3 h 324"/>
                <a:gd name="T2" fmla="*/ 48 w 271"/>
                <a:gd name="T3" fmla="*/ 13 h 324"/>
                <a:gd name="T4" fmla="*/ 58 w 271"/>
                <a:gd name="T5" fmla="*/ 13 h 324"/>
                <a:gd name="T6" fmla="*/ 100 w 271"/>
                <a:gd name="T7" fmla="*/ 20 h 324"/>
                <a:gd name="T8" fmla="*/ 105 w 271"/>
                <a:gd name="T9" fmla="*/ 35 h 324"/>
                <a:gd name="T10" fmla="*/ 132 w 271"/>
                <a:gd name="T11" fmla="*/ 38 h 324"/>
                <a:gd name="T12" fmla="*/ 132 w 271"/>
                <a:gd name="T13" fmla="*/ 48 h 324"/>
                <a:gd name="T14" fmla="*/ 159 w 271"/>
                <a:gd name="T15" fmla="*/ 53 h 324"/>
                <a:gd name="T16" fmla="*/ 174 w 271"/>
                <a:gd name="T17" fmla="*/ 60 h 324"/>
                <a:gd name="T18" fmla="*/ 179 w 271"/>
                <a:gd name="T19" fmla="*/ 50 h 324"/>
                <a:gd name="T20" fmla="*/ 179 w 271"/>
                <a:gd name="T21" fmla="*/ 25 h 324"/>
                <a:gd name="T22" fmla="*/ 187 w 271"/>
                <a:gd name="T23" fmla="*/ 18 h 324"/>
                <a:gd name="T24" fmla="*/ 194 w 271"/>
                <a:gd name="T25" fmla="*/ 8 h 324"/>
                <a:gd name="T26" fmla="*/ 202 w 271"/>
                <a:gd name="T27" fmla="*/ 0 h 324"/>
                <a:gd name="T28" fmla="*/ 219 w 271"/>
                <a:gd name="T29" fmla="*/ 3 h 324"/>
                <a:gd name="T30" fmla="*/ 229 w 271"/>
                <a:gd name="T31" fmla="*/ 13 h 324"/>
                <a:gd name="T32" fmla="*/ 239 w 271"/>
                <a:gd name="T33" fmla="*/ 20 h 324"/>
                <a:gd name="T34" fmla="*/ 256 w 271"/>
                <a:gd name="T35" fmla="*/ 20 h 324"/>
                <a:gd name="T36" fmla="*/ 271 w 271"/>
                <a:gd name="T37" fmla="*/ 25 h 324"/>
                <a:gd name="T38" fmla="*/ 269 w 271"/>
                <a:gd name="T39" fmla="*/ 43 h 324"/>
                <a:gd name="T40" fmla="*/ 269 w 271"/>
                <a:gd name="T41" fmla="*/ 259 h 324"/>
                <a:gd name="T42" fmla="*/ 269 w 271"/>
                <a:gd name="T43" fmla="*/ 289 h 324"/>
                <a:gd name="T44" fmla="*/ 256 w 271"/>
                <a:gd name="T45" fmla="*/ 291 h 324"/>
                <a:gd name="T46" fmla="*/ 259 w 271"/>
                <a:gd name="T47" fmla="*/ 324 h 324"/>
                <a:gd name="T48" fmla="*/ 246 w 271"/>
                <a:gd name="T49" fmla="*/ 324 h 324"/>
                <a:gd name="T50" fmla="*/ 217 w 271"/>
                <a:gd name="T51" fmla="*/ 299 h 324"/>
                <a:gd name="T52" fmla="*/ 204 w 271"/>
                <a:gd name="T53" fmla="*/ 294 h 324"/>
                <a:gd name="T54" fmla="*/ 177 w 271"/>
                <a:gd name="T55" fmla="*/ 279 h 324"/>
                <a:gd name="T56" fmla="*/ 169 w 271"/>
                <a:gd name="T57" fmla="*/ 264 h 324"/>
                <a:gd name="T58" fmla="*/ 137 w 271"/>
                <a:gd name="T59" fmla="*/ 259 h 324"/>
                <a:gd name="T60" fmla="*/ 132 w 271"/>
                <a:gd name="T61" fmla="*/ 244 h 324"/>
                <a:gd name="T62" fmla="*/ 117 w 271"/>
                <a:gd name="T63" fmla="*/ 239 h 324"/>
                <a:gd name="T64" fmla="*/ 115 w 271"/>
                <a:gd name="T65" fmla="*/ 232 h 324"/>
                <a:gd name="T66" fmla="*/ 97 w 271"/>
                <a:gd name="T67" fmla="*/ 229 h 324"/>
                <a:gd name="T68" fmla="*/ 87 w 271"/>
                <a:gd name="T69" fmla="*/ 224 h 324"/>
                <a:gd name="T70" fmla="*/ 68 w 271"/>
                <a:gd name="T71" fmla="*/ 222 h 324"/>
                <a:gd name="T72" fmla="*/ 63 w 271"/>
                <a:gd name="T73" fmla="*/ 214 h 324"/>
                <a:gd name="T74" fmla="*/ 40 w 271"/>
                <a:gd name="T75" fmla="*/ 214 h 324"/>
                <a:gd name="T76" fmla="*/ 38 w 271"/>
                <a:gd name="T77" fmla="*/ 197 h 324"/>
                <a:gd name="T78" fmla="*/ 10 w 271"/>
                <a:gd name="T79" fmla="*/ 192 h 324"/>
                <a:gd name="T80" fmla="*/ 0 w 271"/>
                <a:gd name="T81" fmla="*/ 182 h 324"/>
                <a:gd name="T82" fmla="*/ 0 w 271"/>
                <a:gd name="T83" fmla="*/ 162 h 324"/>
                <a:gd name="T84" fmla="*/ 3 w 271"/>
                <a:gd name="T85" fmla="*/ 43 h 324"/>
                <a:gd name="T86" fmla="*/ 20 w 271"/>
                <a:gd name="T87" fmla="*/ 33 h 324"/>
                <a:gd name="T88" fmla="*/ 30 w 271"/>
                <a:gd name="T89" fmla="*/ 30 h 324"/>
                <a:gd name="T90" fmla="*/ 33 w 271"/>
                <a:gd name="T91" fmla="*/ 3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1" h="324">
                  <a:moveTo>
                    <a:pt x="33" y="3"/>
                  </a:moveTo>
                  <a:lnTo>
                    <a:pt x="48" y="13"/>
                  </a:lnTo>
                  <a:lnTo>
                    <a:pt x="58" y="13"/>
                  </a:lnTo>
                  <a:lnTo>
                    <a:pt x="100" y="20"/>
                  </a:lnTo>
                  <a:lnTo>
                    <a:pt x="105" y="35"/>
                  </a:lnTo>
                  <a:lnTo>
                    <a:pt x="132" y="38"/>
                  </a:lnTo>
                  <a:lnTo>
                    <a:pt x="132" y="48"/>
                  </a:lnTo>
                  <a:lnTo>
                    <a:pt x="159" y="53"/>
                  </a:lnTo>
                  <a:lnTo>
                    <a:pt x="174" y="60"/>
                  </a:lnTo>
                  <a:lnTo>
                    <a:pt x="179" y="50"/>
                  </a:lnTo>
                  <a:lnTo>
                    <a:pt x="179" y="25"/>
                  </a:lnTo>
                  <a:lnTo>
                    <a:pt x="187" y="18"/>
                  </a:lnTo>
                  <a:lnTo>
                    <a:pt x="194" y="8"/>
                  </a:lnTo>
                  <a:lnTo>
                    <a:pt x="202" y="0"/>
                  </a:lnTo>
                  <a:lnTo>
                    <a:pt x="219" y="3"/>
                  </a:lnTo>
                  <a:lnTo>
                    <a:pt x="229" y="13"/>
                  </a:lnTo>
                  <a:lnTo>
                    <a:pt x="239" y="20"/>
                  </a:lnTo>
                  <a:lnTo>
                    <a:pt x="256" y="20"/>
                  </a:lnTo>
                  <a:lnTo>
                    <a:pt x="271" y="25"/>
                  </a:lnTo>
                  <a:lnTo>
                    <a:pt x="269" y="43"/>
                  </a:lnTo>
                  <a:lnTo>
                    <a:pt x="269" y="259"/>
                  </a:lnTo>
                  <a:lnTo>
                    <a:pt x="269" y="289"/>
                  </a:lnTo>
                  <a:lnTo>
                    <a:pt x="256" y="291"/>
                  </a:lnTo>
                  <a:lnTo>
                    <a:pt x="259" y="324"/>
                  </a:lnTo>
                  <a:lnTo>
                    <a:pt x="246" y="324"/>
                  </a:lnTo>
                  <a:lnTo>
                    <a:pt x="217" y="299"/>
                  </a:lnTo>
                  <a:lnTo>
                    <a:pt x="204" y="294"/>
                  </a:lnTo>
                  <a:lnTo>
                    <a:pt x="177" y="279"/>
                  </a:lnTo>
                  <a:lnTo>
                    <a:pt x="169" y="264"/>
                  </a:lnTo>
                  <a:lnTo>
                    <a:pt x="137" y="259"/>
                  </a:lnTo>
                  <a:lnTo>
                    <a:pt x="132" y="244"/>
                  </a:lnTo>
                  <a:lnTo>
                    <a:pt x="117" y="239"/>
                  </a:lnTo>
                  <a:lnTo>
                    <a:pt x="115" y="232"/>
                  </a:lnTo>
                  <a:lnTo>
                    <a:pt x="97" y="229"/>
                  </a:lnTo>
                  <a:lnTo>
                    <a:pt x="87" y="224"/>
                  </a:lnTo>
                  <a:lnTo>
                    <a:pt x="68" y="222"/>
                  </a:lnTo>
                  <a:lnTo>
                    <a:pt x="63" y="214"/>
                  </a:lnTo>
                  <a:lnTo>
                    <a:pt x="40" y="214"/>
                  </a:lnTo>
                  <a:lnTo>
                    <a:pt x="38" y="197"/>
                  </a:lnTo>
                  <a:lnTo>
                    <a:pt x="10" y="192"/>
                  </a:lnTo>
                  <a:lnTo>
                    <a:pt x="0" y="182"/>
                  </a:lnTo>
                  <a:lnTo>
                    <a:pt x="0" y="162"/>
                  </a:lnTo>
                  <a:lnTo>
                    <a:pt x="3" y="43"/>
                  </a:lnTo>
                  <a:lnTo>
                    <a:pt x="20" y="33"/>
                  </a:lnTo>
                  <a:lnTo>
                    <a:pt x="30" y="30"/>
                  </a:lnTo>
                  <a:lnTo>
                    <a:pt x="3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97"/>
            <p:cNvSpPr>
              <a:spLocks/>
            </p:cNvSpPr>
            <p:nvPr/>
          </p:nvSpPr>
          <p:spPr bwMode="auto">
            <a:xfrm>
              <a:off x="4808676" y="3704529"/>
              <a:ext cx="390033" cy="564180"/>
            </a:xfrm>
            <a:custGeom>
              <a:avLst/>
              <a:gdLst>
                <a:gd name="T0" fmla="*/ 42 w 271"/>
                <a:gd name="T1" fmla="*/ 149 h 392"/>
                <a:gd name="T2" fmla="*/ 20 w 271"/>
                <a:gd name="T3" fmla="*/ 174 h 392"/>
                <a:gd name="T4" fmla="*/ 3 w 271"/>
                <a:gd name="T5" fmla="*/ 191 h 392"/>
                <a:gd name="T6" fmla="*/ 15 w 271"/>
                <a:gd name="T7" fmla="*/ 209 h 392"/>
                <a:gd name="T8" fmla="*/ 25 w 271"/>
                <a:gd name="T9" fmla="*/ 226 h 392"/>
                <a:gd name="T10" fmla="*/ 23 w 271"/>
                <a:gd name="T11" fmla="*/ 241 h 392"/>
                <a:gd name="T12" fmla="*/ 40 w 271"/>
                <a:gd name="T13" fmla="*/ 273 h 392"/>
                <a:gd name="T14" fmla="*/ 45 w 271"/>
                <a:gd name="T15" fmla="*/ 291 h 392"/>
                <a:gd name="T16" fmla="*/ 60 w 271"/>
                <a:gd name="T17" fmla="*/ 298 h 392"/>
                <a:gd name="T18" fmla="*/ 80 w 271"/>
                <a:gd name="T19" fmla="*/ 320 h 392"/>
                <a:gd name="T20" fmla="*/ 92 w 271"/>
                <a:gd name="T21" fmla="*/ 343 h 392"/>
                <a:gd name="T22" fmla="*/ 102 w 271"/>
                <a:gd name="T23" fmla="*/ 355 h 392"/>
                <a:gd name="T24" fmla="*/ 105 w 271"/>
                <a:gd name="T25" fmla="*/ 373 h 392"/>
                <a:gd name="T26" fmla="*/ 152 w 271"/>
                <a:gd name="T27" fmla="*/ 387 h 392"/>
                <a:gd name="T28" fmla="*/ 164 w 271"/>
                <a:gd name="T29" fmla="*/ 392 h 392"/>
                <a:gd name="T30" fmla="*/ 202 w 271"/>
                <a:gd name="T31" fmla="*/ 392 h 392"/>
                <a:gd name="T32" fmla="*/ 246 w 271"/>
                <a:gd name="T33" fmla="*/ 368 h 392"/>
                <a:gd name="T34" fmla="*/ 239 w 271"/>
                <a:gd name="T35" fmla="*/ 343 h 392"/>
                <a:gd name="T36" fmla="*/ 224 w 271"/>
                <a:gd name="T37" fmla="*/ 333 h 392"/>
                <a:gd name="T38" fmla="*/ 214 w 271"/>
                <a:gd name="T39" fmla="*/ 315 h 392"/>
                <a:gd name="T40" fmla="*/ 221 w 271"/>
                <a:gd name="T41" fmla="*/ 296 h 392"/>
                <a:gd name="T42" fmla="*/ 241 w 271"/>
                <a:gd name="T43" fmla="*/ 256 h 392"/>
                <a:gd name="T44" fmla="*/ 266 w 271"/>
                <a:gd name="T45" fmla="*/ 211 h 392"/>
                <a:gd name="T46" fmla="*/ 251 w 271"/>
                <a:gd name="T47" fmla="*/ 159 h 392"/>
                <a:gd name="T48" fmla="*/ 269 w 271"/>
                <a:gd name="T49" fmla="*/ 146 h 392"/>
                <a:gd name="T50" fmla="*/ 259 w 271"/>
                <a:gd name="T51" fmla="*/ 114 h 392"/>
                <a:gd name="T52" fmla="*/ 271 w 271"/>
                <a:gd name="T53" fmla="*/ 57 h 392"/>
                <a:gd name="T54" fmla="*/ 259 w 271"/>
                <a:gd name="T55" fmla="*/ 20 h 392"/>
                <a:gd name="T56" fmla="*/ 207 w 271"/>
                <a:gd name="T57" fmla="*/ 25 h 392"/>
                <a:gd name="T58" fmla="*/ 80 w 271"/>
                <a:gd name="T59" fmla="*/ 17 h 392"/>
                <a:gd name="T60" fmla="*/ 55 w 271"/>
                <a:gd name="T61" fmla="*/ 32 h 392"/>
                <a:gd name="T62" fmla="*/ 42 w 271"/>
                <a:gd name="T63" fmla="*/ 64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392">
                  <a:moveTo>
                    <a:pt x="45" y="97"/>
                  </a:moveTo>
                  <a:lnTo>
                    <a:pt x="42" y="149"/>
                  </a:lnTo>
                  <a:lnTo>
                    <a:pt x="32" y="154"/>
                  </a:lnTo>
                  <a:lnTo>
                    <a:pt x="20" y="174"/>
                  </a:lnTo>
                  <a:lnTo>
                    <a:pt x="18" y="191"/>
                  </a:lnTo>
                  <a:lnTo>
                    <a:pt x="3" y="191"/>
                  </a:lnTo>
                  <a:lnTo>
                    <a:pt x="0" y="204"/>
                  </a:lnTo>
                  <a:lnTo>
                    <a:pt x="15" y="209"/>
                  </a:lnTo>
                  <a:lnTo>
                    <a:pt x="18" y="223"/>
                  </a:lnTo>
                  <a:lnTo>
                    <a:pt x="25" y="226"/>
                  </a:lnTo>
                  <a:lnTo>
                    <a:pt x="25" y="236"/>
                  </a:lnTo>
                  <a:lnTo>
                    <a:pt x="23" y="241"/>
                  </a:lnTo>
                  <a:lnTo>
                    <a:pt x="30" y="256"/>
                  </a:lnTo>
                  <a:lnTo>
                    <a:pt x="40" y="273"/>
                  </a:lnTo>
                  <a:lnTo>
                    <a:pt x="37" y="288"/>
                  </a:lnTo>
                  <a:lnTo>
                    <a:pt x="45" y="291"/>
                  </a:lnTo>
                  <a:lnTo>
                    <a:pt x="47" y="300"/>
                  </a:lnTo>
                  <a:lnTo>
                    <a:pt x="60" y="298"/>
                  </a:lnTo>
                  <a:lnTo>
                    <a:pt x="65" y="315"/>
                  </a:lnTo>
                  <a:lnTo>
                    <a:pt x="80" y="320"/>
                  </a:lnTo>
                  <a:lnTo>
                    <a:pt x="85" y="340"/>
                  </a:lnTo>
                  <a:lnTo>
                    <a:pt x="92" y="343"/>
                  </a:lnTo>
                  <a:lnTo>
                    <a:pt x="97" y="350"/>
                  </a:lnTo>
                  <a:lnTo>
                    <a:pt x="102" y="355"/>
                  </a:lnTo>
                  <a:lnTo>
                    <a:pt x="100" y="365"/>
                  </a:lnTo>
                  <a:lnTo>
                    <a:pt x="105" y="373"/>
                  </a:lnTo>
                  <a:lnTo>
                    <a:pt x="147" y="378"/>
                  </a:lnTo>
                  <a:lnTo>
                    <a:pt x="152" y="387"/>
                  </a:lnTo>
                  <a:lnTo>
                    <a:pt x="164" y="390"/>
                  </a:lnTo>
                  <a:lnTo>
                    <a:pt x="164" y="392"/>
                  </a:lnTo>
                  <a:lnTo>
                    <a:pt x="184" y="392"/>
                  </a:lnTo>
                  <a:lnTo>
                    <a:pt x="202" y="392"/>
                  </a:lnTo>
                  <a:lnTo>
                    <a:pt x="221" y="387"/>
                  </a:lnTo>
                  <a:lnTo>
                    <a:pt x="246" y="368"/>
                  </a:lnTo>
                  <a:lnTo>
                    <a:pt x="246" y="358"/>
                  </a:lnTo>
                  <a:lnTo>
                    <a:pt x="239" y="343"/>
                  </a:lnTo>
                  <a:lnTo>
                    <a:pt x="231" y="338"/>
                  </a:lnTo>
                  <a:lnTo>
                    <a:pt x="224" y="333"/>
                  </a:lnTo>
                  <a:lnTo>
                    <a:pt x="221" y="318"/>
                  </a:lnTo>
                  <a:lnTo>
                    <a:pt x="214" y="315"/>
                  </a:lnTo>
                  <a:lnTo>
                    <a:pt x="204" y="298"/>
                  </a:lnTo>
                  <a:lnTo>
                    <a:pt x="221" y="296"/>
                  </a:lnTo>
                  <a:lnTo>
                    <a:pt x="226" y="256"/>
                  </a:lnTo>
                  <a:lnTo>
                    <a:pt x="241" y="256"/>
                  </a:lnTo>
                  <a:lnTo>
                    <a:pt x="244" y="216"/>
                  </a:lnTo>
                  <a:lnTo>
                    <a:pt x="266" y="211"/>
                  </a:lnTo>
                  <a:lnTo>
                    <a:pt x="264" y="164"/>
                  </a:lnTo>
                  <a:lnTo>
                    <a:pt x="251" y="159"/>
                  </a:lnTo>
                  <a:lnTo>
                    <a:pt x="251" y="146"/>
                  </a:lnTo>
                  <a:lnTo>
                    <a:pt x="269" y="146"/>
                  </a:lnTo>
                  <a:lnTo>
                    <a:pt x="266" y="131"/>
                  </a:lnTo>
                  <a:lnTo>
                    <a:pt x="259" y="114"/>
                  </a:lnTo>
                  <a:lnTo>
                    <a:pt x="259" y="92"/>
                  </a:lnTo>
                  <a:lnTo>
                    <a:pt x="271" y="57"/>
                  </a:lnTo>
                  <a:lnTo>
                    <a:pt x="269" y="39"/>
                  </a:lnTo>
                  <a:lnTo>
                    <a:pt x="259" y="20"/>
                  </a:lnTo>
                  <a:lnTo>
                    <a:pt x="236" y="0"/>
                  </a:lnTo>
                  <a:lnTo>
                    <a:pt x="207" y="25"/>
                  </a:lnTo>
                  <a:lnTo>
                    <a:pt x="197" y="17"/>
                  </a:lnTo>
                  <a:lnTo>
                    <a:pt x="80" y="17"/>
                  </a:lnTo>
                  <a:lnTo>
                    <a:pt x="67" y="25"/>
                  </a:lnTo>
                  <a:lnTo>
                    <a:pt x="55" y="32"/>
                  </a:lnTo>
                  <a:lnTo>
                    <a:pt x="55" y="62"/>
                  </a:lnTo>
                  <a:lnTo>
                    <a:pt x="42" y="64"/>
                  </a:lnTo>
                  <a:lnTo>
                    <a:pt x="45" y="9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98"/>
            <p:cNvSpPr>
              <a:spLocks/>
            </p:cNvSpPr>
            <p:nvPr/>
          </p:nvSpPr>
          <p:spPr bwMode="auto">
            <a:xfrm>
              <a:off x="6498339" y="3536138"/>
              <a:ext cx="67645" cy="38860"/>
            </a:xfrm>
            <a:custGeom>
              <a:avLst/>
              <a:gdLst>
                <a:gd name="T0" fmla="*/ 42 w 47"/>
                <a:gd name="T1" fmla="*/ 27 h 27"/>
                <a:gd name="T2" fmla="*/ 22 w 47"/>
                <a:gd name="T3" fmla="*/ 27 h 27"/>
                <a:gd name="T4" fmla="*/ 5 w 47"/>
                <a:gd name="T5" fmla="*/ 20 h 27"/>
                <a:gd name="T6" fmla="*/ 0 w 47"/>
                <a:gd name="T7" fmla="*/ 0 h 27"/>
                <a:gd name="T8" fmla="*/ 19 w 47"/>
                <a:gd name="T9" fmla="*/ 10 h 27"/>
                <a:gd name="T10" fmla="*/ 47 w 47"/>
                <a:gd name="T11" fmla="*/ 10 h 27"/>
                <a:gd name="T12" fmla="*/ 42 w 47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27">
                  <a:moveTo>
                    <a:pt x="42" y="27"/>
                  </a:moveTo>
                  <a:lnTo>
                    <a:pt x="22" y="27"/>
                  </a:lnTo>
                  <a:lnTo>
                    <a:pt x="5" y="20"/>
                  </a:lnTo>
                  <a:lnTo>
                    <a:pt x="0" y="0"/>
                  </a:lnTo>
                  <a:lnTo>
                    <a:pt x="19" y="10"/>
                  </a:lnTo>
                  <a:lnTo>
                    <a:pt x="47" y="10"/>
                  </a:lnTo>
                  <a:lnTo>
                    <a:pt x="42" y="2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99"/>
            <p:cNvSpPr>
              <a:spLocks/>
            </p:cNvSpPr>
            <p:nvPr/>
          </p:nvSpPr>
          <p:spPr bwMode="auto">
            <a:xfrm>
              <a:off x="4479092" y="4309007"/>
              <a:ext cx="165512" cy="192858"/>
            </a:xfrm>
            <a:custGeom>
              <a:avLst/>
              <a:gdLst>
                <a:gd name="T0" fmla="*/ 85 w 115"/>
                <a:gd name="T1" fmla="*/ 0 h 134"/>
                <a:gd name="T2" fmla="*/ 58 w 115"/>
                <a:gd name="T3" fmla="*/ 2 h 134"/>
                <a:gd name="T4" fmla="*/ 48 w 115"/>
                <a:gd name="T5" fmla="*/ 12 h 134"/>
                <a:gd name="T6" fmla="*/ 48 w 115"/>
                <a:gd name="T7" fmla="*/ 20 h 134"/>
                <a:gd name="T8" fmla="*/ 43 w 115"/>
                <a:gd name="T9" fmla="*/ 32 h 134"/>
                <a:gd name="T10" fmla="*/ 23 w 115"/>
                <a:gd name="T11" fmla="*/ 35 h 134"/>
                <a:gd name="T12" fmla="*/ 18 w 115"/>
                <a:gd name="T13" fmla="*/ 30 h 134"/>
                <a:gd name="T14" fmla="*/ 18 w 115"/>
                <a:gd name="T15" fmla="*/ 52 h 134"/>
                <a:gd name="T16" fmla="*/ 5 w 115"/>
                <a:gd name="T17" fmla="*/ 59 h 134"/>
                <a:gd name="T18" fmla="*/ 0 w 115"/>
                <a:gd name="T19" fmla="*/ 64 h 134"/>
                <a:gd name="T20" fmla="*/ 10 w 115"/>
                <a:gd name="T21" fmla="*/ 69 h 134"/>
                <a:gd name="T22" fmla="*/ 8 w 115"/>
                <a:gd name="T23" fmla="*/ 87 h 134"/>
                <a:gd name="T24" fmla="*/ 30 w 115"/>
                <a:gd name="T25" fmla="*/ 107 h 134"/>
                <a:gd name="T26" fmla="*/ 48 w 115"/>
                <a:gd name="T27" fmla="*/ 127 h 134"/>
                <a:gd name="T28" fmla="*/ 55 w 115"/>
                <a:gd name="T29" fmla="*/ 134 h 134"/>
                <a:gd name="T30" fmla="*/ 60 w 115"/>
                <a:gd name="T31" fmla="*/ 124 h 134"/>
                <a:gd name="T32" fmla="*/ 68 w 115"/>
                <a:gd name="T33" fmla="*/ 109 h 134"/>
                <a:gd name="T34" fmla="*/ 58 w 115"/>
                <a:gd name="T35" fmla="*/ 104 h 134"/>
                <a:gd name="T36" fmla="*/ 58 w 115"/>
                <a:gd name="T37" fmla="*/ 94 h 134"/>
                <a:gd name="T38" fmla="*/ 70 w 115"/>
                <a:gd name="T39" fmla="*/ 89 h 134"/>
                <a:gd name="T40" fmla="*/ 78 w 115"/>
                <a:gd name="T41" fmla="*/ 87 h 134"/>
                <a:gd name="T42" fmla="*/ 87 w 115"/>
                <a:gd name="T43" fmla="*/ 99 h 134"/>
                <a:gd name="T44" fmla="*/ 102 w 115"/>
                <a:gd name="T45" fmla="*/ 92 h 134"/>
                <a:gd name="T46" fmla="*/ 115 w 115"/>
                <a:gd name="T47" fmla="*/ 74 h 134"/>
                <a:gd name="T48" fmla="*/ 110 w 115"/>
                <a:gd name="T49" fmla="*/ 59 h 134"/>
                <a:gd name="T50" fmla="*/ 102 w 115"/>
                <a:gd name="T51" fmla="*/ 50 h 134"/>
                <a:gd name="T52" fmla="*/ 97 w 115"/>
                <a:gd name="T53" fmla="*/ 37 h 134"/>
                <a:gd name="T54" fmla="*/ 100 w 115"/>
                <a:gd name="T55" fmla="*/ 27 h 134"/>
                <a:gd name="T56" fmla="*/ 97 w 115"/>
                <a:gd name="T57" fmla="*/ 17 h 134"/>
                <a:gd name="T58" fmla="*/ 85 w 115"/>
                <a:gd name="T59" fmla="*/ 17 h 134"/>
                <a:gd name="T60" fmla="*/ 85 w 115"/>
                <a:gd name="T6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5" h="134">
                  <a:moveTo>
                    <a:pt x="85" y="0"/>
                  </a:moveTo>
                  <a:lnTo>
                    <a:pt x="58" y="2"/>
                  </a:lnTo>
                  <a:lnTo>
                    <a:pt x="48" y="12"/>
                  </a:lnTo>
                  <a:lnTo>
                    <a:pt x="48" y="20"/>
                  </a:lnTo>
                  <a:lnTo>
                    <a:pt x="43" y="32"/>
                  </a:lnTo>
                  <a:lnTo>
                    <a:pt x="23" y="35"/>
                  </a:lnTo>
                  <a:lnTo>
                    <a:pt x="18" y="30"/>
                  </a:lnTo>
                  <a:lnTo>
                    <a:pt x="18" y="52"/>
                  </a:lnTo>
                  <a:lnTo>
                    <a:pt x="5" y="59"/>
                  </a:lnTo>
                  <a:lnTo>
                    <a:pt x="0" y="64"/>
                  </a:lnTo>
                  <a:lnTo>
                    <a:pt x="10" y="69"/>
                  </a:lnTo>
                  <a:lnTo>
                    <a:pt x="8" y="87"/>
                  </a:lnTo>
                  <a:lnTo>
                    <a:pt x="30" y="107"/>
                  </a:lnTo>
                  <a:lnTo>
                    <a:pt x="48" y="127"/>
                  </a:lnTo>
                  <a:lnTo>
                    <a:pt x="55" y="134"/>
                  </a:lnTo>
                  <a:lnTo>
                    <a:pt x="60" y="124"/>
                  </a:lnTo>
                  <a:lnTo>
                    <a:pt x="68" y="109"/>
                  </a:lnTo>
                  <a:lnTo>
                    <a:pt x="58" y="104"/>
                  </a:lnTo>
                  <a:lnTo>
                    <a:pt x="58" y="94"/>
                  </a:lnTo>
                  <a:lnTo>
                    <a:pt x="70" y="89"/>
                  </a:lnTo>
                  <a:lnTo>
                    <a:pt x="78" y="87"/>
                  </a:lnTo>
                  <a:lnTo>
                    <a:pt x="87" y="99"/>
                  </a:lnTo>
                  <a:lnTo>
                    <a:pt x="102" y="92"/>
                  </a:lnTo>
                  <a:lnTo>
                    <a:pt x="115" y="74"/>
                  </a:lnTo>
                  <a:lnTo>
                    <a:pt x="110" y="59"/>
                  </a:lnTo>
                  <a:lnTo>
                    <a:pt x="102" y="50"/>
                  </a:lnTo>
                  <a:lnTo>
                    <a:pt x="97" y="37"/>
                  </a:lnTo>
                  <a:lnTo>
                    <a:pt x="100" y="27"/>
                  </a:lnTo>
                  <a:lnTo>
                    <a:pt x="97" y="17"/>
                  </a:lnTo>
                  <a:lnTo>
                    <a:pt x="85" y="17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200"/>
            <p:cNvSpPr>
              <a:spLocks/>
            </p:cNvSpPr>
            <p:nvPr/>
          </p:nvSpPr>
          <p:spPr bwMode="auto">
            <a:xfrm>
              <a:off x="5102280" y="3389336"/>
              <a:ext cx="28785" cy="89233"/>
            </a:xfrm>
            <a:custGeom>
              <a:avLst/>
              <a:gdLst>
                <a:gd name="T0" fmla="*/ 0 w 20"/>
                <a:gd name="T1" fmla="*/ 37 h 62"/>
                <a:gd name="T2" fmla="*/ 15 w 20"/>
                <a:gd name="T3" fmla="*/ 62 h 62"/>
                <a:gd name="T4" fmla="*/ 20 w 20"/>
                <a:gd name="T5" fmla="*/ 37 h 62"/>
                <a:gd name="T6" fmla="*/ 20 w 20"/>
                <a:gd name="T7" fmla="*/ 0 h 62"/>
                <a:gd name="T8" fmla="*/ 0 w 20"/>
                <a:gd name="T9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2">
                  <a:moveTo>
                    <a:pt x="0" y="37"/>
                  </a:moveTo>
                  <a:lnTo>
                    <a:pt x="15" y="62"/>
                  </a:lnTo>
                  <a:lnTo>
                    <a:pt x="20" y="37"/>
                  </a:lnTo>
                  <a:lnTo>
                    <a:pt x="2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01"/>
            <p:cNvSpPr>
              <a:spLocks/>
            </p:cNvSpPr>
            <p:nvPr/>
          </p:nvSpPr>
          <p:spPr bwMode="auto">
            <a:xfrm>
              <a:off x="5131065" y="3331766"/>
              <a:ext cx="35981" cy="57569"/>
            </a:xfrm>
            <a:custGeom>
              <a:avLst/>
              <a:gdLst>
                <a:gd name="T0" fmla="*/ 0 w 25"/>
                <a:gd name="T1" fmla="*/ 40 h 40"/>
                <a:gd name="T2" fmla="*/ 17 w 25"/>
                <a:gd name="T3" fmla="*/ 30 h 40"/>
                <a:gd name="T4" fmla="*/ 25 w 25"/>
                <a:gd name="T5" fmla="*/ 10 h 40"/>
                <a:gd name="T6" fmla="*/ 10 w 25"/>
                <a:gd name="T7" fmla="*/ 0 h 40"/>
                <a:gd name="T8" fmla="*/ 0 w 25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0">
                  <a:moveTo>
                    <a:pt x="0" y="40"/>
                  </a:moveTo>
                  <a:lnTo>
                    <a:pt x="17" y="30"/>
                  </a:lnTo>
                  <a:lnTo>
                    <a:pt x="25" y="10"/>
                  </a:lnTo>
                  <a:lnTo>
                    <a:pt x="10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02"/>
            <p:cNvSpPr>
              <a:spLocks/>
            </p:cNvSpPr>
            <p:nvPr/>
          </p:nvSpPr>
          <p:spPr bwMode="auto">
            <a:xfrm>
              <a:off x="2169118" y="4104636"/>
              <a:ext cx="149680" cy="89233"/>
            </a:xfrm>
            <a:custGeom>
              <a:avLst/>
              <a:gdLst>
                <a:gd name="T0" fmla="*/ 14 w 104"/>
                <a:gd name="T1" fmla="*/ 8 h 62"/>
                <a:gd name="T2" fmla="*/ 0 w 104"/>
                <a:gd name="T3" fmla="*/ 15 h 62"/>
                <a:gd name="T4" fmla="*/ 0 w 104"/>
                <a:gd name="T5" fmla="*/ 35 h 62"/>
                <a:gd name="T6" fmla="*/ 37 w 104"/>
                <a:gd name="T7" fmla="*/ 40 h 62"/>
                <a:gd name="T8" fmla="*/ 49 w 104"/>
                <a:gd name="T9" fmla="*/ 52 h 62"/>
                <a:gd name="T10" fmla="*/ 64 w 104"/>
                <a:gd name="T11" fmla="*/ 42 h 62"/>
                <a:gd name="T12" fmla="*/ 59 w 104"/>
                <a:gd name="T13" fmla="*/ 27 h 62"/>
                <a:gd name="T14" fmla="*/ 77 w 104"/>
                <a:gd name="T15" fmla="*/ 27 h 62"/>
                <a:gd name="T16" fmla="*/ 94 w 104"/>
                <a:gd name="T17" fmla="*/ 47 h 62"/>
                <a:gd name="T18" fmla="*/ 101 w 104"/>
                <a:gd name="T19" fmla="*/ 62 h 62"/>
                <a:gd name="T20" fmla="*/ 104 w 104"/>
                <a:gd name="T21" fmla="*/ 22 h 62"/>
                <a:gd name="T22" fmla="*/ 82 w 104"/>
                <a:gd name="T23" fmla="*/ 8 h 62"/>
                <a:gd name="T24" fmla="*/ 62 w 104"/>
                <a:gd name="T25" fmla="*/ 0 h 62"/>
                <a:gd name="T26" fmla="*/ 49 w 104"/>
                <a:gd name="T27" fmla="*/ 15 h 62"/>
                <a:gd name="T28" fmla="*/ 14 w 104"/>
                <a:gd name="T29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62">
                  <a:moveTo>
                    <a:pt x="14" y="8"/>
                  </a:moveTo>
                  <a:lnTo>
                    <a:pt x="0" y="15"/>
                  </a:lnTo>
                  <a:lnTo>
                    <a:pt x="0" y="35"/>
                  </a:lnTo>
                  <a:lnTo>
                    <a:pt x="37" y="40"/>
                  </a:lnTo>
                  <a:lnTo>
                    <a:pt x="49" y="52"/>
                  </a:lnTo>
                  <a:lnTo>
                    <a:pt x="64" y="42"/>
                  </a:lnTo>
                  <a:lnTo>
                    <a:pt x="59" y="27"/>
                  </a:lnTo>
                  <a:lnTo>
                    <a:pt x="77" y="27"/>
                  </a:lnTo>
                  <a:lnTo>
                    <a:pt x="94" y="47"/>
                  </a:lnTo>
                  <a:lnTo>
                    <a:pt x="101" y="62"/>
                  </a:lnTo>
                  <a:lnTo>
                    <a:pt x="104" y="22"/>
                  </a:lnTo>
                  <a:lnTo>
                    <a:pt x="82" y="8"/>
                  </a:lnTo>
                  <a:lnTo>
                    <a:pt x="62" y="0"/>
                  </a:lnTo>
                  <a:lnTo>
                    <a:pt x="49" y="15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03"/>
            <p:cNvSpPr>
              <a:spLocks/>
            </p:cNvSpPr>
            <p:nvPr/>
          </p:nvSpPr>
          <p:spPr bwMode="auto">
            <a:xfrm>
              <a:off x="2225249" y="4359380"/>
              <a:ext cx="194296" cy="178465"/>
            </a:xfrm>
            <a:custGeom>
              <a:avLst/>
              <a:gdLst>
                <a:gd name="T0" fmla="*/ 135 w 135"/>
                <a:gd name="T1" fmla="*/ 57 h 124"/>
                <a:gd name="T2" fmla="*/ 120 w 135"/>
                <a:gd name="T3" fmla="*/ 37 h 124"/>
                <a:gd name="T4" fmla="*/ 102 w 135"/>
                <a:gd name="T5" fmla="*/ 24 h 124"/>
                <a:gd name="T6" fmla="*/ 87 w 135"/>
                <a:gd name="T7" fmla="*/ 12 h 124"/>
                <a:gd name="T8" fmla="*/ 60 w 135"/>
                <a:gd name="T9" fmla="*/ 15 h 124"/>
                <a:gd name="T10" fmla="*/ 33 w 135"/>
                <a:gd name="T11" fmla="*/ 0 h 124"/>
                <a:gd name="T12" fmla="*/ 18 w 135"/>
                <a:gd name="T13" fmla="*/ 7 h 124"/>
                <a:gd name="T14" fmla="*/ 15 w 135"/>
                <a:gd name="T15" fmla="*/ 27 h 124"/>
                <a:gd name="T16" fmla="*/ 8 w 135"/>
                <a:gd name="T17" fmla="*/ 39 h 124"/>
                <a:gd name="T18" fmla="*/ 0 w 135"/>
                <a:gd name="T19" fmla="*/ 52 h 124"/>
                <a:gd name="T20" fmla="*/ 8 w 135"/>
                <a:gd name="T21" fmla="*/ 67 h 124"/>
                <a:gd name="T22" fmla="*/ 18 w 135"/>
                <a:gd name="T23" fmla="*/ 77 h 124"/>
                <a:gd name="T24" fmla="*/ 20 w 135"/>
                <a:gd name="T25" fmla="*/ 92 h 124"/>
                <a:gd name="T26" fmla="*/ 20 w 135"/>
                <a:gd name="T27" fmla="*/ 109 h 124"/>
                <a:gd name="T28" fmla="*/ 33 w 135"/>
                <a:gd name="T29" fmla="*/ 124 h 124"/>
                <a:gd name="T30" fmla="*/ 50 w 135"/>
                <a:gd name="T31" fmla="*/ 109 h 124"/>
                <a:gd name="T32" fmla="*/ 75 w 135"/>
                <a:gd name="T33" fmla="*/ 92 h 124"/>
                <a:gd name="T34" fmla="*/ 127 w 135"/>
                <a:gd name="T35" fmla="*/ 69 h 124"/>
                <a:gd name="T36" fmla="*/ 135 w 135"/>
                <a:gd name="T37" fmla="*/ 5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124">
                  <a:moveTo>
                    <a:pt x="135" y="57"/>
                  </a:moveTo>
                  <a:lnTo>
                    <a:pt x="120" y="37"/>
                  </a:lnTo>
                  <a:lnTo>
                    <a:pt x="102" y="24"/>
                  </a:lnTo>
                  <a:lnTo>
                    <a:pt x="87" y="12"/>
                  </a:lnTo>
                  <a:lnTo>
                    <a:pt x="60" y="15"/>
                  </a:lnTo>
                  <a:lnTo>
                    <a:pt x="33" y="0"/>
                  </a:lnTo>
                  <a:lnTo>
                    <a:pt x="18" y="7"/>
                  </a:lnTo>
                  <a:lnTo>
                    <a:pt x="15" y="27"/>
                  </a:lnTo>
                  <a:lnTo>
                    <a:pt x="8" y="39"/>
                  </a:lnTo>
                  <a:lnTo>
                    <a:pt x="0" y="52"/>
                  </a:lnTo>
                  <a:lnTo>
                    <a:pt x="8" y="67"/>
                  </a:lnTo>
                  <a:lnTo>
                    <a:pt x="18" y="77"/>
                  </a:lnTo>
                  <a:lnTo>
                    <a:pt x="20" y="92"/>
                  </a:lnTo>
                  <a:lnTo>
                    <a:pt x="20" y="109"/>
                  </a:lnTo>
                  <a:lnTo>
                    <a:pt x="33" y="124"/>
                  </a:lnTo>
                  <a:lnTo>
                    <a:pt x="50" y="109"/>
                  </a:lnTo>
                  <a:lnTo>
                    <a:pt x="75" y="92"/>
                  </a:lnTo>
                  <a:lnTo>
                    <a:pt x="127" y="69"/>
                  </a:lnTo>
                  <a:lnTo>
                    <a:pt x="13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04"/>
            <p:cNvSpPr>
              <a:spLocks/>
            </p:cNvSpPr>
            <p:nvPr/>
          </p:nvSpPr>
          <p:spPr bwMode="auto">
            <a:xfrm>
              <a:off x="2730420" y="4136299"/>
              <a:ext cx="110822" cy="223081"/>
            </a:xfrm>
            <a:custGeom>
              <a:avLst/>
              <a:gdLst>
                <a:gd name="T0" fmla="*/ 20 w 77"/>
                <a:gd name="T1" fmla="*/ 0 h 155"/>
                <a:gd name="T2" fmla="*/ 22 w 77"/>
                <a:gd name="T3" fmla="*/ 20 h 155"/>
                <a:gd name="T4" fmla="*/ 15 w 77"/>
                <a:gd name="T5" fmla="*/ 28 h 155"/>
                <a:gd name="T6" fmla="*/ 10 w 77"/>
                <a:gd name="T7" fmla="*/ 35 h 155"/>
                <a:gd name="T8" fmla="*/ 0 w 77"/>
                <a:gd name="T9" fmla="*/ 45 h 155"/>
                <a:gd name="T10" fmla="*/ 0 w 77"/>
                <a:gd name="T11" fmla="*/ 63 h 155"/>
                <a:gd name="T12" fmla="*/ 7 w 77"/>
                <a:gd name="T13" fmla="*/ 75 h 155"/>
                <a:gd name="T14" fmla="*/ 7 w 77"/>
                <a:gd name="T15" fmla="*/ 87 h 155"/>
                <a:gd name="T16" fmla="*/ 22 w 77"/>
                <a:gd name="T17" fmla="*/ 92 h 155"/>
                <a:gd name="T18" fmla="*/ 25 w 77"/>
                <a:gd name="T19" fmla="*/ 112 h 155"/>
                <a:gd name="T20" fmla="*/ 22 w 77"/>
                <a:gd name="T21" fmla="*/ 127 h 155"/>
                <a:gd name="T22" fmla="*/ 30 w 77"/>
                <a:gd name="T23" fmla="*/ 145 h 155"/>
                <a:gd name="T24" fmla="*/ 40 w 77"/>
                <a:gd name="T25" fmla="*/ 155 h 155"/>
                <a:gd name="T26" fmla="*/ 50 w 77"/>
                <a:gd name="T27" fmla="*/ 152 h 155"/>
                <a:gd name="T28" fmla="*/ 55 w 77"/>
                <a:gd name="T29" fmla="*/ 145 h 155"/>
                <a:gd name="T30" fmla="*/ 69 w 77"/>
                <a:gd name="T31" fmla="*/ 145 h 155"/>
                <a:gd name="T32" fmla="*/ 74 w 77"/>
                <a:gd name="T33" fmla="*/ 135 h 155"/>
                <a:gd name="T34" fmla="*/ 72 w 77"/>
                <a:gd name="T35" fmla="*/ 117 h 155"/>
                <a:gd name="T36" fmla="*/ 62 w 77"/>
                <a:gd name="T37" fmla="*/ 112 h 155"/>
                <a:gd name="T38" fmla="*/ 55 w 77"/>
                <a:gd name="T39" fmla="*/ 105 h 155"/>
                <a:gd name="T40" fmla="*/ 55 w 77"/>
                <a:gd name="T41" fmla="*/ 87 h 155"/>
                <a:gd name="T42" fmla="*/ 62 w 77"/>
                <a:gd name="T43" fmla="*/ 83 h 155"/>
                <a:gd name="T44" fmla="*/ 77 w 77"/>
                <a:gd name="T45" fmla="*/ 83 h 155"/>
                <a:gd name="T46" fmla="*/ 77 w 77"/>
                <a:gd name="T47" fmla="*/ 65 h 155"/>
                <a:gd name="T48" fmla="*/ 74 w 77"/>
                <a:gd name="T49" fmla="*/ 45 h 155"/>
                <a:gd name="T50" fmla="*/ 67 w 77"/>
                <a:gd name="T51" fmla="*/ 38 h 155"/>
                <a:gd name="T52" fmla="*/ 52 w 77"/>
                <a:gd name="T53" fmla="*/ 38 h 155"/>
                <a:gd name="T54" fmla="*/ 50 w 77"/>
                <a:gd name="T55" fmla="*/ 20 h 155"/>
                <a:gd name="T56" fmla="*/ 40 w 77"/>
                <a:gd name="T57" fmla="*/ 20 h 155"/>
                <a:gd name="T58" fmla="*/ 35 w 77"/>
                <a:gd name="T59" fmla="*/ 3 h 155"/>
                <a:gd name="T60" fmla="*/ 20 w 77"/>
                <a:gd name="T61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7" h="155">
                  <a:moveTo>
                    <a:pt x="20" y="0"/>
                  </a:moveTo>
                  <a:lnTo>
                    <a:pt x="22" y="20"/>
                  </a:lnTo>
                  <a:lnTo>
                    <a:pt x="15" y="28"/>
                  </a:lnTo>
                  <a:lnTo>
                    <a:pt x="10" y="35"/>
                  </a:lnTo>
                  <a:lnTo>
                    <a:pt x="0" y="45"/>
                  </a:lnTo>
                  <a:lnTo>
                    <a:pt x="0" y="63"/>
                  </a:lnTo>
                  <a:lnTo>
                    <a:pt x="7" y="75"/>
                  </a:lnTo>
                  <a:lnTo>
                    <a:pt x="7" y="87"/>
                  </a:lnTo>
                  <a:lnTo>
                    <a:pt x="22" y="92"/>
                  </a:lnTo>
                  <a:lnTo>
                    <a:pt x="25" y="112"/>
                  </a:lnTo>
                  <a:lnTo>
                    <a:pt x="22" y="127"/>
                  </a:lnTo>
                  <a:lnTo>
                    <a:pt x="30" y="145"/>
                  </a:lnTo>
                  <a:lnTo>
                    <a:pt x="40" y="155"/>
                  </a:lnTo>
                  <a:lnTo>
                    <a:pt x="50" y="152"/>
                  </a:lnTo>
                  <a:lnTo>
                    <a:pt x="55" y="145"/>
                  </a:lnTo>
                  <a:lnTo>
                    <a:pt x="69" y="145"/>
                  </a:lnTo>
                  <a:lnTo>
                    <a:pt x="74" y="135"/>
                  </a:lnTo>
                  <a:lnTo>
                    <a:pt x="72" y="117"/>
                  </a:lnTo>
                  <a:lnTo>
                    <a:pt x="62" y="112"/>
                  </a:lnTo>
                  <a:lnTo>
                    <a:pt x="55" y="105"/>
                  </a:lnTo>
                  <a:lnTo>
                    <a:pt x="55" y="87"/>
                  </a:lnTo>
                  <a:lnTo>
                    <a:pt x="62" y="83"/>
                  </a:lnTo>
                  <a:lnTo>
                    <a:pt x="77" y="83"/>
                  </a:lnTo>
                  <a:lnTo>
                    <a:pt x="77" y="65"/>
                  </a:lnTo>
                  <a:lnTo>
                    <a:pt x="74" y="45"/>
                  </a:lnTo>
                  <a:lnTo>
                    <a:pt x="67" y="38"/>
                  </a:lnTo>
                  <a:lnTo>
                    <a:pt x="52" y="38"/>
                  </a:lnTo>
                  <a:lnTo>
                    <a:pt x="50" y="20"/>
                  </a:lnTo>
                  <a:lnTo>
                    <a:pt x="40" y="20"/>
                  </a:lnTo>
                  <a:lnTo>
                    <a:pt x="35" y="3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05"/>
            <p:cNvSpPr>
              <a:spLocks/>
            </p:cNvSpPr>
            <p:nvPr/>
          </p:nvSpPr>
          <p:spPr bwMode="auto">
            <a:xfrm>
              <a:off x="2809579" y="4201064"/>
              <a:ext cx="106503" cy="143924"/>
            </a:xfrm>
            <a:custGeom>
              <a:avLst/>
              <a:gdLst>
                <a:gd name="T0" fmla="*/ 22 w 74"/>
                <a:gd name="T1" fmla="*/ 20 h 100"/>
                <a:gd name="T2" fmla="*/ 22 w 74"/>
                <a:gd name="T3" fmla="*/ 38 h 100"/>
                <a:gd name="T4" fmla="*/ 7 w 74"/>
                <a:gd name="T5" fmla="*/ 38 h 100"/>
                <a:gd name="T6" fmla="*/ 0 w 74"/>
                <a:gd name="T7" fmla="*/ 42 h 100"/>
                <a:gd name="T8" fmla="*/ 0 w 74"/>
                <a:gd name="T9" fmla="*/ 60 h 100"/>
                <a:gd name="T10" fmla="*/ 7 w 74"/>
                <a:gd name="T11" fmla="*/ 67 h 100"/>
                <a:gd name="T12" fmla="*/ 17 w 74"/>
                <a:gd name="T13" fmla="*/ 72 h 100"/>
                <a:gd name="T14" fmla="*/ 19 w 74"/>
                <a:gd name="T15" fmla="*/ 90 h 100"/>
                <a:gd name="T16" fmla="*/ 14 w 74"/>
                <a:gd name="T17" fmla="*/ 100 h 100"/>
                <a:gd name="T18" fmla="*/ 37 w 74"/>
                <a:gd name="T19" fmla="*/ 100 h 100"/>
                <a:gd name="T20" fmla="*/ 37 w 74"/>
                <a:gd name="T21" fmla="*/ 82 h 100"/>
                <a:gd name="T22" fmla="*/ 64 w 74"/>
                <a:gd name="T23" fmla="*/ 82 h 100"/>
                <a:gd name="T24" fmla="*/ 69 w 74"/>
                <a:gd name="T25" fmla="*/ 75 h 100"/>
                <a:gd name="T26" fmla="*/ 69 w 74"/>
                <a:gd name="T27" fmla="*/ 25 h 100"/>
                <a:gd name="T28" fmla="*/ 74 w 74"/>
                <a:gd name="T29" fmla="*/ 15 h 100"/>
                <a:gd name="T30" fmla="*/ 67 w 74"/>
                <a:gd name="T31" fmla="*/ 3 h 100"/>
                <a:gd name="T32" fmla="*/ 44 w 74"/>
                <a:gd name="T33" fmla="*/ 0 h 100"/>
                <a:gd name="T34" fmla="*/ 39 w 74"/>
                <a:gd name="T35" fmla="*/ 13 h 100"/>
                <a:gd name="T36" fmla="*/ 22 w 74"/>
                <a:gd name="T3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00">
                  <a:moveTo>
                    <a:pt x="22" y="20"/>
                  </a:moveTo>
                  <a:lnTo>
                    <a:pt x="22" y="38"/>
                  </a:lnTo>
                  <a:lnTo>
                    <a:pt x="7" y="38"/>
                  </a:lnTo>
                  <a:lnTo>
                    <a:pt x="0" y="42"/>
                  </a:lnTo>
                  <a:lnTo>
                    <a:pt x="0" y="60"/>
                  </a:lnTo>
                  <a:lnTo>
                    <a:pt x="7" y="67"/>
                  </a:lnTo>
                  <a:lnTo>
                    <a:pt x="17" y="72"/>
                  </a:lnTo>
                  <a:lnTo>
                    <a:pt x="19" y="90"/>
                  </a:lnTo>
                  <a:lnTo>
                    <a:pt x="14" y="100"/>
                  </a:lnTo>
                  <a:lnTo>
                    <a:pt x="37" y="100"/>
                  </a:lnTo>
                  <a:lnTo>
                    <a:pt x="37" y="82"/>
                  </a:lnTo>
                  <a:lnTo>
                    <a:pt x="64" y="82"/>
                  </a:lnTo>
                  <a:lnTo>
                    <a:pt x="69" y="75"/>
                  </a:lnTo>
                  <a:lnTo>
                    <a:pt x="69" y="25"/>
                  </a:lnTo>
                  <a:lnTo>
                    <a:pt x="74" y="15"/>
                  </a:lnTo>
                  <a:lnTo>
                    <a:pt x="67" y="3"/>
                  </a:lnTo>
                  <a:lnTo>
                    <a:pt x="44" y="0"/>
                  </a:lnTo>
                  <a:lnTo>
                    <a:pt x="39" y="13"/>
                  </a:lnTo>
                  <a:lnTo>
                    <a:pt x="2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206"/>
            <p:cNvSpPr>
              <a:spLocks/>
            </p:cNvSpPr>
            <p:nvPr/>
          </p:nvSpPr>
          <p:spPr bwMode="auto">
            <a:xfrm>
              <a:off x="7256816" y="4029796"/>
              <a:ext cx="56130" cy="103625"/>
            </a:xfrm>
            <a:custGeom>
              <a:avLst/>
              <a:gdLst>
                <a:gd name="T0" fmla="*/ 27 w 39"/>
                <a:gd name="T1" fmla="*/ 10 h 72"/>
                <a:gd name="T2" fmla="*/ 24 w 39"/>
                <a:gd name="T3" fmla="*/ 22 h 72"/>
                <a:gd name="T4" fmla="*/ 7 w 39"/>
                <a:gd name="T5" fmla="*/ 32 h 72"/>
                <a:gd name="T6" fmla="*/ 0 w 39"/>
                <a:gd name="T7" fmla="*/ 50 h 72"/>
                <a:gd name="T8" fmla="*/ 2 w 39"/>
                <a:gd name="T9" fmla="*/ 72 h 72"/>
                <a:gd name="T10" fmla="*/ 19 w 39"/>
                <a:gd name="T11" fmla="*/ 55 h 72"/>
                <a:gd name="T12" fmla="*/ 32 w 39"/>
                <a:gd name="T13" fmla="*/ 30 h 72"/>
                <a:gd name="T14" fmla="*/ 39 w 39"/>
                <a:gd name="T15" fmla="*/ 15 h 72"/>
                <a:gd name="T16" fmla="*/ 32 w 39"/>
                <a:gd name="T17" fmla="*/ 0 h 72"/>
                <a:gd name="T18" fmla="*/ 27 w 39"/>
                <a:gd name="T19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72">
                  <a:moveTo>
                    <a:pt x="27" y="10"/>
                  </a:moveTo>
                  <a:lnTo>
                    <a:pt x="24" y="22"/>
                  </a:lnTo>
                  <a:lnTo>
                    <a:pt x="7" y="32"/>
                  </a:lnTo>
                  <a:lnTo>
                    <a:pt x="0" y="50"/>
                  </a:lnTo>
                  <a:lnTo>
                    <a:pt x="2" y="72"/>
                  </a:lnTo>
                  <a:lnTo>
                    <a:pt x="19" y="55"/>
                  </a:lnTo>
                  <a:lnTo>
                    <a:pt x="32" y="30"/>
                  </a:lnTo>
                  <a:lnTo>
                    <a:pt x="39" y="15"/>
                  </a:lnTo>
                  <a:lnTo>
                    <a:pt x="32" y="0"/>
                  </a:lnTo>
                  <a:lnTo>
                    <a:pt x="2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207"/>
            <p:cNvSpPr>
              <a:spLocks/>
            </p:cNvSpPr>
            <p:nvPr/>
          </p:nvSpPr>
          <p:spPr bwMode="auto">
            <a:xfrm>
              <a:off x="7291358" y="3815349"/>
              <a:ext cx="86354" cy="135288"/>
            </a:xfrm>
            <a:custGeom>
              <a:avLst/>
              <a:gdLst>
                <a:gd name="T0" fmla="*/ 28 w 60"/>
                <a:gd name="T1" fmla="*/ 0 h 94"/>
                <a:gd name="T2" fmla="*/ 18 w 60"/>
                <a:gd name="T3" fmla="*/ 20 h 94"/>
                <a:gd name="T4" fmla="*/ 10 w 60"/>
                <a:gd name="T5" fmla="*/ 47 h 94"/>
                <a:gd name="T6" fmla="*/ 0 w 60"/>
                <a:gd name="T7" fmla="*/ 57 h 94"/>
                <a:gd name="T8" fmla="*/ 3 w 60"/>
                <a:gd name="T9" fmla="*/ 82 h 94"/>
                <a:gd name="T10" fmla="*/ 15 w 60"/>
                <a:gd name="T11" fmla="*/ 84 h 94"/>
                <a:gd name="T12" fmla="*/ 23 w 60"/>
                <a:gd name="T13" fmla="*/ 94 h 94"/>
                <a:gd name="T14" fmla="*/ 43 w 60"/>
                <a:gd name="T15" fmla="*/ 94 h 94"/>
                <a:gd name="T16" fmla="*/ 60 w 60"/>
                <a:gd name="T17" fmla="*/ 87 h 94"/>
                <a:gd name="T18" fmla="*/ 55 w 60"/>
                <a:gd name="T19" fmla="*/ 62 h 94"/>
                <a:gd name="T20" fmla="*/ 58 w 60"/>
                <a:gd name="T21" fmla="*/ 47 h 94"/>
                <a:gd name="T22" fmla="*/ 58 w 60"/>
                <a:gd name="T23" fmla="*/ 32 h 94"/>
                <a:gd name="T24" fmla="*/ 50 w 60"/>
                <a:gd name="T25" fmla="*/ 12 h 94"/>
                <a:gd name="T26" fmla="*/ 48 w 60"/>
                <a:gd name="T27" fmla="*/ 0 h 94"/>
                <a:gd name="T28" fmla="*/ 28 w 60"/>
                <a:gd name="T2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94">
                  <a:moveTo>
                    <a:pt x="28" y="0"/>
                  </a:moveTo>
                  <a:lnTo>
                    <a:pt x="18" y="20"/>
                  </a:lnTo>
                  <a:lnTo>
                    <a:pt x="10" y="47"/>
                  </a:lnTo>
                  <a:lnTo>
                    <a:pt x="0" y="57"/>
                  </a:lnTo>
                  <a:lnTo>
                    <a:pt x="3" y="82"/>
                  </a:lnTo>
                  <a:lnTo>
                    <a:pt x="15" y="84"/>
                  </a:lnTo>
                  <a:lnTo>
                    <a:pt x="23" y="94"/>
                  </a:lnTo>
                  <a:lnTo>
                    <a:pt x="43" y="94"/>
                  </a:lnTo>
                  <a:lnTo>
                    <a:pt x="60" y="87"/>
                  </a:lnTo>
                  <a:lnTo>
                    <a:pt x="55" y="62"/>
                  </a:lnTo>
                  <a:lnTo>
                    <a:pt x="58" y="47"/>
                  </a:lnTo>
                  <a:lnTo>
                    <a:pt x="58" y="32"/>
                  </a:lnTo>
                  <a:lnTo>
                    <a:pt x="50" y="12"/>
                  </a:lnTo>
                  <a:lnTo>
                    <a:pt x="48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08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10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211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212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13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14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2 w 37"/>
                <a:gd name="T13" fmla="*/ 2 h 27"/>
                <a:gd name="T14" fmla="*/ 0 w 37"/>
                <a:gd name="T1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15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16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17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8 w 25"/>
                <a:gd name="T11" fmla="*/ 0 h 25"/>
                <a:gd name="T12" fmla="*/ 5 w 25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18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219"/>
            <p:cNvSpPr>
              <a:spLocks/>
            </p:cNvSpPr>
            <p:nvPr/>
          </p:nvSpPr>
          <p:spPr bwMode="auto">
            <a:xfrm>
              <a:off x="7438160" y="4018282"/>
              <a:ext cx="33102" cy="25906"/>
            </a:xfrm>
            <a:custGeom>
              <a:avLst/>
              <a:gdLst>
                <a:gd name="T0" fmla="*/ 0 w 23"/>
                <a:gd name="T1" fmla="*/ 5 h 18"/>
                <a:gd name="T2" fmla="*/ 3 w 23"/>
                <a:gd name="T3" fmla="*/ 18 h 18"/>
                <a:gd name="T4" fmla="*/ 13 w 23"/>
                <a:gd name="T5" fmla="*/ 18 h 18"/>
                <a:gd name="T6" fmla="*/ 20 w 23"/>
                <a:gd name="T7" fmla="*/ 13 h 18"/>
                <a:gd name="T8" fmla="*/ 23 w 23"/>
                <a:gd name="T9" fmla="*/ 0 h 18"/>
                <a:gd name="T10" fmla="*/ 10 w 23"/>
                <a:gd name="T11" fmla="*/ 0 h 18"/>
                <a:gd name="T12" fmla="*/ 0 w 23"/>
                <a:gd name="T1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">
                  <a:moveTo>
                    <a:pt x="0" y="5"/>
                  </a:moveTo>
                  <a:lnTo>
                    <a:pt x="3" y="18"/>
                  </a:lnTo>
                  <a:lnTo>
                    <a:pt x="13" y="18"/>
                  </a:lnTo>
                  <a:lnTo>
                    <a:pt x="20" y="13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20"/>
            <p:cNvSpPr>
              <a:spLocks/>
            </p:cNvSpPr>
            <p:nvPr/>
          </p:nvSpPr>
          <p:spPr bwMode="auto">
            <a:xfrm>
              <a:off x="7409375" y="4087365"/>
              <a:ext cx="83476" cy="113699"/>
            </a:xfrm>
            <a:custGeom>
              <a:avLst/>
              <a:gdLst>
                <a:gd name="T0" fmla="*/ 35 w 58"/>
                <a:gd name="T1" fmla="*/ 0 h 79"/>
                <a:gd name="T2" fmla="*/ 18 w 58"/>
                <a:gd name="T3" fmla="*/ 15 h 79"/>
                <a:gd name="T4" fmla="*/ 0 w 58"/>
                <a:gd name="T5" fmla="*/ 32 h 79"/>
                <a:gd name="T6" fmla="*/ 10 w 58"/>
                <a:gd name="T7" fmla="*/ 47 h 79"/>
                <a:gd name="T8" fmla="*/ 23 w 58"/>
                <a:gd name="T9" fmla="*/ 64 h 79"/>
                <a:gd name="T10" fmla="*/ 38 w 58"/>
                <a:gd name="T11" fmla="*/ 79 h 79"/>
                <a:gd name="T12" fmla="*/ 48 w 58"/>
                <a:gd name="T13" fmla="*/ 64 h 79"/>
                <a:gd name="T14" fmla="*/ 58 w 58"/>
                <a:gd name="T15" fmla="*/ 57 h 79"/>
                <a:gd name="T16" fmla="*/ 58 w 58"/>
                <a:gd name="T17" fmla="*/ 22 h 79"/>
                <a:gd name="T18" fmla="*/ 50 w 58"/>
                <a:gd name="T19" fmla="*/ 10 h 79"/>
                <a:gd name="T20" fmla="*/ 35 w 58"/>
                <a:gd name="T2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79">
                  <a:moveTo>
                    <a:pt x="35" y="0"/>
                  </a:moveTo>
                  <a:lnTo>
                    <a:pt x="18" y="15"/>
                  </a:lnTo>
                  <a:lnTo>
                    <a:pt x="0" y="32"/>
                  </a:lnTo>
                  <a:lnTo>
                    <a:pt x="10" y="47"/>
                  </a:lnTo>
                  <a:lnTo>
                    <a:pt x="23" y="64"/>
                  </a:lnTo>
                  <a:lnTo>
                    <a:pt x="38" y="79"/>
                  </a:lnTo>
                  <a:lnTo>
                    <a:pt x="48" y="64"/>
                  </a:lnTo>
                  <a:lnTo>
                    <a:pt x="58" y="57"/>
                  </a:lnTo>
                  <a:lnTo>
                    <a:pt x="58" y="22"/>
                  </a:lnTo>
                  <a:lnTo>
                    <a:pt x="50" y="1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21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222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5 w 32"/>
                <a:gd name="T15" fmla="*/ 0 h 42"/>
                <a:gd name="T16" fmla="*/ 23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5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223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24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10 w 12"/>
                <a:gd name="T17" fmla="*/ 15 h 15"/>
                <a:gd name="T18" fmla="*/ 7 w 12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25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7 w 12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226"/>
            <p:cNvSpPr>
              <a:spLocks/>
            </p:cNvSpPr>
            <p:nvPr/>
          </p:nvSpPr>
          <p:spPr bwMode="auto">
            <a:xfrm>
              <a:off x="4047321" y="4075851"/>
              <a:ext cx="164073" cy="165512"/>
            </a:xfrm>
            <a:custGeom>
              <a:avLst/>
              <a:gdLst>
                <a:gd name="T0" fmla="*/ 37 w 114"/>
                <a:gd name="T1" fmla="*/ 115 h 115"/>
                <a:gd name="T2" fmla="*/ 17 w 114"/>
                <a:gd name="T3" fmla="*/ 107 h 115"/>
                <a:gd name="T4" fmla="*/ 15 w 114"/>
                <a:gd name="T5" fmla="*/ 85 h 115"/>
                <a:gd name="T6" fmla="*/ 5 w 114"/>
                <a:gd name="T7" fmla="*/ 82 h 115"/>
                <a:gd name="T8" fmla="*/ 0 w 114"/>
                <a:gd name="T9" fmla="*/ 67 h 115"/>
                <a:gd name="T10" fmla="*/ 5 w 114"/>
                <a:gd name="T11" fmla="*/ 42 h 115"/>
                <a:gd name="T12" fmla="*/ 22 w 114"/>
                <a:gd name="T13" fmla="*/ 30 h 115"/>
                <a:gd name="T14" fmla="*/ 12 w 114"/>
                <a:gd name="T15" fmla="*/ 20 h 115"/>
                <a:gd name="T16" fmla="*/ 17 w 114"/>
                <a:gd name="T17" fmla="*/ 5 h 115"/>
                <a:gd name="T18" fmla="*/ 32 w 114"/>
                <a:gd name="T19" fmla="*/ 3 h 115"/>
                <a:gd name="T20" fmla="*/ 54 w 114"/>
                <a:gd name="T21" fmla="*/ 0 h 115"/>
                <a:gd name="T22" fmla="*/ 64 w 114"/>
                <a:gd name="T23" fmla="*/ 8 h 115"/>
                <a:gd name="T24" fmla="*/ 99 w 114"/>
                <a:gd name="T25" fmla="*/ 10 h 115"/>
                <a:gd name="T26" fmla="*/ 102 w 114"/>
                <a:gd name="T27" fmla="*/ 28 h 115"/>
                <a:gd name="T28" fmla="*/ 114 w 114"/>
                <a:gd name="T29" fmla="*/ 33 h 115"/>
                <a:gd name="T30" fmla="*/ 112 w 114"/>
                <a:gd name="T31" fmla="*/ 45 h 115"/>
                <a:gd name="T32" fmla="*/ 102 w 114"/>
                <a:gd name="T33" fmla="*/ 47 h 115"/>
                <a:gd name="T34" fmla="*/ 99 w 114"/>
                <a:gd name="T35" fmla="*/ 75 h 115"/>
                <a:gd name="T36" fmla="*/ 102 w 114"/>
                <a:gd name="T37" fmla="*/ 105 h 115"/>
                <a:gd name="T38" fmla="*/ 57 w 114"/>
                <a:gd name="T39" fmla="*/ 105 h 115"/>
                <a:gd name="T40" fmla="*/ 37 w 114"/>
                <a:gd name="T4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15">
                  <a:moveTo>
                    <a:pt x="37" y="115"/>
                  </a:moveTo>
                  <a:lnTo>
                    <a:pt x="17" y="107"/>
                  </a:lnTo>
                  <a:lnTo>
                    <a:pt x="15" y="85"/>
                  </a:lnTo>
                  <a:lnTo>
                    <a:pt x="5" y="82"/>
                  </a:lnTo>
                  <a:lnTo>
                    <a:pt x="0" y="67"/>
                  </a:lnTo>
                  <a:lnTo>
                    <a:pt x="5" y="42"/>
                  </a:lnTo>
                  <a:lnTo>
                    <a:pt x="22" y="30"/>
                  </a:lnTo>
                  <a:lnTo>
                    <a:pt x="12" y="20"/>
                  </a:lnTo>
                  <a:lnTo>
                    <a:pt x="17" y="5"/>
                  </a:lnTo>
                  <a:lnTo>
                    <a:pt x="32" y="3"/>
                  </a:lnTo>
                  <a:lnTo>
                    <a:pt x="54" y="0"/>
                  </a:lnTo>
                  <a:lnTo>
                    <a:pt x="64" y="8"/>
                  </a:lnTo>
                  <a:lnTo>
                    <a:pt x="99" y="10"/>
                  </a:lnTo>
                  <a:lnTo>
                    <a:pt x="102" y="28"/>
                  </a:lnTo>
                  <a:lnTo>
                    <a:pt x="114" y="33"/>
                  </a:lnTo>
                  <a:lnTo>
                    <a:pt x="112" y="45"/>
                  </a:lnTo>
                  <a:lnTo>
                    <a:pt x="102" y="47"/>
                  </a:lnTo>
                  <a:lnTo>
                    <a:pt x="99" y="75"/>
                  </a:lnTo>
                  <a:lnTo>
                    <a:pt x="102" y="105"/>
                  </a:lnTo>
                  <a:lnTo>
                    <a:pt x="57" y="105"/>
                  </a:lnTo>
                  <a:lnTo>
                    <a:pt x="37" y="1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227"/>
            <p:cNvSpPr>
              <a:spLocks/>
            </p:cNvSpPr>
            <p:nvPr/>
          </p:nvSpPr>
          <p:spPr bwMode="auto">
            <a:xfrm>
              <a:off x="2405153" y="4261512"/>
              <a:ext cx="1011783" cy="1134118"/>
            </a:xfrm>
            <a:custGeom>
              <a:avLst/>
              <a:gdLst>
                <a:gd name="T0" fmla="*/ 72 w 703"/>
                <a:gd name="T1" fmla="*/ 70 h 788"/>
                <a:gd name="T2" fmla="*/ 74 w 703"/>
                <a:gd name="T3" fmla="*/ 122 h 788"/>
                <a:gd name="T4" fmla="*/ 69 w 703"/>
                <a:gd name="T5" fmla="*/ 162 h 788"/>
                <a:gd name="T6" fmla="*/ 34 w 703"/>
                <a:gd name="T7" fmla="*/ 182 h 788"/>
                <a:gd name="T8" fmla="*/ 19 w 703"/>
                <a:gd name="T9" fmla="*/ 219 h 788"/>
                <a:gd name="T10" fmla="*/ 0 w 703"/>
                <a:gd name="T11" fmla="*/ 247 h 788"/>
                <a:gd name="T12" fmla="*/ 19 w 703"/>
                <a:gd name="T13" fmla="*/ 281 h 788"/>
                <a:gd name="T14" fmla="*/ 49 w 703"/>
                <a:gd name="T15" fmla="*/ 296 h 788"/>
                <a:gd name="T16" fmla="*/ 87 w 703"/>
                <a:gd name="T17" fmla="*/ 319 h 788"/>
                <a:gd name="T18" fmla="*/ 116 w 703"/>
                <a:gd name="T19" fmla="*/ 311 h 788"/>
                <a:gd name="T20" fmla="*/ 131 w 703"/>
                <a:gd name="T21" fmla="*/ 289 h 788"/>
                <a:gd name="T22" fmla="*/ 166 w 703"/>
                <a:gd name="T23" fmla="*/ 344 h 788"/>
                <a:gd name="T24" fmla="*/ 198 w 703"/>
                <a:gd name="T25" fmla="*/ 353 h 788"/>
                <a:gd name="T26" fmla="*/ 233 w 703"/>
                <a:gd name="T27" fmla="*/ 368 h 788"/>
                <a:gd name="T28" fmla="*/ 253 w 703"/>
                <a:gd name="T29" fmla="*/ 391 h 788"/>
                <a:gd name="T30" fmla="*/ 251 w 703"/>
                <a:gd name="T31" fmla="*/ 423 h 788"/>
                <a:gd name="T32" fmla="*/ 281 w 703"/>
                <a:gd name="T33" fmla="*/ 443 h 788"/>
                <a:gd name="T34" fmla="*/ 300 w 703"/>
                <a:gd name="T35" fmla="*/ 463 h 788"/>
                <a:gd name="T36" fmla="*/ 283 w 703"/>
                <a:gd name="T37" fmla="*/ 500 h 788"/>
                <a:gd name="T38" fmla="*/ 298 w 703"/>
                <a:gd name="T39" fmla="*/ 532 h 788"/>
                <a:gd name="T40" fmla="*/ 328 w 703"/>
                <a:gd name="T41" fmla="*/ 547 h 788"/>
                <a:gd name="T42" fmla="*/ 363 w 703"/>
                <a:gd name="T43" fmla="*/ 572 h 788"/>
                <a:gd name="T44" fmla="*/ 370 w 703"/>
                <a:gd name="T45" fmla="*/ 639 h 788"/>
                <a:gd name="T46" fmla="*/ 368 w 703"/>
                <a:gd name="T47" fmla="*/ 657 h 788"/>
                <a:gd name="T48" fmla="*/ 340 w 703"/>
                <a:gd name="T49" fmla="*/ 687 h 788"/>
                <a:gd name="T50" fmla="*/ 330 w 703"/>
                <a:gd name="T51" fmla="*/ 719 h 788"/>
                <a:gd name="T52" fmla="*/ 392 w 703"/>
                <a:gd name="T53" fmla="*/ 776 h 788"/>
                <a:gd name="T54" fmla="*/ 407 w 703"/>
                <a:gd name="T55" fmla="*/ 754 h 788"/>
                <a:gd name="T56" fmla="*/ 420 w 703"/>
                <a:gd name="T57" fmla="*/ 714 h 788"/>
                <a:gd name="T58" fmla="*/ 417 w 703"/>
                <a:gd name="T59" fmla="*/ 741 h 788"/>
                <a:gd name="T60" fmla="*/ 447 w 703"/>
                <a:gd name="T61" fmla="*/ 711 h 788"/>
                <a:gd name="T62" fmla="*/ 469 w 703"/>
                <a:gd name="T63" fmla="*/ 617 h 788"/>
                <a:gd name="T64" fmla="*/ 494 w 703"/>
                <a:gd name="T65" fmla="*/ 587 h 788"/>
                <a:gd name="T66" fmla="*/ 559 w 703"/>
                <a:gd name="T67" fmla="*/ 560 h 788"/>
                <a:gd name="T68" fmla="*/ 596 w 703"/>
                <a:gd name="T69" fmla="*/ 518 h 788"/>
                <a:gd name="T70" fmla="*/ 616 w 703"/>
                <a:gd name="T71" fmla="*/ 450 h 788"/>
                <a:gd name="T72" fmla="*/ 646 w 703"/>
                <a:gd name="T73" fmla="*/ 346 h 788"/>
                <a:gd name="T74" fmla="*/ 658 w 703"/>
                <a:gd name="T75" fmla="*/ 304 h 788"/>
                <a:gd name="T76" fmla="*/ 686 w 703"/>
                <a:gd name="T77" fmla="*/ 279 h 788"/>
                <a:gd name="T78" fmla="*/ 691 w 703"/>
                <a:gd name="T79" fmla="*/ 244 h 788"/>
                <a:gd name="T80" fmla="*/ 691 w 703"/>
                <a:gd name="T81" fmla="*/ 227 h 788"/>
                <a:gd name="T82" fmla="*/ 666 w 703"/>
                <a:gd name="T83" fmla="*/ 182 h 788"/>
                <a:gd name="T84" fmla="*/ 629 w 703"/>
                <a:gd name="T85" fmla="*/ 160 h 788"/>
                <a:gd name="T86" fmla="*/ 596 w 703"/>
                <a:gd name="T87" fmla="*/ 140 h 788"/>
                <a:gd name="T88" fmla="*/ 559 w 703"/>
                <a:gd name="T89" fmla="*/ 135 h 788"/>
                <a:gd name="T90" fmla="*/ 522 w 703"/>
                <a:gd name="T91" fmla="*/ 112 h 788"/>
                <a:gd name="T92" fmla="*/ 472 w 703"/>
                <a:gd name="T93" fmla="*/ 102 h 788"/>
                <a:gd name="T94" fmla="*/ 440 w 703"/>
                <a:gd name="T95" fmla="*/ 125 h 788"/>
                <a:gd name="T96" fmla="*/ 445 w 703"/>
                <a:gd name="T97" fmla="*/ 92 h 788"/>
                <a:gd name="T98" fmla="*/ 410 w 703"/>
                <a:gd name="T99" fmla="*/ 110 h 788"/>
                <a:gd name="T100" fmla="*/ 405 w 703"/>
                <a:gd name="T101" fmla="*/ 100 h 788"/>
                <a:gd name="T102" fmla="*/ 427 w 703"/>
                <a:gd name="T103" fmla="*/ 60 h 788"/>
                <a:gd name="T104" fmla="*/ 390 w 703"/>
                <a:gd name="T105" fmla="*/ 18 h 788"/>
                <a:gd name="T106" fmla="*/ 370 w 703"/>
                <a:gd name="T107" fmla="*/ 50 h 788"/>
                <a:gd name="T108" fmla="*/ 318 w 703"/>
                <a:gd name="T109" fmla="*/ 40 h 788"/>
                <a:gd name="T110" fmla="*/ 281 w 703"/>
                <a:gd name="T111" fmla="*/ 58 h 788"/>
                <a:gd name="T112" fmla="*/ 256 w 703"/>
                <a:gd name="T113" fmla="*/ 58 h 788"/>
                <a:gd name="T114" fmla="*/ 248 w 703"/>
                <a:gd name="T115" fmla="*/ 5 h 788"/>
                <a:gd name="T116" fmla="*/ 198 w 703"/>
                <a:gd name="T117" fmla="*/ 13 h 788"/>
                <a:gd name="T118" fmla="*/ 166 w 703"/>
                <a:gd name="T119" fmla="*/ 10 h 788"/>
                <a:gd name="T120" fmla="*/ 176 w 703"/>
                <a:gd name="T121" fmla="*/ 45 h 788"/>
                <a:gd name="T122" fmla="*/ 141 w 703"/>
                <a:gd name="T123" fmla="*/ 73 h 788"/>
                <a:gd name="T124" fmla="*/ 109 w 703"/>
                <a:gd name="T125" fmla="*/ 4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3" h="788">
                  <a:moveTo>
                    <a:pt x="109" y="48"/>
                  </a:moveTo>
                  <a:lnTo>
                    <a:pt x="79" y="58"/>
                  </a:lnTo>
                  <a:lnTo>
                    <a:pt x="72" y="70"/>
                  </a:lnTo>
                  <a:lnTo>
                    <a:pt x="79" y="80"/>
                  </a:lnTo>
                  <a:lnTo>
                    <a:pt x="72" y="87"/>
                  </a:lnTo>
                  <a:lnTo>
                    <a:pt x="74" y="122"/>
                  </a:lnTo>
                  <a:lnTo>
                    <a:pt x="74" y="137"/>
                  </a:lnTo>
                  <a:lnTo>
                    <a:pt x="57" y="140"/>
                  </a:lnTo>
                  <a:lnTo>
                    <a:pt x="69" y="162"/>
                  </a:lnTo>
                  <a:lnTo>
                    <a:pt x="64" y="179"/>
                  </a:lnTo>
                  <a:lnTo>
                    <a:pt x="49" y="187"/>
                  </a:lnTo>
                  <a:lnTo>
                    <a:pt x="34" y="182"/>
                  </a:lnTo>
                  <a:lnTo>
                    <a:pt x="22" y="192"/>
                  </a:lnTo>
                  <a:lnTo>
                    <a:pt x="17" y="207"/>
                  </a:lnTo>
                  <a:lnTo>
                    <a:pt x="19" y="219"/>
                  </a:lnTo>
                  <a:lnTo>
                    <a:pt x="12" y="227"/>
                  </a:lnTo>
                  <a:lnTo>
                    <a:pt x="2" y="232"/>
                  </a:lnTo>
                  <a:lnTo>
                    <a:pt x="0" y="247"/>
                  </a:lnTo>
                  <a:lnTo>
                    <a:pt x="2" y="259"/>
                  </a:lnTo>
                  <a:lnTo>
                    <a:pt x="15" y="269"/>
                  </a:lnTo>
                  <a:lnTo>
                    <a:pt x="19" y="281"/>
                  </a:lnTo>
                  <a:lnTo>
                    <a:pt x="32" y="284"/>
                  </a:lnTo>
                  <a:lnTo>
                    <a:pt x="34" y="294"/>
                  </a:lnTo>
                  <a:lnTo>
                    <a:pt x="49" y="296"/>
                  </a:lnTo>
                  <a:lnTo>
                    <a:pt x="64" y="289"/>
                  </a:lnTo>
                  <a:lnTo>
                    <a:pt x="72" y="311"/>
                  </a:lnTo>
                  <a:lnTo>
                    <a:pt x="87" y="319"/>
                  </a:lnTo>
                  <a:lnTo>
                    <a:pt x="99" y="321"/>
                  </a:lnTo>
                  <a:lnTo>
                    <a:pt x="111" y="316"/>
                  </a:lnTo>
                  <a:lnTo>
                    <a:pt x="116" y="311"/>
                  </a:lnTo>
                  <a:lnTo>
                    <a:pt x="121" y="301"/>
                  </a:lnTo>
                  <a:lnTo>
                    <a:pt x="131" y="304"/>
                  </a:lnTo>
                  <a:lnTo>
                    <a:pt x="131" y="289"/>
                  </a:lnTo>
                  <a:lnTo>
                    <a:pt x="156" y="291"/>
                  </a:lnTo>
                  <a:lnTo>
                    <a:pt x="159" y="329"/>
                  </a:lnTo>
                  <a:lnTo>
                    <a:pt x="166" y="344"/>
                  </a:lnTo>
                  <a:lnTo>
                    <a:pt x="169" y="348"/>
                  </a:lnTo>
                  <a:lnTo>
                    <a:pt x="196" y="348"/>
                  </a:lnTo>
                  <a:lnTo>
                    <a:pt x="198" y="353"/>
                  </a:lnTo>
                  <a:lnTo>
                    <a:pt x="211" y="356"/>
                  </a:lnTo>
                  <a:lnTo>
                    <a:pt x="213" y="366"/>
                  </a:lnTo>
                  <a:lnTo>
                    <a:pt x="233" y="368"/>
                  </a:lnTo>
                  <a:lnTo>
                    <a:pt x="241" y="371"/>
                  </a:lnTo>
                  <a:lnTo>
                    <a:pt x="243" y="388"/>
                  </a:lnTo>
                  <a:lnTo>
                    <a:pt x="253" y="391"/>
                  </a:lnTo>
                  <a:lnTo>
                    <a:pt x="243" y="398"/>
                  </a:lnTo>
                  <a:lnTo>
                    <a:pt x="246" y="423"/>
                  </a:lnTo>
                  <a:lnTo>
                    <a:pt x="251" y="423"/>
                  </a:lnTo>
                  <a:lnTo>
                    <a:pt x="256" y="431"/>
                  </a:lnTo>
                  <a:lnTo>
                    <a:pt x="281" y="431"/>
                  </a:lnTo>
                  <a:lnTo>
                    <a:pt x="281" y="443"/>
                  </a:lnTo>
                  <a:lnTo>
                    <a:pt x="290" y="445"/>
                  </a:lnTo>
                  <a:lnTo>
                    <a:pt x="293" y="458"/>
                  </a:lnTo>
                  <a:lnTo>
                    <a:pt x="300" y="463"/>
                  </a:lnTo>
                  <a:lnTo>
                    <a:pt x="298" y="485"/>
                  </a:lnTo>
                  <a:lnTo>
                    <a:pt x="290" y="498"/>
                  </a:lnTo>
                  <a:lnTo>
                    <a:pt x="283" y="500"/>
                  </a:lnTo>
                  <a:lnTo>
                    <a:pt x="283" y="513"/>
                  </a:lnTo>
                  <a:lnTo>
                    <a:pt x="295" y="518"/>
                  </a:lnTo>
                  <a:lnTo>
                    <a:pt x="298" y="532"/>
                  </a:lnTo>
                  <a:lnTo>
                    <a:pt x="315" y="535"/>
                  </a:lnTo>
                  <a:lnTo>
                    <a:pt x="318" y="545"/>
                  </a:lnTo>
                  <a:lnTo>
                    <a:pt x="328" y="547"/>
                  </a:lnTo>
                  <a:lnTo>
                    <a:pt x="345" y="550"/>
                  </a:lnTo>
                  <a:lnTo>
                    <a:pt x="348" y="570"/>
                  </a:lnTo>
                  <a:lnTo>
                    <a:pt x="363" y="572"/>
                  </a:lnTo>
                  <a:lnTo>
                    <a:pt x="365" y="617"/>
                  </a:lnTo>
                  <a:lnTo>
                    <a:pt x="368" y="622"/>
                  </a:lnTo>
                  <a:lnTo>
                    <a:pt x="370" y="639"/>
                  </a:lnTo>
                  <a:lnTo>
                    <a:pt x="380" y="639"/>
                  </a:lnTo>
                  <a:lnTo>
                    <a:pt x="380" y="654"/>
                  </a:lnTo>
                  <a:lnTo>
                    <a:pt x="368" y="657"/>
                  </a:lnTo>
                  <a:lnTo>
                    <a:pt x="358" y="669"/>
                  </a:lnTo>
                  <a:lnTo>
                    <a:pt x="350" y="672"/>
                  </a:lnTo>
                  <a:lnTo>
                    <a:pt x="340" y="687"/>
                  </a:lnTo>
                  <a:lnTo>
                    <a:pt x="330" y="696"/>
                  </a:lnTo>
                  <a:lnTo>
                    <a:pt x="323" y="709"/>
                  </a:lnTo>
                  <a:lnTo>
                    <a:pt x="330" y="719"/>
                  </a:lnTo>
                  <a:lnTo>
                    <a:pt x="348" y="726"/>
                  </a:lnTo>
                  <a:lnTo>
                    <a:pt x="385" y="761"/>
                  </a:lnTo>
                  <a:lnTo>
                    <a:pt x="392" y="776"/>
                  </a:lnTo>
                  <a:lnTo>
                    <a:pt x="395" y="788"/>
                  </a:lnTo>
                  <a:lnTo>
                    <a:pt x="405" y="774"/>
                  </a:lnTo>
                  <a:lnTo>
                    <a:pt x="407" y="754"/>
                  </a:lnTo>
                  <a:lnTo>
                    <a:pt x="410" y="739"/>
                  </a:lnTo>
                  <a:lnTo>
                    <a:pt x="412" y="714"/>
                  </a:lnTo>
                  <a:lnTo>
                    <a:pt x="420" y="714"/>
                  </a:lnTo>
                  <a:lnTo>
                    <a:pt x="422" y="719"/>
                  </a:lnTo>
                  <a:lnTo>
                    <a:pt x="422" y="734"/>
                  </a:lnTo>
                  <a:lnTo>
                    <a:pt x="417" y="741"/>
                  </a:lnTo>
                  <a:lnTo>
                    <a:pt x="432" y="736"/>
                  </a:lnTo>
                  <a:lnTo>
                    <a:pt x="437" y="719"/>
                  </a:lnTo>
                  <a:lnTo>
                    <a:pt x="447" y="711"/>
                  </a:lnTo>
                  <a:lnTo>
                    <a:pt x="445" y="687"/>
                  </a:lnTo>
                  <a:lnTo>
                    <a:pt x="464" y="677"/>
                  </a:lnTo>
                  <a:lnTo>
                    <a:pt x="469" y="617"/>
                  </a:lnTo>
                  <a:lnTo>
                    <a:pt x="474" y="602"/>
                  </a:lnTo>
                  <a:lnTo>
                    <a:pt x="489" y="597"/>
                  </a:lnTo>
                  <a:lnTo>
                    <a:pt x="494" y="587"/>
                  </a:lnTo>
                  <a:lnTo>
                    <a:pt x="504" y="580"/>
                  </a:lnTo>
                  <a:lnTo>
                    <a:pt x="522" y="565"/>
                  </a:lnTo>
                  <a:lnTo>
                    <a:pt x="559" y="560"/>
                  </a:lnTo>
                  <a:lnTo>
                    <a:pt x="564" y="550"/>
                  </a:lnTo>
                  <a:lnTo>
                    <a:pt x="591" y="550"/>
                  </a:lnTo>
                  <a:lnTo>
                    <a:pt x="596" y="518"/>
                  </a:lnTo>
                  <a:lnTo>
                    <a:pt x="606" y="503"/>
                  </a:lnTo>
                  <a:lnTo>
                    <a:pt x="614" y="483"/>
                  </a:lnTo>
                  <a:lnTo>
                    <a:pt x="616" y="450"/>
                  </a:lnTo>
                  <a:lnTo>
                    <a:pt x="624" y="445"/>
                  </a:lnTo>
                  <a:lnTo>
                    <a:pt x="629" y="351"/>
                  </a:lnTo>
                  <a:lnTo>
                    <a:pt x="646" y="346"/>
                  </a:lnTo>
                  <a:lnTo>
                    <a:pt x="646" y="326"/>
                  </a:lnTo>
                  <a:lnTo>
                    <a:pt x="653" y="321"/>
                  </a:lnTo>
                  <a:lnTo>
                    <a:pt x="658" y="304"/>
                  </a:lnTo>
                  <a:lnTo>
                    <a:pt x="666" y="301"/>
                  </a:lnTo>
                  <a:lnTo>
                    <a:pt x="671" y="284"/>
                  </a:lnTo>
                  <a:lnTo>
                    <a:pt x="686" y="279"/>
                  </a:lnTo>
                  <a:lnTo>
                    <a:pt x="686" y="264"/>
                  </a:lnTo>
                  <a:lnTo>
                    <a:pt x="693" y="261"/>
                  </a:lnTo>
                  <a:lnTo>
                    <a:pt x="691" y="244"/>
                  </a:lnTo>
                  <a:lnTo>
                    <a:pt x="701" y="244"/>
                  </a:lnTo>
                  <a:lnTo>
                    <a:pt x="703" y="229"/>
                  </a:lnTo>
                  <a:lnTo>
                    <a:pt x="691" y="227"/>
                  </a:lnTo>
                  <a:lnTo>
                    <a:pt x="688" y="192"/>
                  </a:lnTo>
                  <a:lnTo>
                    <a:pt x="678" y="184"/>
                  </a:lnTo>
                  <a:lnTo>
                    <a:pt x="666" y="182"/>
                  </a:lnTo>
                  <a:lnTo>
                    <a:pt x="653" y="174"/>
                  </a:lnTo>
                  <a:lnTo>
                    <a:pt x="646" y="160"/>
                  </a:lnTo>
                  <a:lnTo>
                    <a:pt x="629" y="160"/>
                  </a:lnTo>
                  <a:lnTo>
                    <a:pt x="626" y="147"/>
                  </a:lnTo>
                  <a:lnTo>
                    <a:pt x="614" y="140"/>
                  </a:lnTo>
                  <a:lnTo>
                    <a:pt x="596" y="140"/>
                  </a:lnTo>
                  <a:lnTo>
                    <a:pt x="579" y="137"/>
                  </a:lnTo>
                  <a:lnTo>
                    <a:pt x="571" y="130"/>
                  </a:lnTo>
                  <a:lnTo>
                    <a:pt x="559" y="135"/>
                  </a:lnTo>
                  <a:lnTo>
                    <a:pt x="549" y="137"/>
                  </a:lnTo>
                  <a:lnTo>
                    <a:pt x="534" y="127"/>
                  </a:lnTo>
                  <a:lnTo>
                    <a:pt x="522" y="112"/>
                  </a:lnTo>
                  <a:lnTo>
                    <a:pt x="507" y="105"/>
                  </a:lnTo>
                  <a:lnTo>
                    <a:pt x="492" y="102"/>
                  </a:lnTo>
                  <a:lnTo>
                    <a:pt x="472" y="102"/>
                  </a:lnTo>
                  <a:lnTo>
                    <a:pt x="460" y="107"/>
                  </a:lnTo>
                  <a:lnTo>
                    <a:pt x="455" y="117"/>
                  </a:lnTo>
                  <a:lnTo>
                    <a:pt x="440" y="125"/>
                  </a:lnTo>
                  <a:lnTo>
                    <a:pt x="445" y="112"/>
                  </a:lnTo>
                  <a:lnTo>
                    <a:pt x="455" y="97"/>
                  </a:lnTo>
                  <a:lnTo>
                    <a:pt x="445" y="92"/>
                  </a:lnTo>
                  <a:lnTo>
                    <a:pt x="430" y="92"/>
                  </a:lnTo>
                  <a:lnTo>
                    <a:pt x="420" y="100"/>
                  </a:lnTo>
                  <a:lnTo>
                    <a:pt x="410" y="110"/>
                  </a:lnTo>
                  <a:lnTo>
                    <a:pt x="400" y="122"/>
                  </a:lnTo>
                  <a:lnTo>
                    <a:pt x="390" y="127"/>
                  </a:lnTo>
                  <a:lnTo>
                    <a:pt x="405" y="100"/>
                  </a:lnTo>
                  <a:lnTo>
                    <a:pt x="415" y="87"/>
                  </a:lnTo>
                  <a:lnTo>
                    <a:pt x="422" y="70"/>
                  </a:lnTo>
                  <a:lnTo>
                    <a:pt x="427" y="60"/>
                  </a:lnTo>
                  <a:lnTo>
                    <a:pt x="415" y="28"/>
                  </a:lnTo>
                  <a:lnTo>
                    <a:pt x="405" y="18"/>
                  </a:lnTo>
                  <a:lnTo>
                    <a:pt x="390" y="18"/>
                  </a:lnTo>
                  <a:lnTo>
                    <a:pt x="380" y="28"/>
                  </a:lnTo>
                  <a:lnTo>
                    <a:pt x="375" y="38"/>
                  </a:lnTo>
                  <a:lnTo>
                    <a:pt x="370" y="50"/>
                  </a:lnTo>
                  <a:lnTo>
                    <a:pt x="353" y="48"/>
                  </a:lnTo>
                  <a:lnTo>
                    <a:pt x="345" y="40"/>
                  </a:lnTo>
                  <a:lnTo>
                    <a:pt x="318" y="40"/>
                  </a:lnTo>
                  <a:lnTo>
                    <a:pt x="318" y="58"/>
                  </a:lnTo>
                  <a:lnTo>
                    <a:pt x="295" y="58"/>
                  </a:lnTo>
                  <a:lnTo>
                    <a:pt x="281" y="58"/>
                  </a:lnTo>
                  <a:lnTo>
                    <a:pt x="276" y="65"/>
                  </a:lnTo>
                  <a:lnTo>
                    <a:pt x="266" y="68"/>
                  </a:lnTo>
                  <a:lnTo>
                    <a:pt x="256" y="58"/>
                  </a:lnTo>
                  <a:lnTo>
                    <a:pt x="248" y="40"/>
                  </a:lnTo>
                  <a:lnTo>
                    <a:pt x="251" y="25"/>
                  </a:lnTo>
                  <a:lnTo>
                    <a:pt x="248" y="5"/>
                  </a:lnTo>
                  <a:lnTo>
                    <a:pt x="233" y="0"/>
                  </a:lnTo>
                  <a:lnTo>
                    <a:pt x="228" y="13"/>
                  </a:lnTo>
                  <a:lnTo>
                    <a:pt x="198" y="13"/>
                  </a:lnTo>
                  <a:lnTo>
                    <a:pt x="189" y="20"/>
                  </a:lnTo>
                  <a:lnTo>
                    <a:pt x="174" y="8"/>
                  </a:lnTo>
                  <a:lnTo>
                    <a:pt x="166" y="10"/>
                  </a:lnTo>
                  <a:lnTo>
                    <a:pt x="161" y="25"/>
                  </a:lnTo>
                  <a:lnTo>
                    <a:pt x="164" y="38"/>
                  </a:lnTo>
                  <a:lnTo>
                    <a:pt x="176" y="45"/>
                  </a:lnTo>
                  <a:lnTo>
                    <a:pt x="176" y="58"/>
                  </a:lnTo>
                  <a:lnTo>
                    <a:pt x="161" y="70"/>
                  </a:lnTo>
                  <a:lnTo>
                    <a:pt x="141" y="73"/>
                  </a:lnTo>
                  <a:lnTo>
                    <a:pt x="129" y="65"/>
                  </a:lnTo>
                  <a:lnTo>
                    <a:pt x="119" y="53"/>
                  </a:lnTo>
                  <a:lnTo>
                    <a:pt x="109" y="4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228"/>
            <p:cNvSpPr>
              <a:spLocks/>
            </p:cNvSpPr>
            <p:nvPr/>
          </p:nvSpPr>
          <p:spPr bwMode="auto">
            <a:xfrm>
              <a:off x="5313848" y="3059751"/>
              <a:ext cx="96428" cy="136727"/>
            </a:xfrm>
            <a:custGeom>
              <a:avLst/>
              <a:gdLst>
                <a:gd name="T0" fmla="*/ 67 w 67"/>
                <a:gd name="T1" fmla="*/ 85 h 95"/>
                <a:gd name="T2" fmla="*/ 52 w 67"/>
                <a:gd name="T3" fmla="*/ 95 h 95"/>
                <a:gd name="T4" fmla="*/ 44 w 67"/>
                <a:gd name="T5" fmla="*/ 80 h 95"/>
                <a:gd name="T6" fmla="*/ 30 w 67"/>
                <a:gd name="T7" fmla="*/ 70 h 95"/>
                <a:gd name="T8" fmla="*/ 15 w 67"/>
                <a:gd name="T9" fmla="*/ 55 h 95"/>
                <a:gd name="T10" fmla="*/ 0 w 67"/>
                <a:gd name="T11" fmla="*/ 30 h 95"/>
                <a:gd name="T12" fmla="*/ 20 w 67"/>
                <a:gd name="T13" fmla="*/ 23 h 95"/>
                <a:gd name="T14" fmla="*/ 30 w 67"/>
                <a:gd name="T15" fmla="*/ 0 h 95"/>
                <a:gd name="T16" fmla="*/ 37 w 67"/>
                <a:gd name="T17" fmla="*/ 25 h 95"/>
                <a:gd name="T18" fmla="*/ 49 w 67"/>
                <a:gd name="T19" fmla="*/ 52 h 95"/>
                <a:gd name="T20" fmla="*/ 67 w 67"/>
                <a:gd name="T21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95">
                  <a:moveTo>
                    <a:pt x="67" y="85"/>
                  </a:moveTo>
                  <a:lnTo>
                    <a:pt x="52" y="95"/>
                  </a:lnTo>
                  <a:lnTo>
                    <a:pt x="44" y="80"/>
                  </a:lnTo>
                  <a:lnTo>
                    <a:pt x="30" y="70"/>
                  </a:lnTo>
                  <a:lnTo>
                    <a:pt x="15" y="55"/>
                  </a:lnTo>
                  <a:lnTo>
                    <a:pt x="0" y="30"/>
                  </a:lnTo>
                  <a:lnTo>
                    <a:pt x="20" y="23"/>
                  </a:lnTo>
                  <a:lnTo>
                    <a:pt x="30" y="0"/>
                  </a:lnTo>
                  <a:lnTo>
                    <a:pt x="37" y="25"/>
                  </a:lnTo>
                  <a:lnTo>
                    <a:pt x="49" y="52"/>
                  </a:lnTo>
                  <a:lnTo>
                    <a:pt x="67" y="8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229"/>
            <p:cNvSpPr>
              <a:spLocks/>
            </p:cNvSpPr>
            <p:nvPr/>
          </p:nvSpPr>
          <p:spPr bwMode="auto">
            <a:xfrm>
              <a:off x="6390396" y="2734484"/>
              <a:ext cx="751281" cy="375640"/>
            </a:xfrm>
            <a:custGeom>
              <a:avLst/>
              <a:gdLst>
                <a:gd name="T0" fmla="*/ 0 w 522"/>
                <a:gd name="T1" fmla="*/ 99 h 261"/>
                <a:gd name="T2" fmla="*/ 12 w 522"/>
                <a:gd name="T3" fmla="*/ 90 h 261"/>
                <a:gd name="T4" fmla="*/ 35 w 522"/>
                <a:gd name="T5" fmla="*/ 85 h 261"/>
                <a:gd name="T6" fmla="*/ 87 w 522"/>
                <a:gd name="T7" fmla="*/ 80 h 261"/>
                <a:gd name="T8" fmla="*/ 92 w 522"/>
                <a:gd name="T9" fmla="*/ 87 h 261"/>
                <a:gd name="T10" fmla="*/ 112 w 522"/>
                <a:gd name="T11" fmla="*/ 90 h 261"/>
                <a:gd name="T12" fmla="*/ 119 w 522"/>
                <a:gd name="T13" fmla="*/ 97 h 261"/>
                <a:gd name="T14" fmla="*/ 154 w 522"/>
                <a:gd name="T15" fmla="*/ 92 h 261"/>
                <a:gd name="T16" fmla="*/ 147 w 522"/>
                <a:gd name="T17" fmla="*/ 72 h 261"/>
                <a:gd name="T18" fmla="*/ 139 w 522"/>
                <a:gd name="T19" fmla="*/ 62 h 261"/>
                <a:gd name="T20" fmla="*/ 154 w 522"/>
                <a:gd name="T21" fmla="*/ 62 h 261"/>
                <a:gd name="T22" fmla="*/ 154 w 522"/>
                <a:gd name="T23" fmla="*/ 32 h 261"/>
                <a:gd name="T24" fmla="*/ 154 w 522"/>
                <a:gd name="T25" fmla="*/ 0 h 261"/>
                <a:gd name="T26" fmla="*/ 186 w 522"/>
                <a:gd name="T27" fmla="*/ 12 h 261"/>
                <a:gd name="T28" fmla="*/ 209 w 522"/>
                <a:gd name="T29" fmla="*/ 12 h 261"/>
                <a:gd name="T30" fmla="*/ 224 w 522"/>
                <a:gd name="T31" fmla="*/ 30 h 261"/>
                <a:gd name="T32" fmla="*/ 231 w 522"/>
                <a:gd name="T33" fmla="*/ 45 h 261"/>
                <a:gd name="T34" fmla="*/ 259 w 522"/>
                <a:gd name="T35" fmla="*/ 45 h 261"/>
                <a:gd name="T36" fmla="*/ 296 w 522"/>
                <a:gd name="T37" fmla="*/ 47 h 261"/>
                <a:gd name="T38" fmla="*/ 318 w 522"/>
                <a:gd name="T39" fmla="*/ 60 h 261"/>
                <a:gd name="T40" fmla="*/ 336 w 522"/>
                <a:gd name="T41" fmla="*/ 65 h 261"/>
                <a:gd name="T42" fmla="*/ 341 w 522"/>
                <a:gd name="T43" fmla="*/ 80 h 261"/>
                <a:gd name="T44" fmla="*/ 385 w 522"/>
                <a:gd name="T45" fmla="*/ 72 h 261"/>
                <a:gd name="T46" fmla="*/ 393 w 522"/>
                <a:gd name="T47" fmla="*/ 60 h 261"/>
                <a:gd name="T48" fmla="*/ 410 w 522"/>
                <a:gd name="T49" fmla="*/ 70 h 261"/>
                <a:gd name="T50" fmla="*/ 430 w 522"/>
                <a:gd name="T51" fmla="*/ 50 h 261"/>
                <a:gd name="T52" fmla="*/ 447 w 522"/>
                <a:gd name="T53" fmla="*/ 50 h 261"/>
                <a:gd name="T54" fmla="*/ 462 w 522"/>
                <a:gd name="T55" fmla="*/ 57 h 261"/>
                <a:gd name="T56" fmla="*/ 457 w 522"/>
                <a:gd name="T57" fmla="*/ 72 h 261"/>
                <a:gd name="T58" fmla="*/ 460 w 522"/>
                <a:gd name="T59" fmla="*/ 112 h 261"/>
                <a:gd name="T60" fmla="*/ 465 w 522"/>
                <a:gd name="T61" fmla="*/ 119 h 261"/>
                <a:gd name="T62" fmla="*/ 480 w 522"/>
                <a:gd name="T63" fmla="*/ 114 h 261"/>
                <a:gd name="T64" fmla="*/ 507 w 522"/>
                <a:gd name="T65" fmla="*/ 112 h 261"/>
                <a:gd name="T66" fmla="*/ 522 w 522"/>
                <a:gd name="T67" fmla="*/ 129 h 261"/>
                <a:gd name="T68" fmla="*/ 490 w 522"/>
                <a:gd name="T69" fmla="*/ 144 h 261"/>
                <a:gd name="T70" fmla="*/ 465 w 522"/>
                <a:gd name="T71" fmla="*/ 159 h 261"/>
                <a:gd name="T72" fmla="*/ 450 w 522"/>
                <a:gd name="T73" fmla="*/ 172 h 261"/>
                <a:gd name="T74" fmla="*/ 433 w 522"/>
                <a:gd name="T75" fmla="*/ 189 h 261"/>
                <a:gd name="T76" fmla="*/ 408 w 522"/>
                <a:gd name="T77" fmla="*/ 182 h 261"/>
                <a:gd name="T78" fmla="*/ 410 w 522"/>
                <a:gd name="T79" fmla="*/ 201 h 261"/>
                <a:gd name="T80" fmla="*/ 405 w 522"/>
                <a:gd name="T81" fmla="*/ 224 h 261"/>
                <a:gd name="T82" fmla="*/ 378 w 522"/>
                <a:gd name="T83" fmla="*/ 246 h 261"/>
                <a:gd name="T84" fmla="*/ 343 w 522"/>
                <a:gd name="T85" fmla="*/ 241 h 261"/>
                <a:gd name="T86" fmla="*/ 328 w 522"/>
                <a:gd name="T87" fmla="*/ 251 h 261"/>
                <a:gd name="T88" fmla="*/ 303 w 522"/>
                <a:gd name="T89" fmla="*/ 261 h 261"/>
                <a:gd name="T90" fmla="*/ 276 w 522"/>
                <a:gd name="T91" fmla="*/ 246 h 261"/>
                <a:gd name="T92" fmla="*/ 256 w 522"/>
                <a:gd name="T93" fmla="*/ 239 h 261"/>
                <a:gd name="T94" fmla="*/ 157 w 522"/>
                <a:gd name="T95" fmla="*/ 231 h 261"/>
                <a:gd name="T96" fmla="*/ 144 w 522"/>
                <a:gd name="T97" fmla="*/ 221 h 261"/>
                <a:gd name="T98" fmla="*/ 132 w 522"/>
                <a:gd name="T99" fmla="*/ 199 h 261"/>
                <a:gd name="T100" fmla="*/ 112 w 522"/>
                <a:gd name="T101" fmla="*/ 186 h 261"/>
                <a:gd name="T102" fmla="*/ 94 w 522"/>
                <a:gd name="T103" fmla="*/ 184 h 261"/>
                <a:gd name="T104" fmla="*/ 55 w 522"/>
                <a:gd name="T105" fmla="*/ 174 h 261"/>
                <a:gd name="T106" fmla="*/ 42 w 522"/>
                <a:gd name="T107" fmla="*/ 147 h 261"/>
                <a:gd name="T108" fmla="*/ 35 w 522"/>
                <a:gd name="T109" fmla="*/ 127 h 261"/>
                <a:gd name="T110" fmla="*/ 10 w 522"/>
                <a:gd name="T111" fmla="*/ 112 h 261"/>
                <a:gd name="T112" fmla="*/ 0 w 522"/>
                <a:gd name="T113" fmla="*/ 99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2" h="261">
                  <a:moveTo>
                    <a:pt x="0" y="99"/>
                  </a:moveTo>
                  <a:lnTo>
                    <a:pt x="12" y="90"/>
                  </a:lnTo>
                  <a:lnTo>
                    <a:pt x="35" y="85"/>
                  </a:lnTo>
                  <a:lnTo>
                    <a:pt x="87" y="80"/>
                  </a:lnTo>
                  <a:lnTo>
                    <a:pt x="92" y="87"/>
                  </a:lnTo>
                  <a:lnTo>
                    <a:pt x="112" y="90"/>
                  </a:lnTo>
                  <a:lnTo>
                    <a:pt x="119" y="97"/>
                  </a:lnTo>
                  <a:lnTo>
                    <a:pt x="154" y="92"/>
                  </a:lnTo>
                  <a:lnTo>
                    <a:pt x="147" y="72"/>
                  </a:lnTo>
                  <a:lnTo>
                    <a:pt x="139" y="62"/>
                  </a:lnTo>
                  <a:lnTo>
                    <a:pt x="154" y="62"/>
                  </a:lnTo>
                  <a:lnTo>
                    <a:pt x="154" y="32"/>
                  </a:lnTo>
                  <a:lnTo>
                    <a:pt x="154" y="0"/>
                  </a:lnTo>
                  <a:lnTo>
                    <a:pt x="186" y="12"/>
                  </a:lnTo>
                  <a:lnTo>
                    <a:pt x="209" y="12"/>
                  </a:lnTo>
                  <a:lnTo>
                    <a:pt x="224" y="30"/>
                  </a:lnTo>
                  <a:lnTo>
                    <a:pt x="231" y="45"/>
                  </a:lnTo>
                  <a:lnTo>
                    <a:pt x="259" y="45"/>
                  </a:lnTo>
                  <a:lnTo>
                    <a:pt x="296" y="47"/>
                  </a:lnTo>
                  <a:lnTo>
                    <a:pt x="318" y="60"/>
                  </a:lnTo>
                  <a:lnTo>
                    <a:pt x="336" y="65"/>
                  </a:lnTo>
                  <a:lnTo>
                    <a:pt x="341" y="80"/>
                  </a:lnTo>
                  <a:lnTo>
                    <a:pt x="385" y="72"/>
                  </a:lnTo>
                  <a:lnTo>
                    <a:pt x="393" y="60"/>
                  </a:lnTo>
                  <a:lnTo>
                    <a:pt x="410" y="70"/>
                  </a:lnTo>
                  <a:lnTo>
                    <a:pt x="430" y="50"/>
                  </a:lnTo>
                  <a:lnTo>
                    <a:pt x="447" y="50"/>
                  </a:lnTo>
                  <a:lnTo>
                    <a:pt x="462" y="57"/>
                  </a:lnTo>
                  <a:lnTo>
                    <a:pt x="457" y="72"/>
                  </a:lnTo>
                  <a:lnTo>
                    <a:pt x="460" y="112"/>
                  </a:lnTo>
                  <a:lnTo>
                    <a:pt x="465" y="119"/>
                  </a:lnTo>
                  <a:lnTo>
                    <a:pt x="480" y="114"/>
                  </a:lnTo>
                  <a:lnTo>
                    <a:pt x="507" y="112"/>
                  </a:lnTo>
                  <a:lnTo>
                    <a:pt x="522" y="129"/>
                  </a:lnTo>
                  <a:lnTo>
                    <a:pt x="490" y="144"/>
                  </a:lnTo>
                  <a:lnTo>
                    <a:pt x="465" y="159"/>
                  </a:lnTo>
                  <a:lnTo>
                    <a:pt x="450" y="172"/>
                  </a:lnTo>
                  <a:lnTo>
                    <a:pt x="433" y="189"/>
                  </a:lnTo>
                  <a:lnTo>
                    <a:pt x="408" y="182"/>
                  </a:lnTo>
                  <a:lnTo>
                    <a:pt x="410" y="201"/>
                  </a:lnTo>
                  <a:lnTo>
                    <a:pt x="405" y="224"/>
                  </a:lnTo>
                  <a:lnTo>
                    <a:pt x="378" y="246"/>
                  </a:lnTo>
                  <a:lnTo>
                    <a:pt x="343" y="241"/>
                  </a:lnTo>
                  <a:lnTo>
                    <a:pt x="328" y="251"/>
                  </a:lnTo>
                  <a:lnTo>
                    <a:pt x="303" y="261"/>
                  </a:lnTo>
                  <a:lnTo>
                    <a:pt x="276" y="246"/>
                  </a:lnTo>
                  <a:lnTo>
                    <a:pt x="256" y="239"/>
                  </a:lnTo>
                  <a:lnTo>
                    <a:pt x="157" y="231"/>
                  </a:lnTo>
                  <a:lnTo>
                    <a:pt x="144" y="221"/>
                  </a:lnTo>
                  <a:lnTo>
                    <a:pt x="132" y="199"/>
                  </a:lnTo>
                  <a:lnTo>
                    <a:pt x="112" y="186"/>
                  </a:lnTo>
                  <a:lnTo>
                    <a:pt x="94" y="184"/>
                  </a:lnTo>
                  <a:lnTo>
                    <a:pt x="55" y="174"/>
                  </a:lnTo>
                  <a:lnTo>
                    <a:pt x="42" y="147"/>
                  </a:lnTo>
                  <a:lnTo>
                    <a:pt x="35" y="127"/>
                  </a:lnTo>
                  <a:lnTo>
                    <a:pt x="1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230"/>
            <p:cNvSpPr>
              <a:spLocks/>
            </p:cNvSpPr>
            <p:nvPr/>
          </p:nvSpPr>
          <p:spPr bwMode="auto">
            <a:xfrm>
              <a:off x="1946037" y="2691307"/>
              <a:ext cx="71962" cy="132410"/>
            </a:xfrm>
            <a:custGeom>
              <a:avLst/>
              <a:gdLst>
                <a:gd name="T0" fmla="*/ 5 w 50"/>
                <a:gd name="T1" fmla="*/ 0 h 92"/>
                <a:gd name="T2" fmla="*/ 20 w 50"/>
                <a:gd name="T3" fmla="*/ 5 h 92"/>
                <a:gd name="T4" fmla="*/ 20 w 50"/>
                <a:gd name="T5" fmla="*/ 28 h 92"/>
                <a:gd name="T6" fmla="*/ 25 w 50"/>
                <a:gd name="T7" fmla="*/ 50 h 92"/>
                <a:gd name="T8" fmla="*/ 30 w 50"/>
                <a:gd name="T9" fmla="*/ 62 h 92"/>
                <a:gd name="T10" fmla="*/ 38 w 50"/>
                <a:gd name="T11" fmla="*/ 72 h 92"/>
                <a:gd name="T12" fmla="*/ 50 w 50"/>
                <a:gd name="T13" fmla="*/ 90 h 92"/>
                <a:gd name="T14" fmla="*/ 40 w 50"/>
                <a:gd name="T15" fmla="*/ 92 h 92"/>
                <a:gd name="T16" fmla="*/ 30 w 50"/>
                <a:gd name="T17" fmla="*/ 92 h 92"/>
                <a:gd name="T18" fmla="*/ 18 w 50"/>
                <a:gd name="T19" fmla="*/ 87 h 92"/>
                <a:gd name="T20" fmla="*/ 18 w 50"/>
                <a:gd name="T21" fmla="*/ 57 h 92"/>
                <a:gd name="T22" fmla="*/ 0 w 50"/>
                <a:gd name="T23" fmla="*/ 55 h 92"/>
                <a:gd name="T24" fmla="*/ 5 w 50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92">
                  <a:moveTo>
                    <a:pt x="5" y="0"/>
                  </a:moveTo>
                  <a:lnTo>
                    <a:pt x="20" y="5"/>
                  </a:lnTo>
                  <a:lnTo>
                    <a:pt x="20" y="28"/>
                  </a:lnTo>
                  <a:lnTo>
                    <a:pt x="25" y="50"/>
                  </a:lnTo>
                  <a:lnTo>
                    <a:pt x="30" y="62"/>
                  </a:lnTo>
                  <a:lnTo>
                    <a:pt x="38" y="72"/>
                  </a:lnTo>
                  <a:lnTo>
                    <a:pt x="50" y="90"/>
                  </a:lnTo>
                  <a:lnTo>
                    <a:pt x="40" y="92"/>
                  </a:lnTo>
                  <a:lnTo>
                    <a:pt x="30" y="92"/>
                  </a:lnTo>
                  <a:lnTo>
                    <a:pt x="18" y="87"/>
                  </a:lnTo>
                  <a:lnTo>
                    <a:pt x="18" y="57"/>
                  </a:lnTo>
                  <a:lnTo>
                    <a:pt x="0" y="5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231"/>
            <p:cNvSpPr>
              <a:spLocks/>
            </p:cNvSpPr>
            <p:nvPr/>
          </p:nvSpPr>
          <p:spPr bwMode="auto">
            <a:xfrm>
              <a:off x="2078447" y="2874089"/>
              <a:ext cx="254744" cy="197176"/>
            </a:xfrm>
            <a:custGeom>
              <a:avLst/>
              <a:gdLst>
                <a:gd name="T0" fmla="*/ 55 w 177"/>
                <a:gd name="T1" fmla="*/ 2 h 137"/>
                <a:gd name="T2" fmla="*/ 35 w 177"/>
                <a:gd name="T3" fmla="*/ 7 h 137"/>
                <a:gd name="T4" fmla="*/ 43 w 177"/>
                <a:gd name="T5" fmla="*/ 12 h 137"/>
                <a:gd name="T6" fmla="*/ 0 w 177"/>
                <a:gd name="T7" fmla="*/ 42 h 137"/>
                <a:gd name="T8" fmla="*/ 0 w 177"/>
                <a:gd name="T9" fmla="*/ 55 h 137"/>
                <a:gd name="T10" fmla="*/ 25 w 177"/>
                <a:gd name="T11" fmla="*/ 65 h 137"/>
                <a:gd name="T12" fmla="*/ 58 w 177"/>
                <a:gd name="T13" fmla="*/ 30 h 137"/>
                <a:gd name="T14" fmla="*/ 58 w 177"/>
                <a:gd name="T15" fmla="*/ 35 h 137"/>
                <a:gd name="T16" fmla="*/ 87 w 177"/>
                <a:gd name="T17" fmla="*/ 42 h 137"/>
                <a:gd name="T18" fmla="*/ 107 w 177"/>
                <a:gd name="T19" fmla="*/ 67 h 137"/>
                <a:gd name="T20" fmla="*/ 127 w 177"/>
                <a:gd name="T21" fmla="*/ 94 h 137"/>
                <a:gd name="T22" fmla="*/ 120 w 177"/>
                <a:gd name="T23" fmla="*/ 129 h 137"/>
                <a:gd name="T24" fmla="*/ 135 w 177"/>
                <a:gd name="T25" fmla="*/ 119 h 137"/>
                <a:gd name="T26" fmla="*/ 152 w 177"/>
                <a:gd name="T27" fmla="*/ 137 h 137"/>
                <a:gd name="T28" fmla="*/ 162 w 177"/>
                <a:gd name="T29" fmla="*/ 97 h 137"/>
                <a:gd name="T30" fmla="*/ 177 w 177"/>
                <a:gd name="T31" fmla="*/ 99 h 137"/>
                <a:gd name="T32" fmla="*/ 162 w 177"/>
                <a:gd name="T33" fmla="*/ 72 h 137"/>
                <a:gd name="T34" fmla="*/ 132 w 177"/>
                <a:gd name="T35" fmla="*/ 55 h 137"/>
                <a:gd name="T36" fmla="*/ 117 w 177"/>
                <a:gd name="T37" fmla="*/ 37 h 137"/>
                <a:gd name="T38" fmla="*/ 90 w 177"/>
                <a:gd name="T39" fmla="*/ 0 h 137"/>
                <a:gd name="T40" fmla="*/ 55 w 177"/>
                <a:gd name="T41" fmla="*/ 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7" h="137">
                  <a:moveTo>
                    <a:pt x="55" y="2"/>
                  </a:moveTo>
                  <a:lnTo>
                    <a:pt x="35" y="7"/>
                  </a:lnTo>
                  <a:lnTo>
                    <a:pt x="43" y="12"/>
                  </a:lnTo>
                  <a:lnTo>
                    <a:pt x="0" y="42"/>
                  </a:lnTo>
                  <a:lnTo>
                    <a:pt x="0" y="55"/>
                  </a:lnTo>
                  <a:lnTo>
                    <a:pt x="25" y="65"/>
                  </a:lnTo>
                  <a:lnTo>
                    <a:pt x="58" y="30"/>
                  </a:lnTo>
                  <a:lnTo>
                    <a:pt x="58" y="35"/>
                  </a:lnTo>
                  <a:lnTo>
                    <a:pt x="87" y="42"/>
                  </a:lnTo>
                  <a:lnTo>
                    <a:pt x="107" y="67"/>
                  </a:lnTo>
                  <a:lnTo>
                    <a:pt x="127" y="94"/>
                  </a:lnTo>
                  <a:lnTo>
                    <a:pt x="120" y="129"/>
                  </a:lnTo>
                  <a:lnTo>
                    <a:pt x="135" y="119"/>
                  </a:lnTo>
                  <a:lnTo>
                    <a:pt x="152" y="137"/>
                  </a:lnTo>
                  <a:lnTo>
                    <a:pt x="162" y="97"/>
                  </a:lnTo>
                  <a:lnTo>
                    <a:pt x="177" y="99"/>
                  </a:lnTo>
                  <a:lnTo>
                    <a:pt x="162" y="72"/>
                  </a:lnTo>
                  <a:lnTo>
                    <a:pt x="132" y="55"/>
                  </a:lnTo>
                  <a:lnTo>
                    <a:pt x="117" y="37"/>
                  </a:lnTo>
                  <a:lnTo>
                    <a:pt x="90" y="0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232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233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235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30 w 30"/>
                <a:gd name="T1" fmla="*/ 0 h 15"/>
                <a:gd name="T2" fmla="*/ 2 w 30"/>
                <a:gd name="T3" fmla="*/ 2 h 15"/>
                <a:gd name="T4" fmla="*/ 0 w 30"/>
                <a:gd name="T5" fmla="*/ 10 h 15"/>
                <a:gd name="T6" fmla="*/ 5 w 30"/>
                <a:gd name="T7" fmla="*/ 15 h 15"/>
                <a:gd name="T8" fmla="*/ 25 w 30"/>
                <a:gd name="T9" fmla="*/ 12 h 15"/>
                <a:gd name="T10" fmla="*/ 30 w 30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lnTo>
                    <a:pt x="2" y="2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25" y="12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236"/>
            <p:cNvSpPr>
              <a:spLocks/>
            </p:cNvSpPr>
            <p:nvPr/>
          </p:nvSpPr>
          <p:spPr bwMode="auto">
            <a:xfrm>
              <a:off x="4994338" y="4408314"/>
              <a:ext cx="47494" cy="50374"/>
            </a:xfrm>
            <a:custGeom>
              <a:avLst/>
              <a:gdLst>
                <a:gd name="T0" fmla="*/ 15 w 33"/>
                <a:gd name="T1" fmla="*/ 0 h 35"/>
                <a:gd name="T2" fmla="*/ 5 w 33"/>
                <a:gd name="T3" fmla="*/ 5 h 35"/>
                <a:gd name="T4" fmla="*/ 8 w 33"/>
                <a:gd name="T5" fmla="*/ 18 h 35"/>
                <a:gd name="T6" fmla="*/ 0 w 33"/>
                <a:gd name="T7" fmla="*/ 25 h 35"/>
                <a:gd name="T8" fmla="*/ 3 w 33"/>
                <a:gd name="T9" fmla="*/ 35 h 35"/>
                <a:gd name="T10" fmla="*/ 13 w 33"/>
                <a:gd name="T11" fmla="*/ 33 h 35"/>
                <a:gd name="T12" fmla="*/ 28 w 33"/>
                <a:gd name="T13" fmla="*/ 33 h 35"/>
                <a:gd name="T14" fmla="*/ 33 w 33"/>
                <a:gd name="T15" fmla="*/ 25 h 35"/>
                <a:gd name="T16" fmla="*/ 30 w 33"/>
                <a:gd name="T17" fmla="*/ 5 h 35"/>
                <a:gd name="T18" fmla="*/ 15 w 33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5">
                  <a:moveTo>
                    <a:pt x="15" y="0"/>
                  </a:moveTo>
                  <a:lnTo>
                    <a:pt x="5" y="5"/>
                  </a:lnTo>
                  <a:lnTo>
                    <a:pt x="8" y="18"/>
                  </a:lnTo>
                  <a:lnTo>
                    <a:pt x="0" y="25"/>
                  </a:lnTo>
                  <a:lnTo>
                    <a:pt x="3" y="35"/>
                  </a:lnTo>
                  <a:lnTo>
                    <a:pt x="13" y="33"/>
                  </a:lnTo>
                  <a:lnTo>
                    <a:pt x="28" y="33"/>
                  </a:lnTo>
                  <a:lnTo>
                    <a:pt x="33" y="25"/>
                  </a:lnTo>
                  <a:lnTo>
                    <a:pt x="30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237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157 w 214"/>
                <a:gd name="T1" fmla="*/ 0 h 211"/>
                <a:gd name="T2" fmla="*/ 152 w 214"/>
                <a:gd name="T3" fmla="*/ 12 h 211"/>
                <a:gd name="T4" fmla="*/ 139 w 214"/>
                <a:gd name="T5" fmla="*/ 17 h 211"/>
                <a:gd name="T6" fmla="*/ 132 w 214"/>
                <a:gd name="T7" fmla="*/ 29 h 211"/>
                <a:gd name="T8" fmla="*/ 127 w 214"/>
                <a:gd name="T9" fmla="*/ 84 h 211"/>
                <a:gd name="T10" fmla="*/ 134 w 214"/>
                <a:gd name="T11" fmla="*/ 92 h 211"/>
                <a:gd name="T12" fmla="*/ 147 w 214"/>
                <a:gd name="T13" fmla="*/ 92 h 211"/>
                <a:gd name="T14" fmla="*/ 149 w 214"/>
                <a:gd name="T15" fmla="*/ 114 h 211"/>
                <a:gd name="T16" fmla="*/ 144 w 214"/>
                <a:gd name="T17" fmla="*/ 126 h 211"/>
                <a:gd name="T18" fmla="*/ 127 w 214"/>
                <a:gd name="T19" fmla="*/ 126 h 211"/>
                <a:gd name="T20" fmla="*/ 120 w 214"/>
                <a:gd name="T21" fmla="*/ 116 h 211"/>
                <a:gd name="T22" fmla="*/ 115 w 214"/>
                <a:gd name="T23" fmla="*/ 97 h 211"/>
                <a:gd name="T24" fmla="*/ 100 w 214"/>
                <a:gd name="T25" fmla="*/ 89 h 211"/>
                <a:gd name="T26" fmla="*/ 100 w 214"/>
                <a:gd name="T27" fmla="*/ 84 h 211"/>
                <a:gd name="T28" fmla="*/ 85 w 214"/>
                <a:gd name="T29" fmla="*/ 87 h 211"/>
                <a:gd name="T30" fmla="*/ 80 w 214"/>
                <a:gd name="T31" fmla="*/ 97 h 211"/>
                <a:gd name="T32" fmla="*/ 70 w 214"/>
                <a:gd name="T33" fmla="*/ 94 h 211"/>
                <a:gd name="T34" fmla="*/ 65 w 214"/>
                <a:gd name="T35" fmla="*/ 77 h 211"/>
                <a:gd name="T36" fmla="*/ 47 w 214"/>
                <a:gd name="T37" fmla="*/ 74 h 211"/>
                <a:gd name="T38" fmla="*/ 45 w 214"/>
                <a:gd name="T39" fmla="*/ 114 h 211"/>
                <a:gd name="T40" fmla="*/ 28 w 214"/>
                <a:gd name="T41" fmla="*/ 114 h 211"/>
                <a:gd name="T42" fmla="*/ 23 w 214"/>
                <a:gd name="T43" fmla="*/ 104 h 211"/>
                <a:gd name="T44" fmla="*/ 15 w 214"/>
                <a:gd name="T45" fmla="*/ 104 h 211"/>
                <a:gd name="T46" fmla="*/ 15 w 214"/>
                <a:gd name="T47" fmla="*/ 114 h 211"/>
                <a:gd name="T48" fmla="*/ 3 w 214"/>
                <a:gd name="T49" fmla="*/ 116 h 211"/>
                <a:gd name="T50" fmla="*/ 0 w 214"/>
                <a:gd name="T51" fmla="*/ 164 h 211"/>
                <a:gd name="T52" fmla="*/ 3 w 214"/>
                <a:gd name="T53" fmla="*/ 179 h 211"/>
                <a:gd name="T54" fmla="*/ 18 w 214"/>
                <a:gd name="T55" fmla="*/ 196 h 211"/>
                <a:gd name="T56" fmla="*/ 18 w 214"/>
                <a:gd name="T57" fmla="*/ 206 h 211"/>
                <a:gd name="T58" fmla="*/ 28 w 214"/>
                <a:gd name="T59" fmla="*/ 208 h 211"/>
                <a:gd name="T60" fmla="*/ 75 w 214"/>
                <a:gd name="T61" fmla="*/ 211 h 211"/>
                <a:gd name="T62" fmla="*/ 85 w 214"/>
                <a:gd name="T63" fmla="*/ 208 h 211"/>
                <a:gd name="T64" fmla="*/ 100 w 214"/>
                <a:gd name="T65" fmla="*/ 208 h 211"/>
                <a:gd name="T66" fmla="*/ 110 w 214"/>
                <a:gd name="T67" fmla="*/ 203 h 211"/>
                <a:gd name="T68" fmla="*/ 112 w 214"/>
                <a:gd name="T69" fmla="*/ 191 h 211"/>
                <a:gd name="T70" fmla="*/ 122 w 214"/>
                <a:gd name="T71" fmla="*/ 189 h 211"/>
                <a:gd name="T72" fmla="*/ 129 w 214"/>
                <a:gd name="T73" fmla="*/ 184 h 211"/>
                <a:gd name="T74" fmla="*/ 132 w 214"/>
                <a:gd name="T75" fmla="*/ 171 h 211"/>
                <a:gd name="T76" fmla="*/ 147 w 214"/>
                <a:gd name="T77" fmla="*/ 169 h 211"/>
                <a:gd name="T78" fmla="*/ 154 w 214"/>
                <a:gd name="T79" fmla="*/ 159 h 211"/>
                <a:gd name="T80" fmla="*/ 182 w 214"/>
                <a:gd name="T81" fmla="*/ 154 h 211"/>
                <a:gd name="T82" fmla="*/ 187 w 214"/>
                <a:gd name="T83" fmla="*/ 141 h 211"/>
                <a:gd name="T84" fmla="*/ 202 w 214"/>
                <a:gd name="T85" fmla="*/ 134 h 211"/>
                <a:gd name="T86" fmla="*/ 204 w 214"/>
                <a:gd name="T87" fmla="*/ 102 h 211"/>
                <a:gd name="T88" fmla="*/ 214 w 214"/>
                <a:gd name="T89" fmla="*/ 94 h 211"/>
                <a:gd name="T90" fmla="*/ 209 w 214"/>
                <a:gd name="T91" fmla="*/ 72 h 211"/>
                <a:gd name="T92" fmla="*/ 211 w 214"/>
                <a:gd name="T93" fmla="*/ 47 h 211"/>
                <a:gd name="T94" fmla="*/ 199 w 214"/>
                <a:gd name="T95" fmla="*/ 29 h 211"/>
                <a:gd name="T96" fmla="*/ 184 w 214"/>
                <a:gd name="T97" fmla="*/ 22 h 211"/>
                <a:gd name="T98" fmla="*/ 172 w 214"/>
                <a:gd name="T99" fmla="*/ 10 h 211"/>
                <a:gd name="T100" fmla="*/ 169 w 214"/>
                <a:gd name="T101" fmla="*/ 0 h 211"/>
                <a:gd name="T102" fmla="*/ 157 w 214"/>
                <a:gd name="T103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157" y="0"/>
                  </a:move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238"/>
            <p:cNvSpPr>
              <a:spLocks/>
            </p:cNvSpPr>
            <p:nvPr/>
          </p:nvSpPr>
          <p:spPr bwMode="auto">
            <a:xfrm>
              <a:off x="6286771" y="4090244"/>
              <a:ext cx="50373" cy="107942"/>
            </a:xfrm>
            <a:custGeom>
              <a:avLst/>
              <a:gdLst>
                <a:gd name="T0" fmla="*/ 12 w 35"/>
                <a:gd name="T1" fmla="*/ 0 h 75"/>
                <a:gd name="T2" fmla="*/ 2 w 35"/>
                <a:gd name="T3" fmla="*/ 23 h 75"/>
                <a:gd name="T4" fmla="*/ 0 w 35"/>
                <a:gd name="T5" fmla="*/ 50 h 75"/>
                <a:gd name="T6" fmla="*/ 10 w 35"/>
                <a:gd name="T7" fmla="*/ 75 h 75"/>
                <a:gd name="T8" fmla="*/ 35 w 35"/>
                <a:gd name="T9" fmla="*/ 70 h 75"/>
                <a:gd name="T10" fmla="*/ 35 w 35"/>
                <a:gd name="T11" fmla="*/ 25 h 75"/>
                <a:gd name="T12" fmla="*/ 27 w 35"/>
                <a:gd name="T13" fmla="*/ 15 h 75"/>
                <a:gd name="T14" fmla="*/ 12 w 35"/>
                <a:gd name="T1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75">
                  <a:moveTo>
                    <a:pt x="12" y="0"/>
                  </a:moveTo>
                  <a:lnTo>
                    <a:pt x="2" y="23"/>
                  </a:lnTo>
                  <a:lnTo>
                    <a:pt x="0" y="50"/>
                  </a:lnTo>
                  <a:lnTo>
                    <a:pt x="10" y="75"/>
                  </a:lnTo>
                  <a:lnTo>
                    <a:pt x="35" y="70"/>
                  </a:lnTo>
                  <a:lnTo>
                    <a:pt x="35" y="25"/>
                  </a:lnTo>
                  <a:lnTo>
                    <a:pt x="27" y="15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239"/>
            <p:cNvSpPr>
              <a:spLocks/>
            </p:cNvSpPr>
            <p:nvPr/>
          </p:nvSpPr>
          <p:spPr bwMode="auto">
            <a:xfrm>
              <a:off x="4125040" y="3943442"/>
              <a:ext cx="201493" cy="146802"/>
            </a:xfrm>
            <a:custGeom>
              <a:avLst/>
              <a:gdLst>
                <a:gd name="T0" fmla="*/ 140 w 140"/>
                <a:gd name="T1" fmla="*/ 50 h 102"/>
                <a:gd name="T2" fmla="*/ 135 w 140"/>
                <a:gd name="T3" fmla="*/ 70 h 102"/>
                <a:gd name="T4" fmla="*/ 115 w 140"/>
                <a:gd name="T5" fmla="*/ 75 h 102"/>
                <a:gd name="T6" fmla="*/ 102 w 140"/>
                <a:gd name="T7" fmla="*/ 95 h 102"/>
                <a:gd name="T8" fmla="*/ 92 w 140"/>
                <a:gd name="T9" fmla="*/ 95 h 102"/>
                <a:gd name="T10" fmla="*/ 77 w 140"/>
                <a:gd name="T11" fmla="*/ 92 h 102"/>
                <a:gd name="T12" fmla="*/ 65 w 140"/>
                <a:gd name="T13" fmla="*/ 85 h 102"/>
                <a:gd name="T14" fmla="*/ 55 w 140"/>
                <a:gd name="T15" fmla="*/ 85 h 102"/>
                <a:gd name="T16" fmla="*/ 45 w 140"/>
                <a:gd name="T17" fmla="*/ 102 h 102"/>
                <a:gd name="T18" fmla="*/ 10 w 140"/>
                <a:gd name="T19" fmla="*/ 100 h 102"/>
                <a:gd name="T20" fmla="*/ 0 w 140"/>
                <a:gd name="T21" fmla="*/ 92 h 102"/>
                <a:gd name="T22" fmla="*/ 5 w 140"/>
                <a:gd name="T23" fmla="*/ 67 h 102"/>
                <a:gd name="T24" fmla="*/ 18 w 140"/>
                <a:gd name="T25" fmla="*/ 50 h 102"/>
                <a:gd name="T26" fmla="*/ 25 w 140"/>
                <a:gd name="T27" fmla="*/ 38 h 102"/>
                <a:gd name="T28" fmla="*/ 30 w 140"/>
                <a:gd name="T29" fmla="*/ 28 h 102"/>
                <a:gd name="T30" fmla="*/ 53 w 140"/>
                <a:gd name="T31" fmla="*/ 20 h 102"/>
                <a:gd name="T32" fmla="*/ 63 w 140"/>
                <a:gd name="T33" fmla="*/ 10 h 102"/>
                <a:gd name="T34" fmla="*/ 70 w 140"/>
                <a:gd name="T35" fmla="*/ 0 h 102"/>
                <a:gd name="T36" fmla="*/ 100 w 140"/>
                <a:gd name="T37" fmla="*/ 0 h 102"/>
                <a:gd name="T38" fmla="*/ 107 w 140"/>
                <a:gd name="T39" fmla="*/ 10 h 102"/>
                <a:gd name="T40" fmla="*/ 117 w 140"/>
                <a:gd name="T41" fmla="*/ 18 h 102"/>
                <a:gd name="T42" fmla="*/ 117 w 140"/>
                <a:gd name="T43" fmla="*/ 35 h 102"/>
                <a:gd name="T44" fmla="*/ 130 w 140"/>
                <a:gd name="T45" fmla="*/ 38 h 102"/>
                <a:gd name="T46" fmla="*/ 140 w 140"/>
                <a:gd name="T47" fmla="*/ 5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0" h="102">
                  <a:moveTo>
                    <a:pt x="140" y="50"/>
                  </a:moveTo>
                  <a:lnTo>
                    <a:pt x="135" y="70"/>
                  </a:lnTo>
                  <a:lnTo>
                    <a:pt x="115" y="75"/>
                  </a:lnTo>
                  <a:lnTo>
                    <a:pt x="102" y="95"/>
                  </a:lnTo>
                  <a:lnTo>
                    <a:pt x="92" y="95"/>
                  </a:lnTo>
                  <a:lnTo>
                    <a:pt x="77" y="92"/>
                  </a:lnTo>
                  <a:lnTo>
                    <a:pt x="65" y="85"/>
                  </a:lnTo>
                  <a:lnTo>
                    <a:pt x="55" y="85"/>
                  </a:lnTo>
                  <a:lnTo>
                    <a:pt x="45" y="102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5" y="67"/>
                  </a:lnTo>
                  <a:lnTo>
                    <a:pt x="18" y="50"/>
                  </a:lnTo>
                  <a:lnTo>
                    <a:pt x="25" y="38"/>
                  </a:lnTo>
                  <a:lnTo>
                    <a:pt x="30" y="28"/>
                  </a:lnTo>
                  <a:lnTo>
                    <a:pt x="53" y="20"/>
                  </a:lnTo>
                  <a:lnTo>
                    <a:pt x="63" y="10"/>
                  </a:lnTo>
                  <a:lnTo>
                    <a:pt x="70" y="0"/>
                  </a:lnTo>
                  <a:lnTo>
                    <a:pt x="100" y="0"/>
                  </a:lnTo>
                  <a:lnTo>
                    <a:pt x="107" y="10"/>
                  </a:lnTo>
                  <a:lnTo>
                    <a:pt x="117" y="18"/>
                  </a:lnTo>
                  <a:lnTo>
                    <a:pt x="117" y="35"/>
                  </a:lnTo>
                  <a:lnTo>
                    <a:pt x="130" y="38"/>
                  </a:lnTo>
                  <a:lnTo>
                    <a:pt x="14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240"/>
            <p:cNvSpPr>
              <a:spLocks/>
            </p:cNvSpPr>
            <p:nvPr/>
          </p:nvSpPr>
          <p:spPr bwMode="auto">
            <a:xfrm>
              <a:off x="3881809" y="4008207"/>
              <a:ext cx="197176" cy="164073"/>
            </a:xfrm>
            <a:custGeom>
              <a:avLst/>
              <a:gdLst>
                <a:gd name="T0" fmla="*/ 0 w 137"/>
                <a:gd name="T1" fmla="*/ 20 h 114"/>
                <a:gd name="T2" fmla="*/ 10 w 137"/>
                <a:gd name="T3" fmla="*/ 7 h 114"/>
                <a:gd name="T4" fmla="*/ 30 w 137"/>
                <a:gd name="T5" fmla="*/ 0 h 114"/>
                <a:gd name="T6" fmla="*/ 55 w 137"/>
                <a:gd name="T7" fmla="*/ 5 h 114"/>
                <a:gd name="T8" fmla="*/ 75 w 137"/>
                <a:gd name="T9" fmla="*/ 5 h 114"/>
                <a:gd name="T10" fmla="*/ 92 w 137"/>
                <a:gd name="T11" fmla="*/ 10 h 114"/>
                <a:gd name="T12" fmla="*/ 115 w 137"/>
                <a:gd name="T13" fmla="*/ 12 h 114"/>
                <a:gd name="T14" fmla="*/ 127 w 137"/>
                <a:gd name="T15" fmla="*/ 27 h 114"/>
                <a:gd name="T16" fmla="*/ 132 w 137"/>
                <a:gd name="T17" fmla="*/ 52 h 114"/>
                <a:gd name="T18" fmla="*/ 127 w 137"/>
                <a:gd name="T19" fmla="*/ 67 h 114"/>
                <a:gd name="T20" fmla="*/ 137 w 137"/>
                <a:gd name="T21" fmla="*/ 77 h 114"/>
                <a:gd name="T22" fmla="*/ 120 w 137"/>
                <a:gd name="T23" fmla="*/ 89 h 114"/>
                <a:gd name="T24" fmla="*/ 115 w 137"/>
                <a:gd name="T25" fmla="*/ 114 h 114"/>
                <a:gd name="T26" fmla="*/ 100 w 137"/>
                <a:gd name="T27" fmla="*/ 109 h 114"/>
                <a:gd name="T28" fmla="*/ 90 w 137"/>
                <a:gd name="T29" fmla="*/ 87 h 114"/>
                <a:gd name="T30" fmla="*/ 85 w 137"/>
                <a:gd name="T31" fmla="*/ 67 h 114"/>
                <a:gd name="T32" fmla="*/ 65 w 137"/>
                <a:gd name="T33" fmla="*/ 57 h 114"/>
                <a:gd name="T34" fmla="*/ 50 w 137"/>
                <a:gd name="T35" fmla="*/ 65 h 114"/>
                <a:gd name="T36" fmla="*/ 30 w 137"/>
                <a:gd name="T37" fmla="*/ 70 h 114"/>
                <a:gd name="T38" fmla="*/ 8 w 137"/>
                <a:gd name="T39" fmla="*/ 47 h 114"/>
                <a:gd name="T40" fmla="*/ 0 w 137"/>
                <a:gd name="T41" fmla="*/ 2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14">
                  <a:moveTo>
                    <a:pt x="0" y="20"/>
                  </a:moveTo>
                  <a:lnTo>
                    <a:pt x="10" y="7"/>
                  </a:lnTo>
                  <a:lnTo>
                    <a:pt x="30" y="0"/>
                  </a:lnTo>
                  <a:lnTo>
                    <a:pt x="55" y="5"/>
                  </a:lnTo>
                  <a:lnTo>
                    <a:pt x="75" y="5"/>
                  </a:lnTo>
                  <a:lnTo>
                    <a:pt x="92" y="10"/>
                  </a:lnTo>
                  <a:lnTo>
                    <a:pt x="115" y="12"/>
                  </a:lnTo>
                  <a:lnTo>
                    <a:pt x="127" y="27"/>
                  </a:lnTo>
                  <a:lnTo>
                    <a:pt x="132" y="52"/>
                  </a:lnTo>
                  <a:lnTo>
                    <a:pt x="127" y="67"/>
                  </a:lnTo>
                  <a:lnTo>
                    <a:pt x="137" y="77"/>
                  </a:lnTo>
                  <a:lnTo>
                    <a:pt x="120" y="89"/>
                  </a:lnTo>
                  <a:lnTo>
                    <a:pt x="115" y="114"/>
                  </a:lnTo>
                  <a:lnTo>
                    <a:pt x="100" y="109"/>
                  </a:lnTo>
                  <a:lnTo>
                    <a:pt x="90" y="87"/>
                  </a:lnTo>
                  <a:lnTo>
                    <a:pt x="85" y="67"/>
                  </a:lnTo>
                  <a:lnTo>
                    <a:pt x="65" y="57"/>
                  </a:lnTo>
                  <a:lnTo>
                    <a:pt x="50" y="65"/>
                  </a:lnTo>
                  <a:lnTo>
                    <a:pt x="30" y="70"/>
                  </a:lnTo>
                  <a:lnTo>
                    <a:pt x="8" y="4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241"/>
            <p:cNvSpPr>
              <a:spLocks/>
            </p:cNvSpPr>
            <p:nvPr/>
          </p:nvSpPr>
          <p:spPr bwMode="auto">
            <a:xfrm>
              <a:off x="4189805" y="4065776"/>
              <a:ext cx="93551" cy="164073"/>
            </a:xfrm>
            <a:custGeom>
              <a:avLst/>
              <a:gdLst>
                <a:gd name="T0" fmla="*/ 3 w 65"/>
                <a:gd name="T1" fmla="*/ 112 h 114"/>
                <a:gd name="T2" fmla="*/ 0 w 65"/>
                <a:gd name="T3" fmla="*/ 82 h 114"/>
                <a:gd name="T4" fmla="*/ 3 w 65"/>
                <a:gd name="T5" fmla="*/ 54 h 114"/>
                <a:gd name="T6" fmla="*/ 13 w 65"/>
                <a:gd name="T7" fmla="*/ 52 h 114"/>
                <a:gd name="T8" fmla="*/ 15 w 65"/>
                <a:gd name="T9" fmla="*/ 40 h 114"/>
                <a:gd name="T10" fmla="*/ 3 w 65"/>
                <a:gd name="T11" fmla="*/ 35 h 114"/>
                <a:gd name="T12" fmla="*/ 0 w 65"/>
                <a:gd name="T13" fmla="*/ 17 h 114"/>
                <a:gd name="T14" fmla="*/ 10 w 65"/>
                <a:gd name="T15" fmla="*/ 0 h 114"/>
                <a:gd name="T16" fmla="*/ 20 w 65"/>
                <a:gd name="T17" fmla="*/ 0 h 114"/>
                <a:gd name="T18" fmla="*/ 32 w 65"/>
                <a:gd name="T19" fmla="*/ 7 h 114"/>
                <a:gd name="T20" fmla="*/ 47 w 65"/>
                <a:gd name="T21" fmla="*/ 10 h 114"/>
                <a:gd name="T22" fmla="*/ 50 w 65"/>
                <a:gd name="T23" fmla="*/ 27 h 114"/>
                <a:gd name="T24" fmla="*/ 57 w 65"/>
                <a:gd name="T25" fmla="*/ 32 h 114"/>
                <a:gd name="T26" fmla="*/ 57 w 65"/>
                <a:gd name="T27" fmla="*/ 47 h 114"/>
                <a:gd name="T28" fmla="*/ 60 w 65"/>
                <a:gd name="T29" fmla="*/ 72 h 114"/>
                <a:gd name="T30" fmla="*/ 65 w 65"/>
                <a:gd name="T31" fmla="*/ 94 h 114"/>
                <a:gd name="T32" fmla="*/ 57 w 65"/>
                <a:gd name="T33" fmla="*/ 104 h 114"/>
                <a:gd name="T34" fmla="*/ 42 w 65"/>
                <a:gd name="T35" fmla="*/ 104 h 114"/>
                <a:gd name="T36" fmla="*/ 35 w 65"/>
                <a:gd name="T37" fmla="*/ 114 h 114"/>
                <a:gd name="T38" fmla="*/ 22 w 65"/>
                <a:gd name="T39" fmla="*/ 114 h 114"/>
                <a:gd name="T40" fmla="*/ 3 w 65"/>
                <a:gd name="T41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" h="114">
                  <a:moveTo>
                    <a:pt x="3" y="112"/>
                  </a:moveTo>
                  <a:lnTo>
                    <a:pt x="0" y="82"/>
                  </a:lnTo>
                  <a:lnTo>
                    <a:pt x="3" y="54"/>
                  </a:lnTo>
                  <a:lnTo>
                    <a:pt x="13" y="52"/>
                  </a:lnTo>
                  <a:lnTo>
                    <a:pt x="15" y="40"/>
                  </a:lnTo>
                  <a:lnTo>
                    <a:pt x="3" y="35"/>
                  </a:lnTo>
                  <a:lnTo>
                    <a:pt x="0" y="17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2" y="7"/>
                  </a:lnTo>
                  <a:lnTo>
                    <a:pt x="47" y="10"/>
                  </a:lnTo>
                  <a:lnTo>
                    <a:pt x="50" y="27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60" y="72"/>
                  </a:lnTo>
                  <a:lnTo>
                    <a:pt x="65" y="94"/>
                  </a:lnTo>
                  <a:lnTo>
                    <a:pt x="57" y="104"/>
                  </a:lnTo>
                  <a:lnTo>
                    <a:pt x="42" y="104"/>
                  </a:lnTo>
                  <a:lnTo>
                    <a:pt x="35" y="114"/>
                  </a:lnTo>
                  <a:lnTo>
                    <a:pt x="22" y="114"/>
                  </a:lnTo>
                  <a:lnTo>
                    <a:pt x="3" y="1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242"/>
            <p:cNvSpPr>
              <a:spLocks/>
            </p:cNvSpPr>
            <p:nvPr/>
          </p:nvSpPr>
          <p:spPr bwMode="auto">
            <a:xfrm>
              <a:off x="5008730" y="4444296"/>
              <a:ext cx="43177" cy="47494"/>
            </a:xfrm>
            <a:custGeom>
              <a:avLst/>
              <a:gdLst>
                <a:gd name="T0" fmla="*/ 15 w 30"/>
                <a:gd name="T1" fmla="*/ 30 h 33"/>
                <a:gd name="T2" fmla="*/ 30 w 30"/>
                <a:gd name="T3" fmla="*/ 30 h 33"/>
                <a:gd name="T4" fmla="*/ 28 w 30"/>
                <a:gd name="T5" fmla="*/ 8 h 33"/>
                <a:gd name="T6" fmla="*/ 23 w 30"/>
                <a:gd name="T7" fmla="*/ 0 h 33"/>
                <a:gd name="T8" fmla="*/ 18 w 30"/>
                <a:gd name="T9" fmla="*/ 8 h 33"/>
                <a:gd name="T10" fmla="*/ 3 w 30"/>
                <a:gd name="T11" fmla="*/ 8 h 33"/>
                <a:gd name="T12" fmla="*/ 0 w 30"/>
                <a:gd name="T13" fmla="*/ 28 h 33"/>
                <a:gd name="T14" fmla="*/ 5 w 30"/>
                <a:gd name="T15" fmla="*/ 33 h 33"/>
                <a:gd name="T16" fmla="*/ 15 w 30"/>
                <a:gd name="T17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3">
                  <a:moveTo>
                    <a:pt x="15" y="30"/>
                  </a:moveTo>
                  <a:lnTo>
                    <a:pt x="30" y="30"/>
                  </a:lnTo>
                  <a:lnTo>
                    <a:pt x="28" y="8"/>
                  </a:lnTo>
                  <a:lnTo>
                    <a:pt x="23" y="0"/>
                  </a:lnTo>
                  <a:lnTo>
                    <a:pt x="18" y="8"/>
                  </a:lnTo>
                  <a:lnTo>
                    <a:pt x="3" y="8"/>
                  </a:lnTo>
                  <a:lnTo>
                    <a:pt x="0" y="28"/>
                  </a:lnTo>
                  <a:lnTo>
                    <a:pt x="5" y="33"/>
                  </a:lnTo>
                  <a:lnTo>
                    <a:pt x="1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243"/>
            <p:cNvSpPr>
              <a:spLocks/>
            </p:cNvSpPr>
            <p:nvPr/>
          </p:nvSpPr>
          <p:spPr bwMode="auto">
            <a:xfrm>
              <a:off x="4676266" y="5027186"/>
              <a:ext cx="418818" cy="390033"/>
            </a:xfrm>
            <a:custGeom>
              <a:avLst/>
              <a:gdLst>
                <a:gd name="T0" fmla="*/ 266 w 291"/>
                <a:gd name="T1" fmla="*/ 13 h 271"/>
                <a:gd name="T2" fmla="*/ 246 w 291"/>
                <a:gd name="T3" fmla="*/ 13 h 271"/>
                <a:gd name="T4" fmla="*/ 241 w 291"/>
                <a:gd name="T5" fmla="*/ 5 h 271"/>
                <a:gd name="T6" fmla="*/ 229 w 291"/>
                <a:gd name="T7" fmla="*/ 0 h 271"/>
                <a:gd name="T8" fmla="*/ 226 w 291"/>
                <a:gd name="T9" fmla="*/ 10 h 271"/>
                <a:gd name="T10" fmla="*/ 214 w 291"/>
                <a:gd name="T11" fmla="*/ 20 h 271"/>
                <a:gd name="T12" fmla="*/ 204 w 291"/>
                <a:gd name="T13" fmla="*/ 30 h 271"/>
                <a:gd name="T14" fmla="*/ 192 w 291"/>
                <a:gd name="T15" fmla="*/ 38 h 271"/>
                <a:gd name="T16" fmla="*/ 187 w 291"/>
                <a:gd name="T17" fmla="*/ 55 h 271"/>
                <a:gd name="T18" fmla="*/ 174 w 291"/>
                <a:gd name="T19" fmla="*/ 58 h 271"/>
                <a:gd name="T20" fmla="*/ 167 w 291"/>
                <a:gd name="T21" fmla="*/ 68 h 271"/>
                <a:gd name="T22" fmla="*/ 157 w 291"/>
                <a:gd name="T23" fmla="*/ 80 h 271"/>
                <a:gd name="T24" fmla="*/ 139 w 291"/>
                <a:gd name="T25" fmla="*/ 80 h 271"/>
                <a:gd name="T26" fmla="*/ 127 w 291"/>
                <a:gd name="T27" fmla="*/ 73 h 271"/>
                <a:gd name="T28" fmla="*/ 117 w 291"/>
                <a:gd name="T29" fmla="*/ 73 h 271"/>
                <a:gd name="T30" fmla="*/ 112 w 291"/>
                <a:gd name="T31" fmla="*/ 82 h 271"/>
                <a:gd name="T32" fmla="*/ 107 w 291"/>
                <a:gd name="T33" fmla="*/ 92 h 271"/>
                <a:gd name="T34" fmla="*/ 97 w 291"/>
                <a:gd name="T35" fmla="*/ 100 h 271"/>
                <a:gd name="T36" fmla="*/ 75 w 291"/>
                <a:gd name="T37" fmla="*/ 95 h 271"/>
                <a:gd name="T38" fmla="*/ 70 w 291"/>
                <a:gd name="T39" fmla="*/ 75 h 271"/>
                <a:gd name="T40" fmla="*/ 62 w 291"/>
                <a:gd name="T41" fmla="*/ 68 h 271"/>
                <a:gd name="T42" fmla="*/ 57 w 291"/>
                <a:gd name="T43" fmla="*/ 137 h 271"/>
                <a:gd name="T44" fmla="*/ 47 w 291"/>
                <a:gd name="T45" fmla="*/ 147 h 271"/>
                <a:gd name="T46" fmla="*/ 25 w 291"/>
                <a:gd name="T47" fmla="*/ 145 h 271"/>
                <a:gd name="T48" fmla="*/ 15 w 291"/>
                <a:gd name="T49" fmla="*/ 130 h 271"/>
                <a:gd name="T50" fmla="*/ 13 w 291"/>
                <a:gd name="T51" fmla="*/ 137 h 271"/>
                <a:gd name="T52" fmla="*/ 0 w 291"/>
                <a:gd name="T53" fmla="*/ 137 h 271"/>
                <a:gd name="T54" fmla="*/ 3 w 291"/>
                <a:gd name="T55" fmla="*/ 145 h 271"/>
                <a:gd name="T56" fmla="*/ 3 w 291"/>
                <a:gd name="T57" fmla="*/ 164 h 271"/>
                <a:gd name="T58" fmla="*/ 15 w 291"/>
                <a:gd name="T59" fmla="*/ 169 h 271"/>
                <a:gd name="T60" fmla="*/ 15 w 291"/>
                <a:gd name="T61" fmla="*/ 194 h 271"/>
                <a:gd name="T62" fmla="*/ 25 w 291"/>
                <a:gd name="T63" fmla="*/ 197 h 271"/>
                <a:gd name="T64" fmla="*/ 25 w 291"/>
                <a:gd name="T65" fmla="*/ 204 h 271"/>
                <a:gd name="T66" fmla="*/ 33 w 291"/>
                <a:gd name="T67" fmla="*/ 204 h 271"/>
                <a:gd name="T68" fmla="*/ 30 w 291"/>
                <a:gd name="T69" fmla="*/ 219 h 271"/>
                <a:gd name="T70" fmla="*/ 20 w 291"/>
                <a:gd name="T71" fmla="*/ 227 h 271"/>
                <a:gd name="T72" fmla="*/ 52 w 291"/>
                <a:gd name="T73" fmla="*/ 269 h 271"/>
                <a:gd name="T74" fmla="*/ 75 w 291"/>
                <a:gd name="T75" fmla="*/ 271 h 271"/>
                <a:gd name="T76" fmla="*/ 85 w 291"/>
                <a:gd name="T77" fmla="*/ 264 h 271"/>
                <a:gd name="T78" fmla="*/ 95 w 291"/>
                <a:gd name="T79" fmla="*/ 249 h 271"/>
                <a:gd name="T80" fmla="*/ 132 w 291"/>
                <a:gd name="T81" fmla="*/ 251 h 271"/>
                <a:gd name="T82" fmla="*/ 137 w 291"/>
                <a:gd name="T83" fmla="*/ 256 h 271"/>
                <a:gd name="T84" fmla="*/ 157 w 291"/>
                <a:gd name="T85" fmla="*/ 249 h 271"/>
                <a:gd name="T86" fmla="*/ 164 w 291"/>
                <a:gd name="T87" fmla="*/ 242 h 271"/>
                <a:gd name="T88" fmla="*/ 192 w 291"/>
                <a:gd name="T89" fmla="*/ 239 h 271"/>
                <a:gd name="T90" fmla="*/ 204 w 291"/>
                <a:gd name="T91" fmla="*/ 229 h 271"/>
                <a:gd name="T92" fmla="*/ 219 w 291"/>
                <a:gd name="T93" fmla="*/ 207 h 271"/>
                <a:gd name="T94" fmla="*/ 234 w 291"/>
                <a:gd name="T95" fmla="*/ 194 h 271"/>
                <a:gd name="T96" fmla="*/ 256 w 291"/>
                <a:gd name="T97" fmla="*/ 174 h 271"/>
                <a:gd name="T98" fmla="*/ 261 w 291"/>
                <a:gd name="T99" fmla="*/ 155 h 271"/>
                <a:gd name="T100" fmla="*/ 266 w 291"/>
                <a:gd name="T101" fmla="*/ 137 h 271"/>
                <a:gd name="T102" fmla="*/ 279 w 291"/>
                <a:gd name="T103" fmla="*/ 135 h 271"/>
                <a:gd name="T104" fmla="*/ 291 w 291"/>
                <a:gd name="T105" fmla="*/ 115 h 271"/>
                <a:gd name="T106" fmla="*/ 276 w 291"/>
                <a:gd name="T107" fmla="*/ 110 h 271"/>
                <a:gd name="T108" fmla="*/ 271 w 291"/>
                <a:gd name="T109" fmla="*/ 95 h 271"/>
                <a:gd name="T110" fmla="*/ 266 w 291"/>
                <a:gd name="T111" fmla="*/ 82 h 271"/>
                <a:gd name="T112" fmla="*/ 266 w 291"/>
                <a:gd name="T113" fmla="*/ 65 h 271"/>
                <a:gd name="T114" fmla="*/ 266 w 291"/>
                <a:gd name="T115" fmla="*/ 43 h 271"/>
                <a:gd name="T116" fmla="*/ 266 w 291"/>
                <a:gd name="T117" fmla="*/ 1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71">
                  <a:moveTo>
                    <a:pt x="266" y="13"/>
                  </a:moveTo>
                  <a:lnTo>
                    <a:pt x="246" y="13"/>
                  </a:lnTo>
                  <a:lnTo>
                    <a:pt x="241" y="5"/>
                  </a:lnTo>
                  <a:lnTo>
                    <a:pt x="229" y="0"/>
                  </a:lnTo>
                  <a:lnTo>
                    <a:pt x="226" y="10"/>
                  </a:lnTo>
                  <a:lnTo>
                    <a:pt x="214" y="20"/>
                  </a:lnTo>
                  <a:lnTo>
                    <a:pt x="204" y="30"/>
                  </a:lnTo>
                  <a:lnTo>
                    <a:pt x="192" y="38"/>
                  </a:lnTo>
                  <a:lnTo>
                    <a:pt x="187" y="55"/>
                  </a:lnTo>
                  <a:lnTo>
                    <a:pt x="174" y="58"/>
                  </a:lnTo>
                  <a:lnTo>
                    <a:pt x="167" y="68"/>
                  </a:lnTo>
                  <a:lnTo>
                    <a:pt x="157" y="80"/>
                  </a:lnTo>
                  <a:lnTo>
                    <a:pt x="139" y="80"/>
                  </a:lnTo>
                  <a:lnTo>
                    <a:pt x="127" y="73"/>
                  </a:lnTo>
                  <a:lnTo>
                    <a:pt x="117" y="73"/>
                  </a:lnTo>
                  <a:lnTo>
                    <a:pt x="112" y="82"/>
                  </a:lnTo>
                  <a:lnTo>
                    <a:pt x="107" y="92"/>
                  </a:lnTo>
                  <a:lnTo>
                    <a:pt x="97" y="100"/>
                  </a:lnTo>
                  <a:lnTo>
                    <a:pt x="75" y="95"/>
                  </a:lnTo>
                  <a:lnTo>
                    <a:pt x="70" y="75"/>
                  </a:lnTo>
                  <a:lnTo>
                    <a:pt x="62" y="68"/>
                  </a:lnTo>
                  <a:lnTo>
                    <a:pt x="57" y="137"/>
                  </a:lnTo>
                  <a:lnTo>
                    <a:pt x="47" y="147"/>
                  </a:lnTo>
                  <a:lnTo>
                    <a:pt x="25" y="145"/>
                  </a:lnTo>
                  <a:lnTo>
                    <a:pt x="15" y="130"/>
                  </a:lnTo>
                  <a:lnTo>
                    <a:pt x="13" y="137"/>
                  </a:lnTo>
                  <a:lnTo>
                    <a:pt x="0" y="137"/>
                  </a:lnTo>
                  <a:lnTo>
                    <a:pt x="3" y="145"/>
                  </a:lnTo>
                  <a:lnTo>
                    <a:pt x="3" y="164"/>
                  </a:lnTo>
                  <a:lnTo>
                    <a:pt x="15" y="169"/>
                  </a:lnTo>
                  <a:lnTo>
                    <a:pt x="15" y="194"/>
                  </a:lnTo>
                  <a:lnTo>
                    <a:pt x="25" y="197"/>
                  </a:lnTo>
                  <a:lnTo>
                    <a:pt x="25" y="204"/>
                  </a:lnTo>
                  <a:lnTo>
                    <a:pt x="33" y="204"/>
                  </a:lnTo>
                  <a:lnTo>
                    <a:pt x="30" y="219"/>
                  </a:lnTo>
                  <a:lnTo>
                    <a:pt x="20" y="227"/>
                  </a:lnTo>
                  <a:lnTo>
                    <a:pt x="52" y="269"/>
                  </a:lnTo>
                  <a:lnTo>
                    <a:pt x="75" y="271"/>
                  </a:lnTo>
                  <a:lnTo>
                    <a:pt x="85" y="264"/>
                  </a:lnTo>
                  <a:lnTo>
                    <a:pt x="95" y="249"/>
                  </a:lnTo>
                  <a:lnTo>
                    <a:pt x="132" y="251"/>
                  </a:lnTo>
                  <a:lnTo>
                    <a:pt x="137" y="256"/>
                  </a:lnTo>
                  <a:lnTo>
                    <a:pt x="157" y="249"/>
                  </a:lnTo>
                  <a:lnTo>
                    <a:pt x="164" y="242"/>
                  </a:lnTo>
                  <a:lnTo>
                    <a:pt x="192" y="239"/>
                  </a:lnTo>
                  <a:lnTo>
                    <a:pt x="204" y="229"/>
                  </a:lnTo>
                  <a:lnTo>
                    <a:pt x="219" y="207"/>
                  </a:lnTo>
                  <a:lnTo>
                    <a:pt x="234" y="194"/>
                  </a:lnTo>
                  <a:lnTo>
                    <a:pt x="256" y="174"/>
                  </a:lnTo>
                  <a:lnTo>
                    <a:pt x="261" y="155"/>
                  </a:lnTo>
                  <a:lnTo>
                    <a:pt x="266" y="137"/>
                  </a:lnTo>
                  <a:lnTo>
                    <a:pt x="279" y="135"/>
                  </a:lnTo>
                  <a:lnTo>
                    <a:pt x="291" y="115"/>
                  </a:lnTo>
                  <a:lnTo>
                    <a:pt x="276" y="110"/>
                  </a:lnTo>
                  <a:lnTo>
                    <a:pt x="271" y="95"/>
                  </a:lnTo>
                  <a:lnTo>
                    <a:pt x="266" y="82"/>
                  </a:lnTo>
                  <a:lnTo>
                    <a:pt x="266" y="65"/>
                  </a:lnTo>
                  <a:lnTo>
                    <a:pt x="266" y="43"/>
                  </a:lnTo>
                  <a:lnTo>
                    <a:pt x="266" y="1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244"/>
            <p:cNvSpPr>
              <a:spLocks/>
            </p:cNvSpPr>
            <p:nvPr/>
          </p:nvSpPr>
          <p:spPr bwMode="auto">
            <a:xfrm>
              <a:off x="5030318" y="4680330"/>
              <a:ext cx="264819" cy="512368"/>
            </a:xfrm>
            <a:custGeom>
              <a:avLst/>
              <a:gdLst>
                <a:gd name="T0" fmla="*/ 30 w 184"/>
                <a:gd name="T1" fmla="*/ 351 h 356"/>
                <a:gd name="T2" fmla="*/ 20 w 184"/>
                <a:gd name="T3" fmla="*/ 323 h 356"/>
                <a:gd name="T4" fmla="*/ 20 w 184"/>
                <a:gd name="T5" fmla="*/ 284 h 356"/>
                <a:gd name="T6" fmla="*/ 23 w 184"/>
                <a:gd name="T7" fmla="*/ 239 h 356"/>
                <a:gd name="T8" fmla="*/ 33 w 184"/>
                <a:gd name="T9" fmla="*/ 209 h 356"/>
                <a:gd name="T10" fmla="*/ 50 w 184"/>
                <a:gd name="T11" fmla="*/ 192 h 356"/>
                <a:gd name="T12" fmla="*/ 43 w 184"/>
                <a:gd name="T13" fmla="*/ 162 h 356"/>
                <a:gd name="T14" fmla="*/ 40 w 184"/>
                <a:gd name="T15" fmla="*/ 120 h 356"/>
                <a:gd name="T16" fmla="*/ 8 w 184"/>
                <a:gd name="T17" fmla="*/ 102 h 356"/>
                <a:gd name="T18" fmla="*/ 28 w 184"/>
                <a:gd name="T19" fmla="*/ 95 h 356"/>
                <a:gd name="T20" fmla="*/ 48 w 184"/>
                <a:gd name="T21" fmla="*/ 75 h 356"/>
                <a:gd name="T22" fmla="*/ 75 w 184"/>
                <a:gd name="T23" fmla="*/ 85 h 356"/>
                <a:gd name="T24" fmla="*/ 67 w 184"/>
                <a:gd name="T25" fmla="*/ 117 h 356"/>
                <a:gd name="T26" fmla="*/ 87 w 184"/>
                <a:gd name="T27" fmla="*/ 122 h 356"/>
                <a:gd name="T28" fmla="*/ 105 w 184"/>
                <a:gd name="T29" fmla="*/ 102 h 356"/>
                <a:gd name="T30" fmla="*/ 97 w 184"/>
                <a:gd name="T31" fmla="*/ 72 h 356"/>
                <a:gd name="T32" fmla="*/ 85 w 184"/>
                <a:gd name="T33" fmla="*/ 57 h 356"/>
                <a:gd name="T34" fmla="*/ 80 w 184"/>
                <a:gd name="T35" fmla="*/ 35 h 356"/>
                <a:gd name="T36" fmla="*/ 80 w 184"/>
                <a:gd name="T37" fmla="*/ 0 h 356"/>
                <a:gd name="T38" fmla="*/ 97 w 184"/>
                <a:gd name="T39" fmla="*/ 23 h 356"/>
                <a:gd name="T40" fmla="*/ 137 w 184"/>
                <a:gd name="T41" fmla="*/ 15 h 356"/>
                <a:gd name="T42" fmla="*/ 162 w 184"/>
                <a:gd name="T43" fmla="*/ 8 h 356"/>
                <a:gd name="T44" fmla="*/ 184 w 184"/>
                <a:gd name="T45" fmla="*/ 38 h 356"/>
                <a:gd name="T46" fmla="*/ 172 w 184"/>
                <a:gd name="T47" fmla="*/ 117 h 356"/>
                <a:gd name="T48" fmla="*/ 140 w 184"/>
                <a:gd name="T49" fmla="*/ 132 h 356"/>
                <a:gd name="T50" fmla="*/ 125 w 184"/>
                <a:gd name="T51" fmla="*/ 144 h 356"/>
                <a:gd name="T52" fmla="*/ 115 w 184"/>
                <a:gd name="T53" fmla="*/ 174 h 356"/>
                <a:gd name="T54" fmla="*/ 90 w 184"/>
                <a:gd name="T55" fmla="*/ 184 h 356"/>
                <a:gd name="T56" fmla="*/ 85 w 184"/>
                <a:gd name="T57" fmla="*/ 234 h 356"/>
                <a:gd name="T58" fmla="*/ 87 w 184"/>
                <a:gd name="T59" fmla="*/ 271 h 356"/>
                <a:gd name="T60" fmla="*/ 85 w 184"/>
                <a:gd name="T61" fmla="*/ 291 h 356"/>
                <a:gd name="T62" fmla="*/ 67 w 184"/>
                <a:gd name="T63" fmla="*/ 299 h 356"/>
                <a:gd name="T64" fmla="*/ 48 w 184"/>
                <a:gd name="T65" fmla="*/ 306 h 356"/>
                <a:gd name="T66" fmla="*/ 48 w 184"/>
                <a:gd name="T67" fmla="*/ 333 h 356"/>
                <a:gd name="T68" fmla="*/ 45 w 184"/>
                <a:gd name="T69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356">
                  <a:moveTo>
                    <a:pt x="45" y="356"/>
                  </a:moveTo>
                  <a:lnTo>
                    <a:pt x="30" y="351"/>
                  </a:lnTo>
                  <a:lnTo>
                    <a:pt x="25" y="336"/>
                  </a:lnTo>
                  <a:lnTo>
                    <a:pt x="20" y="323"/>
                  </a:lnTo>
                  <a:lnTo>
                    <a:pt x="20" y="306"/>
                  </a:lnTo>
                  <a:lnTo>
                    <a:pt x="20" y="284"/>
                  </a:lnTo>
                  <a:lnTo>
                    <a:pt x="20" y="254"/>
                  </a:lnTo>
                  <a:lnTo>
                    <a:pt x="23" y="239"/>
                  </a:lnTo>
                  <a:lnTo>
                    <a:pt x="33" y="234"/>
                  </a:lnTo>
                  <a:lnTo>
                    <a:pt x="33" y="209"/>
                  </a:lnTo>
                  <a:lnTo>
                    <a:pt x="45" y="202"/>
                  </a:lnTo>
                  <a:lnTo>
                    <a:pt x="50" y="192"/>
                  </a:lnTo>
                  <a:lnTo>
                    <a:pt x="45" y="177"/>
                  </a:lnTo>
                  <a:lnTo>
                    <a:pt x="43" y="162"/>
                  </a:lnTo>
                  <a:lnTo>
                    <a:pt x="50" y="140"/>
                  </a:lnTo>
                  <a:lnTo>
                    <a:pt x="40" y="120"/>
                  </a:lnTo>
                  <a:lnTo>
                    <a:pt x="15" y="117"/>
                  </a:lnTo>
                  <a:lnTo>
                    <a:pt x="8" y="102"/>
                  </a:lnTo>
                  <a:lnTo>
                    <a:pt x="0" y="100"/>
                  </a:lnTo>
                  <a:lnTo>
                    <a:pt x="28" y="95"/>
                  </a:lnTo>
                  <a:lnTo>
                    <a:pt x="33" y="82"/>
                  </a:lnTo>
                  <a:lnTo>
                    <a:pt x="48" y="75"/>
                  </a:lnTo>
                  <a:lnTo>
                    <a:pt x="60" y="82"/>
                  </a:lnTo>
                  <a:lnTo>
                    <a:pt x="75" y="85"/>
                  </a:lnTo>
                  <a:lnTo>
                    <a:pt x="72" y="100"/>
                  </a:lnTo>
                  <a:lnTo>
                    <a:pt x="67" y="117"/>
                  </a:lnTo>
                  <a:lnTo>
                    <a:pt x="75" y="125"/>
                  </a:lnTo>
                  <a:lnTo>
                    <a:pt x="87" y="122"/>
                  </a:lnTo>
                  <a:lnTo>
                    <a:pt x="92" y="110"/>
                  </a:lnTo>
                  <a:lnTo>
                    <a:pt x="105" y="102"/>
                  </a:lnTo>
                  <a:lnTo>
                    <a:pt x="102" y="85"/>
                  </a:lnTo>
                  <a:lnTo>
                    <a:pt x="97" y="72"/>
                  </a:lnTo>
                  <a:lnTo>
                    <a:pt x="90" y="62"/>
                  </a:lnTo>
                  <a:lnTo>
                    <a:pt x="85" y="57"/>
                  </a:lnTo>
                  <a:lnTo>
                    <a:pt x="77" y="48"/>
                  </a:lnTo>
                  <a:lnTo>
                    <a:pt x="80" y="35"/>
                  </a:lnTo>
                  <a:lnTo>
                    <a:pt x="82" y="18"/>
                  </a:lnTo>
                  <a:lnTo>
                    <a:pt x="80" y="0"/>
                  </a:lnTo>
                  <a:lnTo>
                    <a:pt x="95" y="13"/>
                  </a:lnTo>
                  <a:lnTo>
                    <a:pt x="97" y="23"/>
                  </a:lnTo>
                  <a:lnTo>
                    <a:pt x="135" y="28"/>
                  </a:lnTo>
                  <a:lnTo>
                    <a:pt x="137" y="15"/>
                  </a:lnTo>
                  <a:lnTo>
                    <a:pt x="159" y="15"/>
                  </a:lnTo>
                  <a:lnTo>
                    <a:pt x="162" y="8"/>
                  </a:lnTo>
                  <a:lnTo>
                    <a:pt x="184" y="3"/>
                  </a:lnTo>
                  <a:lnTo>
                    <a:pt x="184" y="38"/>
                  </a:lnTo>
                  <a:lnTo>
                    <a:pt x="184" y="105"/>
                  </a:lnTo>
                  <a:lnTo>
                    <a:pt x="172" y="117"/>
                  </a:lnTo>
                  <a:lnTo>
                    <a:pt x="169" y="127"/>
                  </a:lnTo>
                  <a:lnTo>
                    <a:pt x="140" y="132"/>
                  </a:lnTo>
                  <a:lnTo>
                    <a:pt x="137" y="142"/>
                  </a:lnTo>
                  <a:lnTo>
                    <a:pt x="125" y="144"/>
                  </a:lnTo>
                  <a:lnTo>
                    <a:pt x="120" y="152"/>
                  </a:lnTo>
                  <a:lnTo>
                    <a:pt x="115" y="174"/>
                  </a:lnTo>
                  <a:lnTo>
                    <a:pt x="100" y="177"/>
                  </a:lnTo>
                  <a:lnTo>
                    <a:pt x="90" y="184"/>
                  </a:lnTo>
                  <a:lnTo>
                    <a:pt x="85" y="194"/>
                  </a:lnTo>
                  <a:lnTo>
                    <a:pt x="85" y="234"/>
                  </a:lnTo>
                  <a:lnTo>
                    <a:pt x="87" y="236"/>
                  </a:lnTo>
                  <a:lnTo>
                    <a:pt x="87" y="271"/>
                  </a:lnTo>
                  <a:lnTo>
                    <a:pt x="90" y="289"/>
                  </a:lnTo>
                  <a:lnTo>
                    <a:pt x="85" y="291"/>
                  </a:lnTo>
                  <a:lnTo>
                    <a:pt x="82" y="299"/>
                  </a:lnTo>
                  <a:lnTo>
                    <a:pt x="67" y="299"/>
                  </a:lnTo>
                  <a:lnTo>
                    <a:pt x="65" y="304"/>
                  </a:lnTo>
                  <a:lnTo>
                    <a:pt x="48" y="306"/>
                  </a:lnTo>
                  <a:lnTo>
                    <a:pt x="48" y="321"/>
                  </a:lnTo>
                  <a:lnTo>
                    <a:pt x="48" y="333"/>
                  </a:lnTo>
                  <a:lnTo>
                    <a:pt x="48" y="346"/>
                  </a:lnTo>
                  <a:lnTo>
                    <a:pt x="45" y="35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245"/>
            <p:cNvSpPr>
              <a:spLocks/>
            </p:cNvSpPr>
            <p:nvPr/>
          </p:nvSpPr>
          <p:spPr bwMode="auto">
            <a:xfrm>
              <a:off x="5015926" y="4408314"/>
              <a:ext cx="279212" cy="312315"/>
            </a:xfrm>
            <a:custGeom>
              <a:avLst/>
              <a:gdLst>
                <a:gd name="T0" fmla="*/ 194 w 194"/>
                <a:gd name="T1" fmla="*/ 192 h 217"/>
                <a:gd name="T2" fmla="*/ 172 w 194"/>
                <a:gd name="T3" fmla="*/ 197 h 217"/>
                <a:gd name="T4" fmla="*/ 169 w 194"/>
                <a:gd name="T5" fmla="*/ 204 h 217"/>
                <a:gd name="T6" fmla="*/ 147 w 194"/>
                <a:gd name="T7" fmla="*/ 204 h 217"/>
                <a:gd name="T8" fmla="*/ 145 w 194"/>
                <a:gd name="T9" fmla="*/ 217 h 217"/>
                <a:gd name="T10" fmla="*/ 107 w 194"/>
                <a:gd name="T11" fmla="*/ 212 h 217"/>
                <a:gd name="T12" fmla="*/ 105 w 194"/>
                <a:gd name="T13" fmla="*/ 202 h 217"/>
                <a:gd name="T14" fmla="*/ 90 w 194"/>
                <a:gd name="T15" fmla="*/ 189 h 217"/>
                <a:gd name="T16" fmla="*/ 75 w 194"/>
                <a:gd name="T17" fmla="*/ 182 h 217"/>
                <a:gd name="T18" fmla="*/ 67 w 194"/>
                <a:gd name="T19" fmla="*/ 177 h 217"/>
                <a:gd name="T20" fmla="*/ 55 w 194"/>
                <a:gd name="T21" fmla="*/ 159 h 217"/>
                <a:gd name="T22" fmla="*/ 40 w 194"/>
                <a:gd name="T23" fmla="*/ 152 h 217"/>
                <a:gd name="T24" fmla="*/ 28 w 194"/>
                <a:gd name="T25" fmla="*/ 140 h 217"/>
                <a:gd name="T26" fmla="*/ 25 w 194"/>
                <a:gd name="T27" fmla="*/ 130 h 217"/>
                <a:gd name="T28" fmla="*/ 13 w 194"/>
                <a:gd name="T29" fmla="*/ 130 h 217"/>
                <a:gd name="T30" fmla="*/ 13 w 194"/>
                <a:gd name="T31" fmla="*/ 120 h 217"/>
                <a:gd name="T32" fmla="*/ 13 w 194"/>
                <a:gd name="T33" fmla="*/ 107 h 217"/>
                <a:gd name="T34" fmla="*/ 8 w 194"/>
                <a:gd name="T35" fmla="*/ 97 h 217"/>
                <a:gd name="T36" fmla="*/ 5 w 194"/>
                <a:gd name="T37" fmla="*/ 87 h 217"/>
                <a:gd name="T38" fmla="*/ 5 w 194"/>
                <a:gd name="T39" fmla="*/ 70 h 217"/>
                <a:gd name="T40" fmla="*/ 0 w 194"/>
                <a:gd name="T41" fmla="*/ 58 h 217"/>
                <a:gd name="T42" fmla="*/ 10 w 194"/>
                <a:gd name="T43" fmla="*/ 55 h 217"/>
                <a:gd name="T44" fmla="*/ 25 w 194"/>
                <a:gd name="T45" fmla="*/ 55 h 217"/>
                <a:gd name="T46" fmla="*/ 23 w 194"/>
                <a:gd name="T47" fmla="*/ 33 h 217"/>
                <a:gd name="T48" fmla="*/ 18 w 194"/>
                <a:gd name="T49" fmla="*/ 25 h 217"/>
                <a:gd name="T50" fmla="*/ 15 w 194"/>
                <a:gd name="T51" fmla="*/ 5 h 217"/>
                <a:gd name="T52" fmla="*/ 23 w 194"/>
                <a:gd name="T53" fmla="*/ 0 h 217"/>
                <a:gd name="T54" fmla="*/ 43 w 194"/>
                <a:gd name="T55" fmla="*/ 0 h 217"/>
                <a:gd name="T56" fmla="*/ 77 w 194"/>
                <a:gd name="T57" fmla="*/ 0 h 217"/>
                <a:gd name="T58" fmla="*/ 92 w 194"/>
                <a:gd name="T59" fmla="*/ 0 h 217"/>
                <a:gd name="T60" fmla="*/ 127 w 194"/>
                <a:gd name="T61" fmla="*/ 30 h 217"/>
                <a:gd name="T62" fmla="*/ 147 w 194"/>
                <a:gd name="T63" fmla="*/ 35 h 217"/>
                <a:gd name="T64" fmla="*/ 147 w 194"/>
                <a:gd name="T65" fmla="*/ 50 h 217"/>
                <a:gd name="T66" fmla="*/ 174 w 194"/>
                <a:gd name="T67" fmla="*/ 65 h 217"/>
                <a:gd name="T68" fmla="*/ 177 w 194"/>
                <a:gd name="T69" fmla="*/ 75 h 217"/>
                <a:gd name="T70" fmla="*/ 177 w 194"/>
                <a:gd name="T71" fmla="*/ 90 h 217"/>
                <a:gd name="T72" fmla="*/ 169 w 194"/>
                <a:gd name="T73" fmla="*/ 97 h 217"/>
                <a:gd name="T74" fmla="*/ 167 w 194"/>
                <a:gd name="T75" fmla="*/ 110 h 217"/>
                <a:gd name="T76" fmla="*/ 177 w 194"/>
                <a:gd name="T77" fmla="*/ 112 h 217"/>
                <a:gd name="T78" fmla="*/ 177 w 194"/>
                <a:gd name="T79" fmla="*/ 132 h 217"/>
                <a:gd name="T80" fmla="*/ 179 w 194"/>
                <a:gd name="T81" fmla="*/ 152 h 217"/>
                <a:gd name="T82" fmla="*/ 182 w 194"/>
                <a:gd name="T83" fmla="*/ 174 h 217"/>
                <a:gd name="T84" fmla="*/ 189 w 194"/>
                <a:gd name="T85" fmla="*/ 182 h 217"/>
                <a:gd name="T86" fmla="*/ 194 w 194"/>
                <a:gd name="T87" fmla="*/ 19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4" h="217">
                  <a:moveTo>
                    <a:pt x="194" y="192"/>
                  </a:moveTo>
                  <a:lnTo>
                    <a:pt x="172" y="197"/>
                  </a:lnTo>
                  <a:lnTo>
                    <a:pt x="169" y="204"/>
                  </a:lnTo>
                  <a:lnTo>
                    <a:pt x="147" y="204"/>
                  </a:lnTo>
                  <a:lnTo>
                    <a:pt x="145" y="217"/>
                  </a:lnTo>
                  <a:lnTo>
                    <a:pt x="107" y="212"/>
                  </a:lnTo>
                  <a:lnTo>
                    <a:pt x="105" y="202"/>
                  </a:lnTo>
                  <a:lnTo>
                    <a:pt x="90" y="189"/>
                  </a:lnTo>
                  <a:lnTo>
                    <a:pt x="75" y="182"/>
                  </a:lnTo>
                  <a:lnTo>
                    <a:pt x="67" y="177"/>
                  </a:lnTo>
                  <a:lnTo>
                    <a:pt x="55" y="159"/>
                  </a:lnTo>
                  <a:lnTo>
                    <a:pt x="40" y="152"/>
                  </a:lnTo>
                  <a:lnTo>
                    <a:pt x="28" y="140"/>
                  </a:lnTo>
                  <a:lnTo>
                    <a:pt x="25" y="130"/>
                  </a:lnTo>
                  <a:lnTo>
                    <a:pt x="13" y="130"/>
                  </a:lnTo>
                  <a:lnTo>
                    <a:pt x="13" y="120"/>
                  </a:lnTo>
                  <a:lnTo>
                    <a:pt x="13" y="107"/>
                  </a:lnTo>
                  <a:lnTo>
                    <a:pt x="8" y="97"/>
                  </a:lnTo>
                  <a:lnTo>
                    <a:pt x="5" y="87"/>
                  </a:lnTo>
                  <a:lnTo>
                    <a:pt x="5" y="70"/>
                  </a:lnTo>
                  <a:lnTo>
                    <a:pt x="0" y="58"/>
                  </a:lnTo>
                  <a:lnTo>
                    <a:pt x="10" y="55"/>
                  </a:lnTo>
                  <a:lnTo>
                    <a:pt x="25" y="55"/>
                  </a:lnTo>
                  <a:lnTo>
                    <a:pt x="23" y="33"/>
                  </a:lnTo>
                  <a:lnTo>
                    <a:pt x="18" y="25"/>
                  </a:lnTo>
                  <a:lnTo>
                    <a:pt x="15" y="5"/>
                  </a:lnTo>
                  <a:lnTo>
                    <a:pt x="23" y="0"/>
                  </a:lnTo>
                  <a:lnTo>
                    <a:pt x="43" y="0"/>
                  </a:lnTo>
                  <a:lnTo>
                    <a:pt x="77" y="0"/>
                  </a:lnTo>
                  <a:lnTo>
                    <a:pt x="92" y="0"/>
                  </a:lnTo>
                  <a:lnTo>
                    <a:pt x="127" y="30"/>
                  </a:lnTo>
                  <a:lnTo>
                    <a:pt x="147" y="35"/>
                  </a:lnTo>
                  <a:lnTo>
                    <a:pt x="147" y="50"/>
                  </a:lnTo>
                  <a:lnTo>
                    <a:pt x="174" y="65"/>
                  </a:lnTo>
                  <a:lnTo>
                    <a:pt x="177" y="75"/>
                  </a:lnTo>
                  <a:lnTo>
                    <a:pt x="177" y="90"/>
                  </a:lnTo>
                  <a:lnTo>
                    <a:pt x="169" y="97"/>
                  </a:lnTo>
                  <a:lnTo>
                    <a:pt x="167" y="110"/>
                  </a:lnTo>
                  <a:lnTo>
                    <a:pt x="177" y="112"/>
                  </a:lnTo>
                  <a:lnTo>
                    <a:pt x="177" y="132"/>
                  </a:lnTo>
                  <a:lnTo>
                    <a:pt x="179" y="152"/>
                  </a:lnTo>
                  <a:lnTo>
                    <a:pt x="182" y="174"/>
                  </a:lnTo>
                  <a:lnTo>
                    <a:pt x="189" y="182"/>
                  </a:lnTo>
                  <a:lnTo>
                    <a:pt x="194" y="19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246"/>
            <p:cNvSpPr>
              <a:spLocks/>
            </p:cNvSpPr>
            <p:nvPr/>
          </p:nvSpPr>
          <p:spPr bwMode="auto">
            <a:xfrm>
              <a:off x="5015926" y="4261512"/>
              <a:ext cx="125214" cy="153999"/>
            </a:xfrm>
            <a:custGeom>
              <a:avLst/>
              <a:gdLst>
                <a:gd name="T0" fmla="*/ 77 w 87"/>
                <a:gd name="T1" fmla="*/ 0 h 107"/>
                <a:gd name="T2" fmla="*/ 87 w 87"/>
                <a:gd name="T3" fmla="*/ 18 h 107"/>
                <a:gd name="T4" fmla="*/ 87 w 87"/>
                <a:gd name="T5" fmla="*/ 50 h 107"/>
                <a:gd name="T6" fmla="*/ 77 w 87"/>
                <a:gd name="T7" fmla="*/ 70 h 107"/>
                <a:gd name="T8" fmla="*/ 72 w 87"/>
                <a:gd name="T9" fmla="*/ 90 h 107"/>
                <a:gd name="T10" fmla="*/ 77 w 87"/>
                <a:gd name="T11" fmla="*/ 102 h 107"/>
                <a:gd name="T12" fmla="*/ 43 w 87"/>
                <a:gd name="T13" fmla="*/ 102 h 107"/>
                <a:gd name="T14" fmla="*/ 23 w 87"/>
                <a:gd name="T15" fmla="*/ 102 h 107"/>
                <a:gd name="T16" fmla="*/ 15 w 87"/>
                <a:gd name="T17" fmla="*/ 107 h 107"/>
                <a:gd name="T18" fmla="*/ 0 w 87"/>
                <a:gd name="T19" fmla="*/ 102 h 107"/>
                <a:gd name="T20" fmla="*/ 5 w 87"/>
                <a:gd name="T21" fmla="*/ 60 h 107"/>
                <a:gd name="T22" fmla="*/ 25 w 87"/>
                <a:gd name="T23" fmla="*/ 53 h 107"/>
                <a:gd name="T24" fmla="*/ 35 w 87"/>
                <a:gd name="T25" fmla="*/ 48 h 107"/>
                <a:gd name="T26" fmla="*/ 35 w 87"/>
                <a:gd name="T27" fmla="*/ 38 h 107"/>
                <a:gd name="T28" fmla="*/ 25 w 87"/>
                <a:gd name="T29" fmla="*/ 35 h 107"/>
                <a:gd name="T30" fmla="*/ 25 w 87"/>
                <a:gd name="T31" fmla="*/ 28 h 107"/>
                <a:gd name="T32" fmla="*/ 20 w 87"/>
                <a:gd name="T33" fmla="*/ 5 h 107"/>
                <a:gd name="T34" fmla="*/ 40 w 87"/>
                <a:gd name="T35" fmla="*/ 5 h 107"/>
                <a:gd name="T36" fmla="*/ 58 w 87"/>
                <a:gd name="T37" fmla="*/ 5 h 107"/>
                <a:gd name="T38" fmla="*/ 77 w 87"/>
                <a:gd name="T3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7">
                  <a:moveTo>
                    <a:pt x="77" y="0"/>
                  </a:moveTo>
                  <a:lnTo>
                    <a:pt x="87" y="18"/>
                  </a:lnTo>
                  <a:lnTo>
                    <a:pt x="87" y="50"/>
                  </a:lnTo>
                  <a:lnTo>
                    <a:pt x="77" y="70"/>
                  </a:lnTo>
                  <a:lnTo>
                    <a:pt x="72" y="90"/>
                  </a:lnTo>
                  <a:lnTo>
                    <a:pt x="77" y="102"/>
                  </a:lnTo>
                  <a:lnTo>
                    <a:pt x="43" y="102"/>
                  </a:lnTo>
                  <a:lnTo>
                    <a:pt x="23" y="102"/>
                  </a:lnTo>
                  <a:lnTo>
                    <a:pt x="15" y="107"/>
                  </a:lnTo>
                  <a:lnTo>
                    <a:pt x="0" y="102"/>
                  </a:lnTo>
                  <a:lnTo>
                    <a:pt x="5" y="60"/>
                  </a:lnTo>
                  <a:lnTo>
                    <a:pt x="25" y="53"/>
                  </a:lnTo>
                  <a:lnTo>
                    <a:pt x="35" y="48"/>
                  </a:lnTo>
                  <a:lnTo>
                    <a:pt x="35" y="38"/>
                  </a:lnTo>
                  <a:lnTo>
                    <a:pt x="25" y="35"/>
                  </a:lnTo>
                  <a:lnTo>
                    <a:pt x="25" y="28"/>
                  </a:lnTo>
                  <a:lnTo>
                    <a:pt x="20" y="5"/>
                  </a:lnTo>
                  <a:lnTo>
                    <a:pt x="40" y="5"/>
                  </a:lnTo>
                  <a:lnTo>
                    <a:pt x="58" y="5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247"/>
            <p:cNvSpPr>
              <a:spLocks/>
            </p:cNvSpPr>
            <p:nvPr/>
          </p:nvSpPr>
          <p:spPr bwMode="auto">
            <a:xfrm>
              <a:off x="5316727" y="4022599"/>
              <a:ext cx="53251" cy="53252"/>
            </a:xfrm>
            <a:custGeom>
              <a:avLst/>
              <a:gdLst>
                <a:gd name="T0" fmla="*/ 20 w 37"/>
                <a:gd name="T1" fmla="*/ 37 h 37"/>
                <a:gd name="T2" fmla="*/ 0 w 37"/>
                <a:gd name="T3" fmla="*/ 32 h 37"/>
                <a:gd name="T4" fmla="*/ 3 w 37"/>
                <a:gd name="T5" fmla="*/ 0 h 37"/>
                <a:gd name="T6" fmla="*/ 37 w 37"/>
                <a:gd name="T7" fmla="*/ 20 h 37"/>
                <a:gd name="T8" fmla="*/ 20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0" y="37"/>
                  </a:moveTo>
                  <a:lnTo>
                    <a:pt x="0" y="32"/>
                  </a:lnTo>
                  <a:lnTo>
                    <a:pt x="3" y="0"/>
                  </a:lnTo>
                  <a:lnTo>
                    <a:pt x="37" y="20"/>
                  </a:lnTo>
                  <a:lnTo>
                    <a:pt x="2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248"/>
            <p:cNvSpPr>
              <a:spLocks/>
            </p:cNvSpPr>
            <p:nvPr/>
          </p:nvSpPr>
          <p:spPr bwMode="auto">
            <a:xfrm>
              <a:off x="4933890" y="5228678"/>
              <a:ext cx="64765" cy="63326"/>
            </a:xfrm>
            <a:custGeom>
              <a:avLst/>
              <a:gdLst>
                <a:gd name="T0" fmla="*/ 15 w 45"/>
                <a:gd name="T1" fmla="*/ 2 h 44"/>
                <a:gd name="T2" fmla="*/ 10 w 45"/>
                <a:gd name="T3" fmla="*/ 12 h 44"/>
                <a:gd name="T4" fmla="*/ 0 w 45"/>
                <a:gd name="T5" fmla="*/ 15 h 44"/>
                <a:gd name="T6" fmla="*/ 0 w 45"/>
                <a:gd name="T7" fmla="*/ 42 h 44"/>
                <a:gd name="T8" fmla="*/ 15 w 45"/>
                <a:gd name="T9" fmla="*/ 39 h 44"/>
                <a:gd name="T10" fmla="*/ 20 w 45"/>
                <a:gd name="T11" fmla="*/ 44 h 44"/>
                <a:gd name="T12" fmla="*/ 28 w 45"/>
                <a:gd name="T13" fmla="*/ 44 h 44"/>
                <a:gd name="T14" fmla="*/ 33 w 45"/>
                <a:gd name="T15" fmla="*/ 37 h 44"/>
                <a:gd name="T16" fmla="*/ 37 w 45"/>
                <a:gd name="T17" fmla="*/ 27 h 44"/>
                <a:gd name="T18" fmla="*/ 45 w 45"/>
                <a:gd name="T19" fmla="*/ 27 h 44"/>
                <a:gd name="T20" fmla="*/ 45 w 45"/>
                <a:gd name="T21" fmla="*/ 2 h 44"/>
                <a:gd name="T22" fmla="*/ 28 w 45"/>
                <a:gd name="T23" fmla="*/ 0 h 44"/>
                <a:gd name="T24" fmla="*/ 15 w 45"/>
                <a:gd name="T25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4">
                  <a:moveTo>
                    <a:pt x="15" y="2"/>
                  </a:moveTo>
                  <a:lnTo>
                    <a:pt x="10" y="12"/>
                  </a:lnTo>
                  <a:lnTo>
                    <a:pt x="0" y="15"/>
                  </a:lnTo>
                  <a:lnTo>
                    <a:pt x="0" y="42"/>
                  </a:lnTo>
                  <a:lnTo>
                    <a:pt x="15" y="39"/>
                  </a:lnTo>
                  <a:lnTo>
                    <a:pt x="20" y="44"/>
                  </a:lnTo>
                  <a:lnTo>
                    <a:pt x="28" y="44"/>
                  </a:lnTo>
                  <a:lnTo>
                    <a:pt x="33" y="37"/>
                  </a:lnTo>
                  <a:lnTo>
                    <a:pt x="37" y="27"/>
                  </a:lnTo>
                  <a:lnTo>
                    <a:pt x="45" y="27"/>
                  </a:lnTo>
                  <a:lnTo>
                    <a:pt x="45" y="2"/>
                  </a:lnTo>
                  <a:lnTo>
                    <a:pt x="28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249"/>
            <p:cNvSpPr>
              <a:spLocks/>
            </p:cNvSpPr>
            <p:nvPr/>
          </p:nvSpPr>
          <p:spPr bwMode="auto">
            <a:xfrm>
              <a:off x="5338315" y="3815349"/>
              <a:ext cx="257624" cy="192858"/>
            </a:xfrm>
            <a:custGeom>
              <a:avLst/>
              <a:gdLst>
                <a:gd name="T0" fmla="*/ 65 w 179"/>
                <a:gd name="T1" fmla="*/ 72 h 134"/>
                <a:gd name="T2" fmla="*/ 65 w 179"/>
                <a:gd name="T3" fmla="*/ 57 h 134"/>
                <a:gd name="T4" fmla="*/ 65 w 179"/>
                <a:gd name="T5" fmla="*/ 45 h 134"/>
                <a:gd name="T6" fmla="*/ 57 w 179"/>
                <a:gd name="T7" fmla="*/ 42 h 134"/>
                <a:gd name="T8" fmla="*/ 35 w 179"/>
                <a:gd name="T9" fmla="*/ 40 h 134"/>
                <a:gd name="T10" fmla="*/ 15 w 179"/>
                <a:gd name="T11" fmla="*/ 42 h 134"/>
                <a:gd name="T12" fmla="*/ 0 w 179"/>
                <a:gd name="T13" fmla="*/ 49 h 134"/>
                <a:gd name="T14" fmla="*/ 3 w 179"/>
                <a:gd name="T15" fmla="*/ 89 h 134"/>
                <a:gd name="T16" fmla="*/ 3 w 179"/>
                <a:gd name="T17" fmla="*/ 112 h 134"/>
                <a:gd name="T18" fmla="*/ 10 w 179"/>
                <a:gd name="T19" fmla="*/ 124 h 134"/>
                <a:gd name="T20" fmla="*/ 30 w 179"/>
                <a:gd name="T21" fmla="*/ 134 h 134"/>
                <a:gd name="T22" fmla="*/ 42 w 179"/>
                <a:gd name="T23" fmla="*/ 122 h 134"/>
                <a:gd name="T24" fmla="*/ 60 w 179"/>
                <a:gd name="T25" fmla="*/ 104 h 134"/>
                <a:gd name="T26" fmla="*/ 67 w 179"/>
                <a:gd name="T27" fmla="*/ 97 h 134"/>
                <a:gd name="T28" fmla="*/ 112 w 179"/>
                <a:gd name="T29" fmla="*/ 97 h 134"/>
                <a:gd name="T30" fmla="*/ 124 w 179"/>
                <a:gd name="T31" fmla="*/ 84 h 134"/>
                <a:gd name="T32" fmla="*/ 164 w 179"/>
                <a:gd name="T33" fmla="*/ 74 h 134"/>
                <a:gd name="T34" fmla="*/ 164 w 179"/>
                <a:gd name="T35" fmla="*/ 62 h 134"/>
                <a:gd name="T36" fmla="*/ 179 w 179"/>
                <a:gd name="T37" fmla="*/ 49 h 134"/>
                <a:gd name="T38" fmla="*/ 169 w 179"/>
                <a:gd name="T39" fmla="*/ 22 h 134"/>
                <a:gd name="T40" fmla="*/ 162 w 179"/>
                <a:gd name="T41" fmla="*/ 0 h 134"/>
                <a:gd name="T42" fmla="*/ 109 w 179"/>
                <a:gd name="T43" fmla="*/ 10 h 134"/>
                <a:gd name="T44" fmla="*/ 95 w 179"/>
                <a:gd name="T45" fmla="*/ 27 h 134"/>
                <a:gd name="T46" fmla="*/ 87 w 179"/>
                <a:gd name="T47" fmla="*/ 54 h 134"/>
                <a:gd name="T48" fmla="*/ 65 w 179"/>
                <a:gd name="T49" fmla="*/ 7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34">
                  <a:moveTo>
                    <a:pt x="65" y="72"/>
                  </a:moveTo>
                  <a:lnTo>
                    <a:pt x="65" y="57"/>
                  </a:lnTo>
                  <a:lnTo>
                    <a:pt x="65" y="45"/>
                  </a:lnTo>
                  <a:lnTo>
                    <a:pt x="57" y="42"/>
                  </a:lnTo>
                  <a:lnTo>
                    <a:pt x="35" y="40"/>
                  </a:lnTo>
                  <a:lnTo>
                    <a:pt x="15" y="42"/>
                  </a:lnTo>
                  <a:lnTo>
                    <a:pt x="0" y="49"/>
                  </a:lnTo>
                  <a:lnTo>
                    <a:pt x="3" y="89"/>
                  </a:lnTo>
                  <a:lnTo>
                    <a:pt x="3" y="112"/>
                  </a:lnTo>
                  <a:lnTo>
                    <a:pt x="10" y="124"/>
                  </a:lnTo>
                  <a:lnTo>
                    <a:pt x="30" y="134"/>
                  </a:lnTo>
                  <a:lnTo>
                    <a:pt x="42" y="122"/>
                  </a:lnTo>
                  <a:lnTo>
                    <a:pt x="60" y="104"/>
                  </a:lnTo>
                  <a:lnTo>
                    <a:pt x="67" y="97"/>
                  </a:lnTo>
                  <a:lnTo>
                    <a:pt x="112" y="97"/>
                  </a:lnTo>
                  <a:lnTo>
                    <a:pt x="124" y="84"/>
                  </a:lnTo>
                  <a:lnTo>
                    <a:pt x="164" y="74"/>
                  </a:lnTo>
                  <a:lnTo>
                    <a:pt x="164" y="62"/>
                  </a:lnTo>
                  <a:lnTo>
                    <a:pt x="179" y="49"/>
                  </a:lnTo>
                  <a:lnTo>
                    <a:pt x="169" y="22"/>
                  </a:lnTo>
                  <a:lnTo>
                    <a:pt x="162" y="0"/>
                  </a:lnTo>
                  <a:lnTo>
                    <a:pt x="109" y="10"/>
                  </a:lnTo>
                  <a:lnTo>
                    <a:pt x="95" y="27"/>
                  </a:lnTo>
                  <a:lnTo>
                    <a:pt x="87" y="54"/>
                  </a:lnTo>
                  <a:lnTo>
                    <a:pt x="65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250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75 w 214"/>
                <a:gd name="T1" fmla="*/ 211 h 211"/>
                <a:gd name="T2" fmla="*/ 85 w 214"/>
                <a:gd name="T3" fmla="*/ 208 h 211"/>
                <a:gd name="T4" fmla="*/ 100 w 214"/>
                <a:gd name="T5" fmla="*/ 208 h 211"/>
                <a:gd name="T6" fmla="*/ 110 w 214"/>
                <a:gd name="T7" fmla="*/ 203 h 211"/>
                <a:gd name="T8" fmla="*/ 112 w 214"/>
                <a:gd name="T9" fmla="*/ 191 h 211"/>
                <a:gd name="T10" fmla="*/ 122 w 214"/>
                <a:gd name="T11" fmla="*/ 189 h 211"/>
                <a:gd name="T12" fmla="*/ 129 w 214"/>
                <a:gd name="T13" fmla="*/ 184 h 211"/>
                <a:gd name="T14" fmla="*/ 132 w 214"/>
                <a:gd name="T15" fmla="*/ 171 h 211"/>
                <a:gd name="T16" fmla="*/ 147 w 214"/>
                <a:gd name="T17" fmla="*/ 169 h 211"/>
                <a:gd name="T18" fmla="*/ 154 w 214"/>
                <a:gd name="T19" fmla="*/ 159 h 211"/>
                <a:gd name="T20" fmla="*/ 182 w 214"/>
                <a:gd name="T21" fmla="*/ 154 h 211"/>
                <a:gd name="T22" fmla="*/ 187 w 214"/>
                <a:gd name="T23" fmla="*/ 141 h 211"/>
                <a:gd name="T24" fmla="*/ 202 w 214"/>
                <a:gd name="T25" fmla="*/ 134 h 211"/>
                <a:gd name="T26" fmla="*/ 204 w 214"/>
                <a:gd name="T27" fmla="*/ 102 h 211"/>
                <a:gd name="T28" fmla="*/ 214 w 214"/>
                <a:gd name="T29" fmla="*/ 94 h 211"/>
                <a:gd name="T30" fmla="*/ 209 w 214"/>
                <a:gd name="T31" fmla="*/ 72 h 211"/>
                <a:gd name="T32" fmla="*/ 211 w 214"/>
                <a:gd name="T33" fmla="*/ 47 h 211"/>
                <a:gd name="T34" fmla="*/ 199 w 214"/>
                <a:gd name="T35" fmla="*/ 29 h 211"/>
                <a:gd name="T36" fmla="*/ 184 w 214"/>
                <a:gd name="T37" fmla="*/ 22 h 211"/>
                <a:gd name="T38" fmla="*/ 172 w 214"/>
                <a:gd name="T39" fmla="*/ 10 h 211"/>
                <a:gd name="T40" fmla="*/ 169 w 214"/>
                <a:gd name="T41" fmla="*/ 0 h 211"/>
                <a:gd name="T42" fmla="*/ 157 w 214"/>
                <a:gd name="T43" fmla="*/ 0 h 211"/>
                <a:gd name="T44" fmla="*/ 152 w 214"/>
                <a:gd name="T45" fmla="*/ 12 h 211"/>
                <a:gd name="T46" fmla="*/ 139 w 214"/>
                <a:gd name="T47" fmla="*/ 17 h 211"/>
                <a:gd name="T48" fmla="*/ 132 w 214"/>
                <a:gd name="T49" fmla="*/ 29 h 211"/>
                <a:gd name="T50" fmla="*/ 127 w 214"/>
                <a:gd name="T51" fmla="*/ 84 h 211"/>
                <a:gd name="T52" fmla="*/ 134 w 214"/>
                <a:gd name="T53" fmla="*/ 92 h 211"/>
                <a:gd name="T54" fmla="*/ 147 w 214"/>
                <a:gd name="T55" fmla="*/ 92 h 211"/>
                <a:gd name="T56" fmla="*/ 149 w 214"/>
                <a:gd name="T57" fmla="*/ 114 h 211"/>
                <a:gd name="T58" fmla="*/ 144 w 214"/>
                <a:gd name="T59" fmla="*/ 126 h 211"/>
                <a:gd name="T60" fmla="*/ 127 w 214"/>
                <a:gd name="T61" fmla="*/ 126 h 211"/>
                <a:gd name="T62" fmla="*/ 120 w 214"/>
                <a:gd name="T63" fmla="*/ 116 h 211"/>
                <a:gd name="T64" fmla="*/ 115 w 214"/>
                <a:gd name="T65" fmla="*/ 97 h 211"/>
                <a:gd name="T66" fmla="*/ 100 w 214"/>
                <a:gd name="T67" fmla="*/ 89 h 211"/>
                <a:gd name="T68" fmla="*/ 100 w 214"/>
                <a:gd name="T69" fmla="*/ 84 h 211"/>
                <a:gd name="T70" fmla="*/ 85 w 214"/>
                <a:gd name="T71" fmla="*/ 87 h 211"/>
                <a:gd name="T72" fmla="*/ 80 w 214"/>
                <a:gd name="T73" fmla="*/ 97 h 211"/>
                <a:gd name="T74" fmla="*/ 70 w 214"/>
                <a:gd name="T75" fmla="*/ 94 h 211"/>
                <a:gd name="T76" fmla="*/ 65 w 214"/>
                <a:gd name="T77" fmla="*/ 77 h 211"/>
                <a:gd name="T78" fmla="*/ 47 w 214"/>
                <a:gd name="T79" fmla="*/ 74 h 211"/>
                <a:gd name="T80" fmla="*/ 45 w 214"/>
                <a:gd name="T81" fmla="*/ 114 h 211"/>
                <a:gd name="T82" fmla="*/ 28 w 214"/>
                <a:gd name="T83" fmla="*/ 114 h 211"/>
                <a:gd name="T84" fmla="*/ 23 w 214"/>
                <a:gd name="T85" fmla="*/ 104 h 211"/>
                <a:gd name="T86" fmla="*/ 15 w 214"/>
                <a:gd name="T87" fmla="*/ 104 h 211"/>
                <a:gd name="T88" fmla="*/ 15 w 214"/>
                <a:gd name="T89" fmla="*/ 114 h 211"/>
                <a:gd name="T90" fmla="*/ 3 w 214"/>
                <a:gd name="T91" fmla="*/ 116 h 211"/>
                <a:gd name="T92" fmla="*/ 0 w 214"/>
                <a:gd name="T93" fmla="*/ 164 h 211"/>
                <a:gd name="T94" fmla="*/ 3 w 214"/>
                <a:gd name="T95" fmla="*/ 179 h 211"/>
                <a:gd name="T96" fmla="*/ 18 w 214"/>
                <a:gd name="T97" fmla="*/ 196 h 211"/>
                <a:gd name="T98" fmla="*/ 18 w 214"/>
                <a:gd name="T99" fmla="*/ 206 h 211"/>
                <a:gd name="T100" fmla="*/ 28 w 214"/>
                <a:gd name="T101" fmla="*/ 208 h 211"/>
                <a:gd name="T102" fmla="*/ 75 w 214"/>
                <a:gd name="T10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75" y="211"/>
                  </a:move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251"/>
            <p:cNvSpPr>
              <a:spLocks/>
            </p:cNvSpPr>
            <p:nvPr/>
          </p:nvSpPr>
          <p:spPr bwMode="auto">
            <a:xfrm>
              <a:off x="4601426" y="3707407"/>
              <a:ext cx="272016" cy="461994"/>
            </a:xfrm>
            <a:custGeom>
              <a:avLst/>
              <a:gdLst>
                <a:gd name="T0" fmla="*/ 27 w 189"/>
                <a:gd name="T1" fmla="*/ 0 h 321"/>
                <a:gd name="T2" fmla="*/ 30 w 189"/>
                <a:gd name="T3" fmla="*/ 10 h 321"/>
                <a:gd name="T4" fmla="*/ 35 w 189"/>
                <a:gd name="T5" fmla="*/ 18 h 321"/>
                <a:gd name="T6" fmla="*/ 42 w 189"/>
                <a:gd name="T7" fmla="*/ 37 h 321"/>
                <a:gd name="T8" fmla="*/ 37 w 189"/>
                <a:gd name="T9" fmla="*/ 134 h 321"/>
                <a:gd name="T10" fmla="*/ 25 w 189"/>
                <a:gd name="T11" fmla="*/ 137 h 321"/>
                <a:gd name="T12" fmla="*/ 17 w 189"/>
                <a:gd name="T13" fmla="*/ 149 h 321"/>
                <a:gd name="T14" fmla="*/ 5 w 189"/>
                <a:gd name="T15" fmla="*/ 157 h 321"/>
                <a:gd name="T16" fmla="*/ 0 w 189"/>
                <a:gd name="T17" fmla="*/ 167 h 321"/>
                <a:gd name="T18" fmla="*/ 0 w 189"/>
                <a:gd name="T19" fmla="*/ 184 h 321"/>
                <a:gd name="T20" fmla="*/ 7 w 189"/>
                <a:gd name="T21" fmla="*/ 184 h 321"/>
                <a:gd name="T22" fmla="*/ 10 w 189"/>
                <a:gd name="T23" fmla="*/ 197 h 321"/>
                <a:gd name="T24" fmla="*/ 15 w 189"/>
                <a:gd name="T25" fmla="*/ 207 h 321"/>
                <a:gd name="T26" fmla="*/ 22 w 189"/>
                <a:gd name="T27" fmla="*/ 221 h 321"/>
                <a:gd name="T28" fmla="*/ 22 w 189"/>
                <a:gd name="T29" fmla="*/ 231 h 321"/>
                <a:gd name="T30" fmla="*/ 15 w 189"/>
                <a:gd name="T31" fmla="*/ 236 h 321"/>
                <a:gd name="T32" fmla="*/ 20 w 189"/>
                <a:gd name="T33" fmla="*/ 239 h 321"/>
                <a:gd name="T34" fmla="*/ 22 w 189"/>
                <a:gd name="T35" fmla="*/ 251 h 321"/>
                <a:gd name="T36" fmla="*/ 30 w 189"/>
                <a:gd name="T37" fmla="*/ 259 h 321"/>
                <a:gd name="T38" fmla="*/ 27 w 189"/>
                <a:gd name="T39" fmla="*/ 269 h 321"/>
                <a:gd name="T40" fmla="*/ 20 w 189"/>
                <a:gd name="T41" fmla="*/ 274 h 321"/>
                <a:gd name="T42" fmla="*/ 20 w 189"/>
                <a:gd name="T43" fmla="*/ 284 h 321"/>
                <a:gd name="T44" fmla="*/ 35 w 189"/>
                <a:gd name="T45" fmla="*/ 301 h 321"/>
                <a:gd name="T46" fmla="*/ 45 w 189"/>
                <a:gd name="T47" fmla="*/ 321 h 321"/>
                <a:gd name="T48" fmla="*/ 55 w 189"/>
                <a:gd name="T49" fmla="*/ 313 h 321"/>
                <a:gd name="T50" fmla="*/ 72 w 189"/>
                <a:gd name="T51" fmla="*/ 316 h 321"/>
                <a:gd name="T52" fmla="*/ 77 w 189"/>
                <a:gd name="T53" fmla="*/ 303 h 321"/>
                <a:gd name="T54" fmla="*/ 94 w 189"/>
                <a:gd name="T55" fmla="*/ 303 h 321"/>
                <a:gd name="T56" fmla="*/ 104 w 189"/>
                <a:gd name="T57" fmla="*/ 291 h 321"/>
                <a:gd name="T58" fmla="*/ 122 w 189"/>
                <a:gd name="T59" fmla="*/ 286 h 321"/>
                <a:gd name="T60" fmla="*/ 127 w 189"/>
                <a:gd name="T61" fmla="*/ 274 h 321"/>
                <a:gd name="T62" fmla="*/ 139 w 189"/>
                <a:gd name="T63" fmla="*/ 269 h 321"/>
                <a:gd name="T64" fmla="*/ 147 w 189"/>
                <a:gd name="T65" fmla="*/ 254 h 321"/>
                <a:gd name="T66" fmla="*/ 159 w 189"/>
                <a:gd name="T67" fmla="*/ 244 h 321"/>
                <a:gd name="T68" fmla="*/ 167 w 189"/>
                <a:gd name="T69" fmla="*/ 239 h 321"/>
                <a:gd name="T70" fmla="*/ 169 w 189"/>
                <a:gd name="T71" fmla="*/ 234 h 321"/>
                <a:gd name="T72" fmla="*/ 169 w 189"/>
                <a:gd name="T73" fmla="*/ 224 h 321"/>
                <a:gd name="T74" fmla="*/ 162 w 189"/>
                <a:gd name="T75" fmla="*/ 221 h 321"/>
                <a:gd name="T76" fmla="*/ 159 w 189"/>
                <a:gd name="T77" fmla="*/ 207 h 321"/>
                <a:gd name="T78" fmla="*/ 144 w 189"/>
                <a:gd name="T79" fmla="*/ 202 h 321"/>
                <a:gd name="T80" fmla="*/ 147 w 189"/>
                <a:gd name="T81" fmla="*/ 189 h 321"/>
                <a:gd name="T82" fmla="*/ 162 w 189"/>
                <a:gd name="T83" fmla="*/ 189 h 321"/>
                <a:gd name="T84" fmla="*/ 164 w 189"/>
                <a:gd name="T85" fmla="*/ 172 h 321"/>
                <a:gd name="T86" fmla="*/ 176 w 189"/>
                <a:gd name="T87" fmla="*/ 152 h 321"/>
                <a:gd name="T88" fmla="*/ 186 w 189"/>
                <a:gd name="T89" fmla="*/ 147 h 321"/>
                <a:gd name="T90" fmla="*/ 189 w 189"/>
                <a:gd name="T91" fmla="*/ 95 h 321"/>
                <a:gd name="T92" fmla="*/ 176 w 189"/>
                <a:gd name="T93" fmla="*/ 95 h 321"/>
                <a:gd name="T94" fmla="*/ 147 w 189"/>
                <a:gd name="T95" fmla="*/ 70 h 321"/>
                <a:gd name="T96" fmla="*/ 134 w 189"/>
                <a:gd name="T97" fmla="*/ 65 h 321"/>
                <a:gd name="T98" fmla="*/ 107 w 189"/>
                <a:gd name="T99" fmla="*/ 50 h 321"/>
                <a:gd name="T100" fmla="*/ 99 w 189"/>
                <a:gd name="T101" fmla="*/ 35 h 321"/>
                <a:gd name="T102" fmla="*/ 67 w 189"/>
                <a:gd name="T103" fmla="*/ 30 h 321"/>
                <a:gd name="T104" fmla="*/ 62 w 189"/>
                <a:gd name="T105" fmla="*/ 15 h 321"/>
                <a:gd name="T106" fmla="*/ 47 w 189"/>
                <a:gd name="T107" fmla="*/ 10 h 321"/>
                <a:gd name="T108" fmla="*/ 45 w 189"/>
                <a:gd name="T109" fmla="*/ 3 h 321"/>
                <a:gd name="T110" fmla="*/ 27 w 189"/>
                <a:gd name="T111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321">
                  <a:moveTo>
                    <a:pt x="27" y="0"/>
                  </a:moveTo>
                  <a:lnTo>
                    <a:pt x="30" y="10"/>
                  </a:lnTo>
                  <a:lnTo>
                    <a:pt x="35" y="18"/>
                  </a:lnTo>
                  <a:lnTo>
                    <a:pt x="42" y="37"/>
                  </a:lnTo>
                  <a:lnTo>
                    <a:pt x="37" y="134"/>
                  </a:lnTo>
                  <a:lnTo>
                    <a:pt x="25" y="137"/>
                  </a:lnTo>
                  <a:lnTo>
                    <a:pt x="17" y="149"/>
                  </a:lnTo>
                  <a:lnTo>
                    <a:pt x="5" y="157"/>
                  </a:lnTo>
                  <a:lnTo>
                    <a:pt x="0" y="167"/>
                  </a:lnTo>
                  <a:lnTo>
                    <a:pt x="0" y="184"/>
                  </a:lnTo>
                  <a:lnTo>
                    <a:pt x="7" y="184"/>
                  </a:lnTo>
                  <a:lnTo>
                    <a:pt x="10" y="197"/>
                  </a:lnTo>
                  <a:lnTo>
                    <a:pt x="15" y="207"/>
                  </a:lnTo>
                  <a:lnTo>
                    <a:pt x="22" y="221"/>
                  </a:lnTo>
                  <a:lnTo>
                    <a:pt x="22" y="231"/>
                  </a:lnTo>
                  <a:lnTo>
                    <a:pt x="15" y="236"/>
                  </a:lnTo>
                  <a:lnTo>
                    <a:pt x="20" y="239"/>
                  </a:lnTo>
                  <a:lnTo>
                    <a:pt x="22" y="251"/>
                  </a:lnTo>
                  <a:lnTo>
                    <a:pt x="30" y="259"/>
                  </a:lnTo>
                  <a:lnTo>
                    <a:pt x="27" y="269"/>
                  </a:lnTo>
                  <a:lnTo>
                    <a:pt x="20" y="274"/>
                  </a:lnTo>
                  <a:lnTo>
                    <a:pt x="20" y="284"/>
                  </a:lnTo>
                  <a:lnTo>
                    <a:pt x="35" y="301"/>
                  </a:lnTo>
                  <a:lnTo>
                    <a:pt x="45" y="321"/>
                  </a:lnTo>
                  <a:lnTo>
                    <a:pt x="55" y="313"/>
                  </a:lnTo>
                  <a:lnTo>
                    <a:pt x="72" y="316"/>
                  </a:lnTo>
                  <a:lnTo>
                    <a:pt x="77" y="303"/>
                  </a:lnTo>
                  <a:lnTo>
                    <a:pt x="94" y="303"/>
                  </a:lnTo>
                  <a:lnTo>
                    <a:pt x="104" y="291"/>
                  </a:lnTo>
                  <a:lnTo>
                    <a:pt x="122" y="286"/>
                  </a:lnTo>
                  <a:lnTo>
                    <a:pt x="127" y="274"/>
                  </a:lnTo>
                  <a:lnTo>
                    <a:pt x="139" y="269"/>
                  </a:lnTo>
                  <a:lnTo>
                    <a:pt x="147" y="254"/>
                  </a:lnTo>
                  <a:lnTo>
                    <a:pt x="159" y="244"/>
                  </a:lnTo>
                  <a:lnTo>
                    <a:pt x="167" y="239"/>
                  </a:lnTo>
                  <a:lnTo>
                    <a:pt x="169" y="234"/>
                  </a:lnTo>
                  <a:lnTo>
                    <a:pt x="169" y="224"/>
                  </a:lnTo>
                  <a:lnTo>
                    <a:pt x="162" y="221"/>
                  </a:lnTo>
                  <a:lnTo>
                    <a:pt x="159" y="207"/>
                  </a:lnTo>
                  <a:lnTo>
                    <a:pt x="144" y="202"/>
                  </a:lnTo>
                  <a:lnTo>
                    <a:pt x="147" y="189"/>
                  </a:lnTo>
                  <a:lnTo>
                    <a:pt x="162" y="189"/>
                  </a:lnTo>
                  <a:lnTo>
                    <a:pt x="164" y="172"/>
                  </a:lnTo>
                  <a:lnTo>
                    <a:pt x="176" y="152"/>
                  </a:lnTo>
                  <a:lnTo>
                    <a:pt x="186" y="147"/>
                  </a:lnTo>
                  <a:lnTo>
                    <a:pt x="189" y="95"/>
                  </a:lnTo>
                  <a:lnTo>
                    <a:pt x="176" y="95"/>
                  </a:lnTo>
                  <a:lnTo>
                    <a:pt x="147" y="70"/>
                  </a:lnTo>
                  <a:lnTo>
                    <a:pt x="134" y="65"/>
                  </a:lnTo>
                  <a:lnTo>
                    <a:pt x="107" y="50"/>
                  </a:lnTo>
                  <a:lnTo>
                    <a:pt x="99" y="35"/>
                  </a:lnTo>
                  <a:lnTo>
                    <a:pt x="67" y="30"/>
                  </a:lnTo>
                  <a:lnTo>
                    <a:pt x="62" y="15"/>
                  </a:lnTo>
                  <a:lnTo>
                    <a:pt x="47" y="10"/>
                  </a:lnTo>
                  <a:lnTo>
                    <a:pt x="45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252"/>
            <p:cNvSpPr>
              <a:spLocks/>
            </p:cNvSpPr>
            <p:nvPr/>
          </p:nvSpPr>
          <p:spPr bwMode="auto">
            <a:xfrm>
              <a:off x="4268963" y="3685818"/>
              <a:ext cx="392911" cy="329585"/>
            </a:xfrm>
            <a:custGeom>
              <a:avLst/>
              <a:gdLst>
                <a:gd name="T0" fmla="*/ 62 w 273"/>
                <a:gd name="T1" fmla="*/ 229 h 229"/>
                <a:gd name="T2" fmla="*/ 67 w 273"/>
                <a:gd name="T3" fmla="*/ 219 h 229"/>
                <a:gd name="T4" fmla="*/ 74 w 273"/>
                <a:gd name="T5" fmla="*/ 207 h 229"/>
                <a:gd name="T6" fmla="*/ 92 w 273"/>
                <a:gd name="T7" fmla="*/ 202 h 229"/>
                <a:gd name="T8" fmla="*/ 104 w 273"/>
                <a:gd name="T9" fmla="*/ 204 h 229"/>
                <a:gd name="T10" fmla="*/ 114 w 273"/>
                <a:gd name="T11" fmla="*/ 217 h 229"/>
                <a:gd name="T12" fmla="*/ 114 w 273"/>
                <a:gd name="T13" fmla="*/ 209 h 229"/>
                <a:gd name="T14" fmla="*/ 137 w 273"/>
                <a:gd name="T15" fmla="*/ 207 h 229"/>
                <a:gd name="T16" fmla="*/ 149 w 273"/>
                <a:gd name="T17" fmla="*/ 204 h 229"/>
                <a:gd name="T18" fmla="*/ 159 w 273"/>
                <a:gd name="T19" fmla="*/ 214 h 229"/>
                <a:gd name="T20" fmla="*/ 174 w 273"/>
                <a:gd name="T21" fmla="*/ 217 h 229"/>
                <a:gd name="T22" fmla="*/ 176 w 273"/>
                <a:gd name="T23" fmla="*/ 207 h 229"/>
                <a:gd name="T24" fmla="*/ 201 w 273"/>
                <a:gd name="T25" fmla="*/ 207 h 229"/>
                <a:gd name="T26" fmla="*/ 209 w 273"/>
                <a:gd name="T27" fmla="*/ 217 h 229"/>
                <a:gd name="T28" fmla="*/ 216 w 273"/>
                <a:gd name="T29" fmla="*/ 207 h 229"/>
                <a:gd name="T30" fmla="*/ 231 w 273"/>
                <a:gd name="T31" fmla="*/ 199 h 229"/>
                <a:gd name="T32" fmla="*/ 231 w 273"/>
                <a:gd name="T33" fmla="*/ 182 h 229"/>
                <a:gd name="T34" fmla="*/ 236 w 273"/>
                <a:gd name="T35" fmla="*/ 172 h 229"/>
                <a:gd name="T36" fmla="*/ 248 w 273"/>
                <a:gd name="T37" fmla="*/ 164 h 229"/>
                <a:gd name="T38" fmla="*/ 256 w 273"/>
                <a:gd name="T39" fmla="*/ 152 h 229"/>
                <a:gd name="T40" fmla="*/ 268 w 273"/>
                <a:gd name="T41" fmla="*/ 149 h 229"/>
                <a:gd name="T42" fmla="*/ 273 w 273"/>
                <a:gd name="T43" fmla="*/ 52 h 229"/>
                <a:gd name="T44" fmla="*/ 266 w 273"/>
                <a:gd name="T45" fmla="*/ 33 h 229"/>
                <a:gd name="T46" fmla="*/ 261 w 273"/>
                <a:gd name="T47" fmla="*/ 25 h 229"/>
                <a:gd name="T48" fmla="*/ 258 w 273"/>
                <a:gd name="T49" fmla="*/ 15 h 229"/>
                <a:gd name="T50" fmla="*/ 248 w 273"/>
                <a:gd name="T51" fmla="*/ 10 h 229"/>
                <a:gd name="T52" fmla="*/ 229 w 273"/>
                <a:gd name="T53" fmla="*/ 8 h 229"/>
                <a:gd name="T54" fmla="*/ 224 w 273"/>
                <a:gd name="T55" fmla="*/ 0 h 229"/>
                <a:gd name="T56" fmla="*/ 201 w 273"/>
                <a:gd name="T57" fmla="*/ 0 h 229"/>
                <a:gd name="T58" fmla="*/ 196 w 273"/>
                <a:gd name="T59" fmla="*/ 8 h 229"/>
                <a:gd name="T60" fmla="*/ 179 w 273"/>
                <a:gd name="T61" fmla="*/ 15 h 229"/>
                <a:gd name="T62" fmla="*/ 164 w 273"/>
                <a:gd name="T63" fmla="*/ 28 h 229"/>
                <a:gd name="T64" fmla="*/ 156 w 273"/>
                <a:gd name="T65" fmla="*/ 40 h 229"/>
                <a:gd name="T66" fmla="*/ 127 w 273"/>
                <a:gd name="T67" fmla="*/ 50 h 229"/>
                <a:gd name="T68" fmla="*/ 124 w 273"/>
                <a:gd name="T69" fmla="*/ 62 h 229"/>
                <a:gd name="T70" fmla="*/ 114 w 273"/>
                <a:gd name="T71" fmla="*/ 67 h 229"/>
                <a:gd name="T72" fmla="*/ 99 w 273"/>
                <a:gd name="T73" fmla="*/ 82 h 229"/>
                <a:gd name="T74" fmla="*/ 72 w 273"/>
                <a:gd name="T75" fmla="*/ 82 h 229"/>
                <a:gd name="T76" fmla="*/ 69 w 273"/>
                <a:gd name="T77" fmla="*/ 92 h 229"/>
                <a:gd name="T78" fmla="*/ 72 w 273"/>
                <a:gd name="T79" fmla="*/ 152 h 229"/>
                <a:gd name="T80" fmla="*/ 59 w 273"/>
                <a:gd name="T81" fmla="*/ 152 h 229"/>
                <a:gd name="T82" fmla="*/ 59 w 273"/>
                <a:gd name="T83" fmla="*/ 164 h 229"/>
                <a:gd name="T84" fmla="*/ 15 w 273"/>
                <a:gd name="T85" fmla="*/ 169 h 229"/>
                <a:gd name="T86" fmla="*/ 0 w 273"/>
                <a:gd name="T87" fmla="*/ 179 h 229"/>
                <a:gd name="T88" fmla="*/ 7 w 273"/>
                <a:gd name="T89" fmla="*/ 189 h 229"/>
                <a:gd name="T90" fmla="*/ 17 w 273"/>
                <a:gd name="T91" fmla="*/ 197 h 229"/>
                <a:gd name="T92" fmla="*/ 17 w 273"/>
                <a:gd name="T93" fmla="*/ 214 h 229"/>
                <a:gd name="T94" fmla="*/ 30 w 273"/>
                <a:gd name="T95" fmla="*/ 217 h 229"/>
                <a:gd name="T96" fmla="*/ 40 w 273"/>
                <a:gd name="T97" fmla="*/ 229 h 229"/>
                <a:gd name="T98" fmla="*/ 57 w 273"/>
                <a:gd name="T99" fmla="*/ 229 h 229"/>
                <a:gd name="T100" fmla="*/ 62 w 273"/>
                <a:gd name="T101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229">
                  <a:moveTo>
                    <a:pt x="62" y="229"/>
                  </a:moveTo>
                  <a:lnTo>
                    <a:pt x="67" y="219"/>
                  </a:lnTo>
                  <a:lnTo>
                    <a:pt x="74" y="207"/>
                  </a:lnTo>
                  <a:lnTo>
                    <a:pt x="92" y="202"/>
                  </a:lnTo>
                  <a:lnTo>
                    <a:pt x="104" y="204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37" y="207"/>
                  </a:lnTo>
                  <a:lnTo>
                    <a:pt x="149" y="204"/>
                  </a:lnTo>
                  <a:lnTo>
                    <a:pt x="159" y="214"/>
                  </a:lnTo>
                  <a:lnTo>
                    <a:pt x="174" y="217"/>
                  </a:lnTo>
                  <a:lnTo>
                    <a:pt x="176" y="207"/>
                  </a:lnTo>
                  <a:lnTo>
                    <a:pt x="201" y="207"/>
                  </a:lnTo>
                  <a:lnTo>
                    <a:pt x="209" y="217"/>
                  </a:lnTo>
                  <a:lnTo>
                    <a:pt x="216" y="207"/>
                  </a:lnTo>
                  <a:lnTo>
                    <a:pt x="231" y="199"/>
                  </a:lnTo>
                  <a:lnTo>
                    <a:pt x="231" y="182"/>
                  </a:lnTo>
                  <a:lnTo>
                    <a:pt x="236" y="172"/>
                  </a:lnTo>
                  <a:lnTo>
                    <a:pt x="248" y="164"/>
                  </a:lnTo>
                  <a:lnTo>
                    <a:pt x="256" y="152"/>
                  </a:lnTo>
                  <a:lnTo>
                    <a:pt x="268" y="149"/>
                  </a:lnTo>
                  <a:lnTo>
                    <a:pt x="273" y="52"/>
                  </a:lnTo>
                  <a:lnTo>
                    <a:pt x="266" y="33"/>
                  </a:lnTo>
                  <a:lnTo>
                    <a:pt x="261" y="25"/>
                  </a:lnTo>
                  <a:lnTo>
                    <a:pt x="258" y="15"/>
                  </a:lnTo>
                  <a:lnTo>
                    <a:pt x="248" y="10"/>
                  </a:lnTo>
                  <a:lnTo>
                    <a:pt x="229" y="8"/>
                  </a:lnTo>
                  <a:lnTo>
                    <a:pt x="224" y="0"/>
                  </a:lnTo>
                  <a:lnTo>
                    <a:pt x="201" y="0"/>
                  </a:lnTo>
                  <a:lnTo>
                    <a:pt x="196" y="8"/>
                  </a:lnTo>
                  <a:lnTo>
                    <a:pt x="179" y="15"/>
                  </a:lnTo>
                  <a:lnTo>
                    <a:pt x="164" y="28"/>
                  </a:lnTo>
                  <a:lnTo>
                    <a:pt x="156" y="40"/>
                  </a:lnTo>
                  <a:lnTo>
                    <a:pt x="127" y="50"/>
                  </a:lnTo>
                  <a:lnTo>
                    <a:pt x="124" y="62"/>
                  </a:lnTo>
                  <a:lnTo>
                    <a:pt x="114" y="67"/>
                  </a:lnTo>
                  <a:lnTo>
                    <a:pt x="99" y="82"/>
                  </a:lnTo>
                  <a:lnTo>
                    <a:pt x="72" y="82"/>
                  </a:lnTo>
                  <a:lnTo>
                    <a:pt x="69" y="92"/>
                  </a:lnTo>
                  <a:lnTo>
                    <a:pt x="72" y="152"/>
                  </a:lnTo>
                  <a:lnTo>
                    <a:pt x="59" y="152"/>
                  </a:lnTo>
                  <a:lnTo>
                    <a:pt x="59" y="164"/>
                  </a:lnTo>
                  <a:lnTo>
                    <a:pt x="15" y="169"/>
                  </a:lnTo>
                  <a:lnTo>
                    <a:pt x="0" y="179"/>
                  </a:lnTo>
                  <a:lnTo>
                    <a:pt x="7" y="189"/>
                  </a:lnTo>
                  <a:lnTo>
                    <a:pt x="17" y="197"/>
                  </a:lnTo>
                  <a:lnTo>
                    <a:pt x="17" y="214"/>
                  </a:lnTo>
                  <a:lnTo>
                    <a:pt x="30" y="217"/>
                  </a:lnTo>
                  <a:lnTo>
                    <a:pt x="40" y="229"/>
                  </a:lnTo>
                  <a:lnTo>
                    <a:pt x="57" y="229"/>
                  </a:lnTo>
                  <a:lnTo>
                    <a:pt x="62" y="22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253"/>
            <p:cNvSpPr>
              <a:spLocks/>
            </p:cNvSpPr>
            <p:nvPr/>
          </p:nvSpPr>
          <p:spPr bwMode="auto">
            <a:xfrm>
              <a:off x="5051907" y="3302981"/>
              <a:ext cx="54691" cy="25906"/>
            </a:xfrm>
            <a:custGeom>
              <a:avLst/>
              <a:gdLst>
                <a:gd name="T0" fmla="*/ 18 w 38"/>
                <a:gd name="T1" fmla="*/ 13 h 18"/>
                <a:gd name="T2" fmla="*/ 10 w 38"/>
                <a:gd name="T3" fmla="*/ 15 h 18"/>
                <a:gd name="T4" fmla="*/ 3 w 38"/>
                <a:gd name="T5" fmla="*/ 18 h 18"/>
                <a:gd name="T6" fmla="*/ 0 w 38"/>
                <a:gd name="T7" fmla="*/ 15 h 18"/>
                <a:gd name="T8" fmla="*/ 0 w 38"/>
                <a:gd name="T9" fmla="*/ 13 h 18"/>
                <a:gd name="T10" fmla="*/ 0 w 38"/>
                <a:gd name="T11" fmla="*/ 5 h 18"/>
                <a:gd name="T12" fmla="*/ 3 w 38"/>
                <a:gd name="T13" fmla="*/ 5 h 18"/>
                <a:gd name="T14" fmla="*/ 5 w 38"/>
                <a:gd name="T15" fmla="*/ 5 h 18"/>
                <a:gd name="T16" fmla="*/ 15 w 38"/>
                <a:gd name="T17" fmla="*/ 5 h 18"/>
                <a:gd name="T18" fmla="*/ 28 w 38"/>
                <a:gd name="T19" fmla="*/ 3 h 18"/>
                <a:gd name="T20" fmla="*/ 35 w 38"/>
                <a:gd name="T21" fmla="*/ 0 h 18"/>
                <a:gd name="T22" fmla="*/ 38 w 38"/>
                <a:gd name="T23" fmla="*/ 3 h 18"/>
                <a:gd name="T24" fmla="*/ 35 w 38"/>
                <a:gd name="T25" fmla="*/ 5 h 18"/>
                <a:gd name="T26" fmla="*/ 33 w 38"/>
                <a:gd name="T27" fmla="*/ 8 h 18"/>
                <a:gd name="T28" fmla="*/ 30 w 38"/>
                <a:gd name="T29" fmla="*/ 13 h 18"/>
                <a:gd name="T30" fmla="*/ 20 w 38"/>
                <a:gd name="T31" fmla="*/ 13 h 18"/>
                <a:gd name="T32" fmla="*/ 18 w 38"/>
                <a:gd name="T3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18">
                  <a:moveTo>
                    <a:pt x="18" y="13"/>
                  </a:moveTo>
                  <a:lnTo>
                    <a:pt x="10" y="15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15" y="5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5" y="5"/>
                  </a:lnTo>
                  <a:lnTo>
                    <a:pt x="33" y="8"/>
                  </a:lnTo>
                  <a:lnTo>
                    <a:pt x="30" y="13"/>
                  </a:lnTo>
                  <a:lnTo>
                    <a:pt x="20" y="13"/>
                  </a:lnTo>
                  <a:lnTo>
                    <a:pt x="18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255"/>
            <p:cNvSpPr>
              <a:spLocks/>
            </p:cNvSpPr>
            <p:nvPr/>
          </p:nvSpPr>
          <p:spPr bwMode="auto">
            <a:xfrm>
              <a:off x="5123869" y="3385018"/>
              <a:ext cx="103625" cy="125213"/>
            </a:xfrm>
            <a:custGeom>
              <a:avLst/>
              <a:gdLst>
                <a:gd name="T0" fmla="*/ 22 w 72"/>
                <a:gd name="T1" fmla="*/ 87 h 87"/>
                <a:gd name="T2" fmla="*/ 37 w 72"/>
                <a:gd name="T3" fmla="*/ 73 h 87"/>
                <a:gd name="T4" fmla="*/ 55 w 72"/>
                <a:gd name="T5" fmla="*/ 60 h 87"/>
                <a:gd name="T6" fmla="*/ 55 w 72"/>
                <a:gd name="T7" fmla="*/ 35 h 87"/>
                <a:gd name="T8" fmla="*/ 72 w 72"/>
                <a:gd name="T9" fmla="*/ 18 h 87"/>
                <a:gd name="T10" fmla="*/ 62 w 72"/>
                <a:gd name="T11" fmla="*/ 0 h 87"/>
                <a:gd name="T12" fmla="*/ 40 w 72"/>
                <a:gd name="T13" fmla="*/ 15 h 87"/>
                <a:gd name="T14" fmla="*/ 17 w 72"/>
                <a:gd name="T15" fmla="*/ 13 h 87"/>
                <a:gd name="T16" fmla="*/ 5 w 72"/>
                <a:gd name="T17" fmla="*/ 3 h 87"/>
                <a:gd name="T18" fmla="*/ 5 w 72"/>
                <a:gd name="T19" fmla="*/ 45 h 87"/>
                <a:gd name="T20" fmla="*/ 0 w 72"/>
                <a:gd name="T21" fmla="*/ 65 h 87"/>
                <a:gd name="T22" fmla="*/ 0 w 72"/>
                <a:gd name="T23" fmla="*/ 87 h 87"/>
                <a:gd name="T24" fmla="*/ 22 w 72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87">
                  <a:moveTo>
                    <a:pt x="22" y="87"/>
                  </a:moveTo>
                  <a:lnTo>
                    <a:pt x="37" y="73"/>
                  </a:lnTo>
                  <a:lnTo>
                    <a:pt x="55" y="60"/>
                  </a:lnTo>
                  <a:lnTo>
                    <a:pt x="55" y="35"/>
                  </a:lnTo>
                  <a:lnTo>
                    <a:pt x="72" y="18"/>
                  </a:lnTo>
                  <a:lnTo>
                    <a:pt x="62" y="0"/>
                  </a:lnTo>
                  <a:lnTo>
                    <a:pt x="40" y="15"/>
                  </a:lnTo>
                  <a:lnTo>
                    <a:pt x="17" y="13"/>
                  </a:lnTo>
                  <a:lnTo>
                    <a:pt x="5" y="3"/>
                  </a:lnTo>
                  <a:lnTo>
                    <a:pt x="5" y="45"/>
                  </a:lnTo>
                  <a:lnTo>
                    <a:pt x="0" y="65"/>
                  </a:lnTo>
                  <a:lnTo>
                    <a:pt x="0" y="87"/>
                  </a:lnTo>
                  <a:lnTo>
                    <a:pt x="22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256"/>
            <p:cNvSpPr>
              <a:spLocks/>
            </p:cNvSpPr>
            <p:nvPr/>
          </p:nvSpPr>
          <p:spPr bwMode="auto">
            <a:xfrm>
              <a:off x="5131065" y="3259804"/>
              <a:ext cx="146802" cy="146802"/>
            </a:xfrm>
            <a:custGeom>
              <a:avLst/>
              <a:gdLst>
                <a:gd name="T0" fmla="*/ 0 w 102"/>
                <a:gd name="T1" fmla="*/ 90 h 102"/>
                <a:gd name="T2" fmla="*/ 12 w 102"/>
                <a:gd name="T3" fmla="*/ 100 h 102"/>
                <a:gd name="T4" fmla="*/ 35 w 102"/>
                <a:gd name="T5" fmla="*/ 102 h 102"/>
                <a:gd name="T6" fmla="*/ 57 w 102"/>
                <a:gd name="T7" fmla="*/ 87 h 102"/>
                <a:gd name="T8" fmla="*/ 74 w 102"/>
                <a:gd name="T9" fmla="*/ 75 h 102"/>
                <a:gd name="T10" fmla="*/ 99 w 102"/>
                <a:gd name="T11" fmla="*/ 60 h 102"/>
                <a:gd name="T12" fmla="*/ 102 w 102"/>
                <a:gd name="T13" fmla="*/ 43 h 102"/>
                <a:gd name="T14" fmla="*/ 102 w 102"/>
                <a:gd name="T15" fmla="*/ 20 h 102"/>
                <a:gd name="T16" fmla="*/ 97 w 102"/>
                <a:gd name="T17" fmla="*/ 0 h 102"/>
                <a:gd name="T18" fmla="*/ 72 w 102"/>
                <a:gd name="T19" fmla="*/ 5 h 102"/>
                <a:gd name="T20" fmla="*/ 55 w 102"/>
                <a:gd name="T21" fmla="*/ 5 h 102"/>
                <a:gd name="T22" fmla="*/ 25 w 102"/>
                <a:gd name="T23" fmla="*/ 10 h 102"/>
                <a:gd name="T24" fmla="*/ 10 w 102"/>
                <a:gd name="T25" fmla="*/ 13 h 102"/>
                <a:gd name="T26" fmla="*/ 5 w 102"/>
                <a:gd name="T27" fmla="*/ 30 h 102"/>
                <a:gd name="T28" fmla="*/ 10 w 102"/>
                <a:gd name="T29" fmla="*/ 50 h 102"/>
                <a:gd name="T30" fmla="*/ 25 w 102"/>
                <a:gd name="T31" fmla="*/ 60 h 102"/>
                <a:gd name="T32" fmla="*/ 17 w 102"/>
                <a:gd name="T33" fmla="*/ 80 h 102"/>
                <a:gd name="T34" fmla="*/ 0 w 102"/>
                <a:gd name="T35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2" h="102">
                  <a:moveTo>
                    <a:pt x="0" y="90"/>
                  </a:moveTo>
                  <a:lnTo>
                    <a:pt x="12" y="100"/>
                  </a:lnTo>
                  <a:lnTo>
                    <a:pt x="35" y="102"/>
                  </a:lnTo>
                  <a:lnTo>
                    <a:pt x="57" y="87"/>
                  </a:lnTo>
                  <a:lnTo>
                    <a:pt x="74" y="75"/>
                  </a:lnTo>
                  <a:lnTo>
                    <a:pt x="99" y="60"/>
                  </a:lnTo>
                  <a:lnTo>
                    <a:pt x="102" y="43"/>
                  </a:lnTo>
                  <a:lnTo>
                    <a:pt x="102" y="20"/>
                  </a:lnTo>
                  <a:lnTo>
                    <a:pt x="97" y="0"/>
                  </a:lnTo>
                  <a:lnTo>
                    <a:pt x="72" y="5"/>
                  </a:lnTo>
                  <a:lnTo>
                    <a:pt x="55" y="5"/>
                  </a:lnTo>
                  <a:lnTo>
                    <a:pt x="25" y="10"/>
                  </a:lnTo>
                  <a:lnTo>
                    <a:pt x="10" y="13"/>
                  </a:lnTo>
                  <a:lnTo>
                    <a:pt x="5" y="30"/>
                  </a:lnTo>
                  <a:lnTo>
                    <a:pt x="10" y="50"/>
                  </a:lnTo>
                  <a:lnTo>
                    <a:pt x="25" y="60"/>
                  </a:lnTo>
                  <a:lnTo>
                    <a:pt x="17" y="80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257"/>
            <p:cNvSpPr>
              <a:spLocks/>
            </p:cNvSpPr>
            <p:nvPr/>
          </p:nvSpPr>
          <p:spPr bwMode="auto">
            <a:xfrm>
              <a:off x="5764328" y="3220946"/>
              <a:ext cx="336781" cy="303678"/>
            </a:xfrm>
            <a:custGeom>
              <a:avLst/>
              <a:gdLst>
                <a:gd name="T0" fmla="*/ 234 w 234"/>
                <a:gd name="T1" fmla="*/ 35 h 211"/>
                <a:gd name="T2" fmla="*/ 196 w 234"/>
                <a:gd name="T3" fmla="*/ 32 h 211"/>
                <a:gd name="T4" fmla="*/ 176 w 234"/>
                <a:gd name="T5" fmla="*/ 25 h 211"/>
                <a:gd name="T6" fmla="*/ 166 w 234"/>
                <a:gd name="T7" fmla="*/ 3 h 211"/>
                <a:gd name="T8" fmla="*/ 159 w 234"/>
                <a:gd name="T9" fmla="*/ 0 h 211"/>
                <a:gd name="T10" fmla="*/ 152 w 234"/>
                <a:gd name="T11" fmla="*/ 15 h 211"/>
                <a:gd name="T12" fmla="*/ 124 w 234"/>
                <a:gd name="T13" fmla="*/ 22 h 211"/>
                <a:gd name="T14" fmla="*/ 112 w 234"/>
                <a:gd name="T15" fmla="*/ 27 h 211"/>
                <a:gd name="T16" fmla="*/ 99 w 234"/>
                <a:gd name="T17" fmla="*/ 22 h 211"/>
                <a:gd name="T18" fmla="*/ 75 w 234"/>
                <a:gd name="T19" fmla="*/ 20 h 211"/>
                <a:gd name="T20" fmla="*/ 67 w 234"/>
                <a:gd name="T21" fmla="*/ 27 h 211"/>
                <a:gd name="T22" fmla="*/ 52 w 234"/>
                <a:gd name="T23" fmla="*/ 30 h 211"/>
                <a:gd name="T24" fmla="*/ 47 w 234"/>
                <a:gd name="T25" fmla="*/ 40 h 211"/>
                <a:gd name="T26" fmla="*/ 35 w 234"/>
                <a:gd name="T27" fmla="*/ 47 h 211"/>
                <a:gd name="T28" fmla="*/ 32 w 234"/>
                <a:gd name="T29" fmla="*/ 62 h 211"/>
                <a:gd name="T30" fmla="*/ 15 w 234"/>
                <a:gd name="T31" fmla="*/ 65 h 211"/>
                <a:gd name="T32" fmla="*/ 0 w 234"/>
                <a:gd name="T33" fmla="*/ 80 h 211"/>
                <a:gd name="T34" fmla="*/ 2 w 234"/>
                <a:gd name="T35" fmla="*/ 107 h 211"/>
                <a:gd name="T36" fmla="*/ 0 w 234"/>
                <a:gd name="T37" fmla="*/ 152 h 211"/>
                <a:gd name="T38" fmla="*/ 20 w 234"/>
                <a:gd name="T39" fmla="*/ 152 h 211"/>
                <a:gd name="T40" fmla="*/ 27 w 234"/>
                <a:gd name="T41" fmla="*/ 172 h 211"/>
                <a:gd name="T42" fmla="*/ 17 w 234"/>
                <a:gd name="T43" fmla="*/ 184 h 211"/>
                <a:gd name="T44" fmla="*/ 15 w 234"/>
                <a:gd name="T45" fmla="*/ 201 h 211"/>
                <a:gd name="T46" fmla="*/ 35 w 234"/>
                <a:gd name="T47" fmla="*/ 211 h 211"/>
                <a:gd name="T48" fmla="*/ 42 w 234"/>
                <a:gd name="T49" fmla="*/ 196 h 211"/>
                <a:gd name="T50" fmla="*/ 94 w 234"/>
                <a:gd name="T51" fmla="*/ 192 h 211"/>
                <a:gd name="T52" fmla="*/ 102 w 234"/>
                <a:gd name="T53" fmla="*/ 172 h 211"/>
                <a:gd name="T54" fmla="*/ 117 w 234"/>
                <a:gd name="T55" fmla="*/ 162 h 211"/>
                <a:gd name="T56" fmla="*/ 134 w 234"/>
                <a:gd name="T57" fmla="*/ 149 h 211"/>
                <a:gd name="T58" fmla="*/ 152 w 234"/>
                <a:gd name="T59" fmla="*/ 147 h 211"/>
                <a:gd name="T60" fmla="*/ 157 w 234"/>
                <a:gd name="T61" fmla="*/ 127 h 211"/>
                <a:gd name="T62" fmla="*/ 166 w 234"/>
                <a:gd name="T63" fmla="*/ 119 h 211"/>
                <a:gd name="T64" fmla="*/ 174 w 234"/>
                <a:gd name="T65" fmla="*/ 100 h 211"/>
                <a:gd name="T66" fmla="*/ 181 w 234"/>
                <a:gd name="T67" fmla="*/ 77 h 211"/>
                <a:gd name="T68" fmla="*/ 186 w 234"/>
                <a:gd name="T69" fmla="*/ 57 h 211"/>
                <a:gd name="T70" fmla="*/ 204 w 234"/>
                <a:gd name="T71" fmla="*/ 52 h 211"/>
                <a:gd name="T72" fmla="*/ 214 w 234"/>
                <a:gd name="T73" fmla="*/ 55 h 211"/>
                <a:gd name="T74" fmla="*/ 229 w 234"/>
                <a:gd name="T75" fmla="*/ 62 h 211"/>
                <a:gd name="T76" fmla="*/ 234 w 234"/>
                <a:gd name="T77" fmla="*/ 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4" h="211">
                  <a:moveTo>
                    <a:pt x="234" y="35"/>
                  </a:moveTo>
                  <a:lnTo>
                    <a:pt x="196" y="32"/>
                  </a:lnTo>
                  <a:lnTo>
                    <a:pt x="176" y="25"/>
                  </a:lnTo>
                  <a:lnTo>
                    <a:pt x="166" y="3"/>
                  </a:lnTo>
                  <a:lnTo>
                    <a:pt x="159" y="0"/>
                  </a:lnTo>
                  <a:lnTo>
                    <a:pt x="152" y="15"/>
                  </a:lnTo>
                  <a:lnTo>
                    <a:pt x="124" y="22"/>
                  </a:lnTo>
                  <a:lnTo>
                    <a:pt x="112" y="27"/>
                  </a:lnTo>
                  <a:lnTo>
                    <a:pt x="99" y="22"/>
                  </a:lnTo>
                  <a:lnTo>
                    <a:pt x="75" y="20"/>
                  </a:lnTo>
                  <a:lnTo>
                    <a:pt x="67" y="27"/>
                  </a:lnTo>
                  <a:lnTo>
                    <a:pt x="52" y="30"/>
                  </a:lnTo>
                  <a:lnTo>
                    <a:pt x="47" y="40"/>
                  </a:lnTo>
                  <a:lnTo>
                    <a:pt x="35" y="47"/>
                  </a:lnTo>
                  <a:lnTo>
                    <a:pt x="32" y="62"/>
                  </a:lnTo>
                  <a:lnTo>
                    <a:pt x="15" y="65"/>
                  </a:lnTo>
                  <a:lnTo>
                    <a:pt x="0" y="80"/>
                  </a:lnTo>
                  <a:lnTo>
                    <a:pt x="2" y="107"/>
                  </a:lnTo>
                  <a:lnTo>
                    <a:pt x="0" y="152"/>
                  </a:lnTo>
                  <a:lnTo>
                    <a:pt x="20" y="152"/>
                  </a:lnTo>
                  <a:lnTo>
                    <a:pt x="27" y="172"/>
                  </a:lnTo>
                  <a:lnTo>
                    <a:pt x="17" y="184"/>
                  </a:lnTo>
                  <a:lnTo>
                    <a:pt x="15" y="201"/>
                  </a:lnTo>
                  <a:lnTo>
                    <a:pt x="35" y="211"/>
                  </a:lnTo>
                  <a:lnTo>
                    <a:pt x="42" y="196"/>
                  </a:lnTo>
                  <a:lnTo>
                    <a:pt x="94" y="192"/>
                  </a:lnTo>
                  <a:lnTo>
                    <a:pt x="102" y="172"/>
                  </a:lnTo>
                  <a:lnTo>
                    <a:pt x="117" y="162"/>
                  </a:lnTo>
                  <a:lnTo>
                    <a:pt x="134" y="149"/>
                  </a:lnTo>
                  <a:lnTo>
                    <a:pt x="152" y="147"/>
                  </a:lnTo>
                  <a:lnTo>
                    <a:pt x="157" y="127"/>
                  </a:lnTo>
                  <a:lnTo>
                    <a:pt x="166" y="119"/>
                  </a:lnTo>
                  <a:lnTo>
                    <a:pt x="174" y="100"/>
                  </a:lnTo>
                  <a:lnTo>
                    <a:pt x="181" y="77"/>
                  </a:lnTo>
                  <a:lnTo>
                    <a:pt x="186" y="57"/>
                  </a:lnTo>
                  <a:lnTo>
                    <a:pt x="204" y="52"/>
                  </a:lnTo>
                  <a:lnTo>
                    <a:pt x="214" y="55"/>
                  </a:lnTo>
                  <a:lnTo>
                    <a:pt x="229" y="62"/>
                  </a:lnTo>
                  <a:lnTo>
                    <a:pt x="234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258"/>
            <p:cNvSpPr>
              <a:spLocks/>
            </p:cNvSpPr>
            <p:nvPr/>
          </p:nvSpPr>
          <p:spPr bwMode="auto">
            <a:xfrm>
              <a:off x="5552761" y="3107245"/>
              <a:ext cx="322389" cy="228839"/>
            </a:xfrm>
            <a:custGeom>
              <a:avLst/>
              <a:gdLst>
                <a:gd name="T0" fmla="*/ 222 w 224"/>
                <a:gd name="T1" fmla="*/ 99 h 159"/>
                <a:gd name="T2" fmla="*/ 214 w 224"/>
                <a:gd name="T3" fmla="*/ 106 h 159"/>
                <a:gd name="T4" fmla="*/ 199 w 224"/>
                <a:gd name="T5" fmla="*/ 109 h 159"/>
                <a:gd name="T6" fmla="*/ 194 w 224"/>
                <a:gd name="T7" fmla="*/ 119 h 159"/>
                <a:gd name="T8" fmla="*/ 182 w 224"/>
                <a:gd name="T9" fmla="*/ 126 h 159"/>
                <a:gd name="T10" fmla="*/ 179 w 224"/>
                <a:gd name="T11" fmla="*/ 141 h 159"/>
                <a:gd name="T12" fmla="*/ 162 w 224"/>
                <a:gd name="T13" fmla="*/ 144 h 159"/>
                <a:gd name="T14" fmla="*/ 147 w 224"/>
                <a:gd name="T15" fmla="*/ 159 h 159"/>
                <a:gd name="T16" fmla="*/ 152 w 224"/>
                <a:gd name="T17" fmla="*/ 119 h 159"/>
                <a:gd name="T18" fmla="*/ 127 w 224"/>
                <a:gd name="T19" fmla="*/ 106 h 159"/>
                <a:gd name="T20" fmla="*/ 100 w 224"/>
                <a:gd name="T21" fmla="*/ 87 h 159"/>
                <a:gd name="T22" fmla="*/ 80 w 224"/>
                <a:gd name="T23" fmla="*/ 84 h 159"/>
                <a:gd name="T24" fmla="*/ 47 w 224"/>
                <a:gd name="T25" fmla="*/ 79 h 159"/>
                <a:gd name="T26" fmla="*/ 40 w 224"/>
                <a:gd name="T27" fmla="*/ 94 h 159"/>
                <a:gd name="T28" fmla="*/ 23 w 224"/>
                <a:gd name="T29" fmla="*/ 101 h 159"/>
                <a:gd name="T30" fmla="*/ 20 w 224"/>
                <a:gd name="T31" fmla="*/ 79 h 159"/>
                <a:gd name="T32" fmla="*/ 18 w 224"/>
                <a:gd name="T33" fmla="*/ 67 h 159"/>
                <a:gd name="T34" fmla="*/ 13 w 224"/>
                <a:gd name="T35" fmla="*/ 57 h 159"/>
                <a:gd name="T36" fmla="*/ 10 w 224"/>
                <a:gd name="T37" fmla="*/ 37 h 159"/>
                <a:gd name="T38" fmla="*/ 3 w 224"/>
                <a:gd name="T39" fmla="*/ 29 h 159"/>
                <a:gd name="T40" fmla="*/ 8 w 224"/>
                <a:gd name="T41" fmla="*/ 22 h 159"/>
                <a:gd name="T42" fmla="*/ 0 w 224"/>
                <a:gd name="T43" fmla="*/ 17 h 159"/>
                <a:gd name="T44" fmla="*/ 0 w 224"/>
                <a:gd name="T45" fmla="*/ 5 h 159"/>
                <a:gd name="T46" fmla="*/ 20 w 224"/>
                <a:gd name="T47" fmla="*/ 22 h 159"/>
                <a:gd name="T48" fmla="*/ 30 w 224"/>
                <a:gd name="T49" fmla="*/ 7 h 159"/>
                <a:gd name="T50" fmla="*/ 45 w 224"/>
                <a:gd name="T51" fmla="*/ 0 h 159"/>
                <a:gd name="T52" fmla="*/ 60 w 224"/>
                <a:gd name="T53" fmla="*/ 5 h 159"/>
                <a:gd name="T54" fmla="*/ 60 w 224"/>
                <a:gd name="T55" fmla="*/ 17 h 159"/>
                <a:gd name="T56" fmla="*/ 77 w 224"/>
                <a:gd name="T57" fmla="*/ 22 h 159"/>
                <a:gd name="T58" fmla="*/ 100 w 224"/>
                <a:gd name="T59" fmla="*/ 29 h 159"/>
                <a:gd name="T60" fmla="*/ 102 w 224"/>
                <a:gd name="T61" fmla="*/ 17 h 159"/>
                <a:gd name="T62" fmla="*/ 112 w 224"/>
                <a:gd name="T63" fmla="*/ 12 h 159"/>
                <a:gd name="T64" fmla="*/ 125 w 224"/>
                <a:gd name="T65" fmla="*/ 7 h 159"/>
                <a:gd name="T66" fmla="*/ 130 w 224"/>
                <a:gd name="T67" fmla="*/ 17 h 159"/>
                <a:gd name="T68" fmla="*/ 139 w 224"/>
                <a:gd name="T69" fmla="*/ 24 h 159"/>
                <a:gd name="T70" fmla="*/ 135 w 224"/>
                <a:gd name="T71" fmla="*/ 32 h 159"/>
                <a:gd name="T72" fmla="*/ 149 w 224"/>
                <a:gd name="T73" fmla="*/ 37 h 159"/>
                <a:gd name="T74" fmla="*/ 157 w 224"/>
                <a:gd name="T75" fmla="*/ 37 h 159"/>
                <a:gd name="T76" fmla="*/ 167 w 224"/>
                <a:gd name="T77" fmla="*/ 42 h 159"/>
                <a:gd name="T78" fmla="*/ 162 w 224"/>
                <a:gd name="T79" fmla="*/ 54 h 159"/>
                <a:gd name="T80" fmla="*/ 204 w 224"/>
                <a:gd name="T81" fmla="*/ 89 h 159"/>
                <a:gd name="T82" fmla="*/ 214 w 224"/>
                <a:gd name="T83" fmla="*/ 82 h 159"/>
                <a:gd name="T84" fmla="*/ 224 w 224"/>
                <a:gd name="T85" fmla="*/ 87 h 159"/>
                <a:gd name="T86" fmla="*/ 222 w 224"/>
                <a:gd name="T87" fmla="*/ 9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159">
                  <a:moveTo>
                    <a:pt x="222" y="99"/>
                  </a:moveTo>
                  <a:lnTo>
                    <a:pt x="214" y="106"/>
                  </a:lnTo>
                  <a:lnTo>
                    <a:pt x="199" y="109"/>
                  </a:lnTo>
                  <a:lnTo>
                    <a:pt x="194" y="119"/>
                  </a:lnTo>
                  <a:lnTo>
                    <a:pt x="182" y="126"/>
                  </a:lnTo>
                  <a:lnTo>
                    <a:pt x="179" y="141"/>
                  </a:lnTo>
                  <a:lnTo>
                    <a:pt x="162" y="144"/>
                  </a:lnTo>
                  <a:lnTo>
                    <a:pt x="147" y="159"/>
                  </a:lnTo>
                  <a:lnTo>
                    <a:pt x="152" y="119"/>
                  </a:lnTo>
                  <a:lnTo>
                    <a:pt x="127" y="106"/>
                  </a:lnTo>
                  <a:lnTo>
                    <a:pt x="100" y="87"/>
                  </a:lnTo>
                  <a:lnTo>
                    <a:pt x="80" y="84"/>
                  </a:lnTo>
                  <a:lnTo>
                    <a:pt x="47" y="79"/>
                  </a:lnTo>
                  <a:lnTo>
                    <a:pt x="40" y="94"/>
                  </a:lnTo>
                  <a:lnTo>
                    <a:pt x="23" y="101"/>
                  </a:lnTo>
                  <a:lnTo>
                    <a:pt x="20" y="79"/>
                  </a:lnTo>
                  <a:lnTo>
                    <a:pt x="18" y="67"/>
                  </a:lnTo>
                  <a:lnTo>
                    <a:pt x="13" y="57"/>
                  </a:lnTo>
                  <a:lnTo>
                    <a:pt x="10" y="37"/>
                  </a:lnTo>
                  <a:lnTo>
                    <a:pt x="3" y="29"/>
                  </a:lnTo>
                  <a:lnTo>
                    <a:pt x="8" y="22"/>
                  </a:lnTo>
                  <a:lnTo>
                    <a:pt x="0" y="17"/>
                  </a:lnTo>
                  <a:lnTo>
                    <a:pt x="0" y="5"/>
                  </a:lnTo>
                  <a:lnTo>
                    <a:pt x="20" y="22"/>
                  </a:lnTo>
                  <a:lnTo>
                    <a:pt x="30" y="7"/>
                  </a:lnTo>
                  <a:lnTo>
                    <a:pt x="45" y="0"/>
                  </a:lnTo>
                  <a:lnTo>
                    <a:pt x="60" y="5"/>
                  </a:lnTo>
                  <a:lnTo>
                    <a:pt x="60" y="17"/>
                  </a:lnTo>
                  <a:lnTo>
                    <a:pt x="77" y="22"/>
                  </a:lnTo>
                  <a:lnTo>
                    <a:pt x="100" y="29"/>
                  </a:lnTo>
                  <a:lnTo>
                    <a:pt x="102" y="17"/>
                  </a:lnTo>
                  <a:lnTo>
                    <a:pt x="112" y="12"/>
                  </a:lnTo>
                  <a:lnTo>
                    <a:pt x="125" y="7"/>
                  </a:lnTo>
                  <a:lnTo>
                    <a:pt x="130" y="17"/>
                  </a:lnTo>
                  <a:lnTo>
                    <a:pt x="139" y="24"/>
                  </a:lnTo>
                  <a:lnTo>
                    <a:pt x="135" y="32"/>
                  </a:lnTo>
                  <a:lnTo>
                    <a:pt x="149" y="37"/>
                  </a:lnTo>
                  <a:lnTo>
                    <a:pt x="157" y="37"/>
                  </a:lnTo>
                  <a:lnTo>
                    <a:pt x="167" y="42"/>
                  </a:lnTo>
                  <a:lnTo>
                    <a:pt x="162" y="54"/>
                  </a:lnTo>
                  <a:lnTo>
                    <a:pt x="204" y="89"/>
                  </a:lnTo>
                  <a:lnTo>
                    <a:pt x="214" y="82"/>
                  </a:lnTo>
                  <a:lnTo>
                    <a:pt x="224" y="87"/>
                  </a:lnTo>
                  <a:lnTo>
                    <a:pt x="222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259"/>
            <p:cNvSpPr>
              <a:spLocks/>
            </p:cNvSpPr>
            <p:nvPr/>
          </p:nvSpPr>
          <p:spPr bwMode="auto">
            <a:xfrm>
              <a:off x="5925523" y="3138909"/>
              <a:ext cx="207250" cy="132410"/>
            </a:xfrm>
            <a:custGeom>
              <a:avLst/>
              <a:gdLst>
                <a:gd name="T0" fmla="*/ 45 w 144"/>
                <a:gd name="T1" fmla="*/ 10 h 92"/>
                <a:gd name="T2" fmla="*/ 35 w 144"/>
                <a:gd name="T3" fmla="*/ 30 h 92"/>
                <a:gd name="T4" fmla="*/ 20 w 144"/>
                <a:gd name="T5" fmla="*/ 50 h 92"/>
                <a:gd name="T6" fmla="*/ 0 w 144"/>
                <a:gd name="T7" fmla="*/ 84 h 92"/>
                <a:gd name="T8" fmla="*/ 12 w 144"/>
                <a:gd name="T9" fmla="*/ 79 h 92"/>
                <a:gd name="T10" fmla="*/ 40 w 144"/>
                <a:gd name="T11" fmla="*/ 72 h 92"/>
                <a:gd name="T12" fmla="*/ 47 w 144"/>
                <a:gd name="T13" fmla="*/ 57 h 92"/>
                <a:gd name="T14" fmla="*/ 54 w 144"/>
                <a:gd name="T15" fmla="*/ 60 h 92"/>
                <a:gd name="T16" fmla="*/ 64 w 144"/>
                <a:gd name="T17" fmla="*/ 82 h 92"/>
                <a:gd name="T18" fmla="*/ 84 w 144"/>
                <a:gd name="T19" fmla="*/ 89 h 92"/>
                <a:gd name="T20" fmla="*/ 122 w 144"/>
                <a:gd name="T21" fmla="*/ 92 h 92"/>
                <a:gd name="T22" fmla="*/ 122 w 144"/>
                <a:gd name="T23" fmla="*/ 75 h 92"/>
                <a:gd name="T24" fmla="*/ 119 w 144"/>
                <a:gd name="T25" fmla="*/ 77 h 92"/>
                <a:gd name="T26" fmla="*/ 99 w 144"/>
                <a:gd name="T27" fmla="*/ 65 h 92"/>
                <a:gd name="T28" fmla="*/ 102 w 144"/>
                <a:gd name="T29" fmla="*/ 37 h 92"/>
                <a:gd name="T30" fmla="*/ 117 w 144"/>
                <a:gd name="T31" fmla="*/ 27 h 92"/>
                <a:gd name="T32" fmla="*/ 144 w 144"/>
                <a:gd name="T33" fmla="*/ 45 h 92"/>
                <a:gd name="T34" fmla="*/ 127 w 144"/>
                <a:gd name="T35" fmla="*/ 0 h 92"/>
                <a:gd name="T36" fmla="*/ 107 w 144"/>
                <a:gd name="T37" fmla="*/ 15 h 92"/>
                <a:gd name="T38" fmla="*/ 87 w 144"/>
                <a:gd name="T39" fmla="*/ 17 h 92"/>
                <a:gd name="T40" fmla="*/ 45 w 144"/>
                <a:gd name="T41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92">
                  <a:moveTo>
                    <a:pt x="45" y="10"/>
                  </a:moveTo>
                  <a:lnTo>
                    <a:pt x="35" y="30"/>
                  </a:lnTo>
                  <a:lnTo>
                    <a:pt x="20" y="50"/>
                  </a:lnTo>
                  <a:lnTo>
                    <a:pt x="0" y="84"/>
                  </a:lnTo>
                  <a:lnTo>
                    <a:pt x="12" y="79"/>
                  </a:lnTo>
                  <a:lnTo>
                    <a:pt x="40" y="72"/>
                  </a:lnTo>
                  <a:lnTo>
                    <a:pt x="47" y="57"/>
                  </a:lnTo>
                  <a:lnTo>
                    <a:pt x="54" y="60"/>
                  </a:lnTo>
                  <a:lnTo>
                    <a:pt x="64" y="82"/>
                  </a:lnTo>
                  <a:lnTo>
                    <a:pt x="84" y="89"/>
                  </a:lnTo>
                  <a:lnTo>
                    <a:pt x="122" y="92"/>
                  </a:lnTo>
                  <a:lnTo>
                    <a:pt x="122" y="75"/>
                  </a:lnTo>
                  <a:lnTo>
                    <a:pt x="119" y="77"/>
                  </a:lnTo>
                  <a:lnTo>
                    <a:pt x="99" y="65"/>
                  </a:lnTo>
                  <a:lnTo>
                    <a:pt x="102" y="37"/>
                  </a:lnTo>
                  <a:lnTo>
                    <a:pt x="117" y="27"/>
                  </a:lnTo>
                  <a:lnTo>
                    <a:pt x="144" y="45"/>
                  </a:lnTo>
                  <a:lnTo>
                    <a:pt x="127" y="0"/>
                  </a:lnTo>
                  <a:lnTo>
                    <a:pt x="107" y="15"/>
                  </a:lnTo>
                  <a:lnTo>
                    <a:pt x="87" y="17"/>
                  </a:lnTo>
                  <a:lnTo>
                    <a:pt x="4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260"/>
            <p:cNvSpPr>
              <a:spLocks/>
            </p:cNvSpPr>
            <p:nvPr/>
          </p:nvSpPr>
          <p:spPr bwMode="auto">
            <a:xfrm>
              <a:off x="5663582" y="2967640"/>
              <a:ext cx="326707" cy="292164"/>
            </a:xfrm>
            <a:custGeom>
              <a:avLst/>
              <a:gdLst>
                <a:gd name="T0" fmla="*/ 182 w 227"/>
                <a:gd name="T1" fmla="*/ 203 h 203"/>
                <a:gd name="T2" fmla="*/ 169 w 227"/>
                <a:gd name="T3" fmla="*/ 198 h 203"/>
                <a:gd name="T4" fmla="*/ 145 w 227"/>
                <a:gd name="T5" fmla="*/ 196 h 203"/>
                <a:gd name="T6" fmla="*/ 147 w 227"/>
                <a:gd name="T7" fmla="*/ 184 h 203"/>
                <a:gd name="T8" fmla="*/ 137 w 227"/>
                <a:gd name="T9" fmla="*/ 179 h 203"/>
                <a:gd name="T10" fmla="*/ 127 w 227"/>
                <a:gd name="T11" fmla="*/ 186 h 203"/>
                <a:gd name="T12" fmla="*/ 85 w 227"/>
                <a:gd name="T13" fmla="*/ 151 h 203"/>
                <a:gd name="T14" fmla="*/ 90 w 227"/>
                <a:gd name="T15" fmla="*/ 139 h 203"/>
                <a:gd name="T16" fmla="*/ 80 w 227"/>
                <a:gd name="T17" fmla="*/ 134 h 203"/>
                <a:gd name="T18" fmla="*/ 72 w 227"/>
                <a:gd name="T19" fmla="*/ 134 h 203"/>
                <a:gd name="T20" fmla="*/ 58 w 227"/>
                <a:gd name="T21" fmla="*/ 129 h 203"/>
                <a:gd name="T22" fmla="*/ 62 w 227"/>
                <a:gd name="T23" fmla="*/ 121 h 203"/>
                <a:gd name="T24" fmla="*/ 53 w 227"/>
                <a:gd name="T25" fmla="*/ 114 h 203"/>
                <a:gd name="T26" fmla="*/ 48 w 227"/>
                <a:gd name="T27" fmla="*/ 104 h 203"/>
                <a:gd name="T28" fmla="*/ 35 w 227"/>
                <a:gd name="T29" fmla="*/ 109 h 203"/>
                <a:gd name="T30" fmla="*/ 25 w 227"/>
                <a:gd name="T31" fmla="*/ 114 h 203"/>
                <a:gd name="T32" fmla="*/ 23 w 227"/>
                <a:gd name="T33" fmla="*/ 126 h 203"/>
                <a:gd name="T34" fmla="*/ 0 w 227"/>
                <a:gd name="T35" fmla="*/ 119 h 203"/>
                <a:gd name="T36" fmla="*/ 13 w 227"/>
                <a:gd name="T37" fmla="*/ 29 h 203"/>
                <a:gd name="T38" fmla="*/ 50 w 227"/>
                <a:gd name="T39" fmla="*/ 0 h 203"/>
                <a:gd name="T40" fmla="*/ 55 w 227"/>
                <a:gd name="T41" fmla="*/ 44 h 203"/>
                <a:gd name="T42" fmla="*/ 72 w 227"/>
                <a:gd name="T43" fmla="*/ 44 h 203"/>
                <a:gd name="T44" fmla="*/ 82 w 227"/>
                <a:gd name="T45" fmla="*/ 54 h 203"/>
                <a:gd name="T46" fmla="*/ 105 w 227"/>
                <a:gd name="T47" fmla="*/ 54 h 203"/>
                <a:gd name="T48" fmla="*/ 105 w 227"/>
                <a:gd name="T49" fmla="*/ 24 h 203"/>
                <a:gd name="T50" fmla="*/ 117 w 227"/>
                <a:gd name="T51" fmla="*/ 47 h 203"/>
                <a:gd name="T52" fmla="*/ 122 w 227"/>
                <a:gd name="T53" fmla="*/ 62 h 203"/>
                <a:gd name="T54" fmla="*/ 145 w 227"/>
                <a:gd name="T55" fmla="*/ 54 h 203"/>
                <a:gd name="T56" fmla="*/ 164 w 227"/>
                <a:gd name="T57" fmla="*/ 59 h 203"/>
                <a:gd name="T58" fmla="*/ 184 w 227"/>
                <a:gd name="T59" fmla="*/ 67 h 203"/>
                <a:gd name="T60" fmla="*/ 187 w 227"/>
                <a:gd name="T61" fmla="*/ 94 h 203"/>
                <a:gd name="T62" fmla="*/ 192 w 227"/>
                <a:gd name="T63" fmla="*/ 109 h 203"/>
                <a:gd name="T64" fmla="*/ 214 w 227"/>
                <a:gd name="T65" fmla="*/ 119 h 203"/>
                <a:gd name="T66" fmla="*/ 227 w 227"/>
                <a:gd name="T67" fmla="*/ 129 h 203"/>
                <a:gd name="T68" fmla="*/ 217 w 227"/>
                <a:gd name="T69" fmla="*/ 149 h 203"/>
                <a:gd name="T70" fmla="*/ 202 w 227"/>
                <a:gd name="T71" fmla="*/ 169 h 203"/>
                <a:gd name="T72" fmla="*/ 182 w 227"/>
                <a:gd name="T7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7" h="203">
                  <a:moveTo>
                    <a:pt x="182" y="203"/>
                  </a:moveTo>
                  <a:lnTo>
                    <a:pt x="169" y="198"/>
                  </a:lnTo>
                  <a:lnTo>
                    <a:pt x="145" y="196"/>
                  </a:lnTo>
                  <a:lnTo>
                    <a:pt x="147" y="184"/>
                  </a:lnTo>
                  <a:lnTo>
                    <a:pt x="137" y="179"/>
                  </a:lnTo>
                  <a:lnTo>
                    <a:pt x="127" y="186"/>
                  </a:lnTo>
                  <a:lnTo>
                    <a:pt x="85" y="151"/>
                  </a:lnTo>
                  <a:lnTo>
                    <a:pt x="90" y="139"/>
                  </a:lnTo>
                  <a:lnTo>
                    <a:pt x="80" y="134"/>
                  </a:lnTo>
                  <a:lnTo>
                    <a:pt x="72" y="134"/>
                  </a:lnTo>
                  <a:lnTo>
                    <a:pt x="58" y="129"/>
                  </a:lnTo>
                  <a:lnTo>
                    <a:pt x="62" y="121"/>
                  </a:lnTo>
                  <a:lnTo>
                    <a:pt x="53" y="114"/>
                  </a:lnTo>
                  <a:lnTo>
                    <a:pt x="48" y="104"/>
                  </a:lnTo>
                  <a:lnTo>
                    <a:pt x="35" y="109"/>
                  </a:lnTo>
                  <a:lnTo>
                    <a:pt x="25" y="114"/>
                  </a:lnTo>
                  <a:lnTo>
                    <a:pt x="23" y="126"/>
                  </a:lnTo>
                  <a:lnTo>
                    <a:pt x="0" y="119"/>
                  </a:lnTo>
                  <a:lnTo>
                    <a:pt x="13" y="29"/>
                  </a:lnTo>
                  <a:lnTo>
                    <a:pt x="50" y="0"/>
                  </a:lnTo>
                  <a:lnTo>
                    <a:pt x="55" y="44"/>
                  </a:lnTo>
                  <a:lnTo>
                    <a:pt x="72" y="44"/>
                  </a:lnTo>
                  <a:lnTo>
                    <a:pt x="82" y="54"/>
                  </a:lnTo>
                  <a:lnTo>
                    <a:pt x="105" y="54"/>
                  </a:lnTo>
                  <a:lnTo>
                    <a:pt x="105" y="24"/>
                  </a:lnTo>
                  <a:lnTo>
                    <a:pt x="117" y="47"/>
                  </a:lnTo>
                  <a:lnTo>
                    <a:pt x="122" y="62"/>
                  </a:lnTo>
                  <a:lnTo>
                    <a:pt x="145" y="54"/>
                  </a:lnTo>
                  <a:lnTo>
                    <a:pt x="164" y="59"/>
                  </a:lnTo>
                  <a:lnTo>
                    <a:pt x="184" y="67"/>
                  </a:lnTo>
                  <a:lnTo>
                    <a:pt x="187" y="94"/>
                  </a:lnTo>
                  <a:lnTo>
                    <a:pt x="192" y="109"/>
                  </a:lnTo>
                  <a:lnTo>
                    <a:pt x="214" y="119"/>
                  </a:lnTo>
                  <a:lnTo>
                    <a:pt x="227" y="129"/>
                  </a:lnTo>
                  <a:lnTo>
                    <a:pt x="217" y="149"/>
                  </a:lnTo>
                  <a:lnTo>
                    <a:pt x="202" y="169"/>
                  </a:lnTo>
                  <a:lnTo>
                    <a:pt x="182" y="20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261"/>
            <p:cNvSpPr>
              <a:spLocks/>
            </p:cNvSpPr>
            <p:nvPr/>
          </p:nvSpPr>
          <p:spPr bwMode="auto">
            <a:xfrm>
              <a:off x="5357025" y="3045359"/>
              <a:ext cx="132410" cy="153998"/>
            </a:xfrm>
            <a:custGeom>
              <a:avLst/>
              <a:gdLst>
                <a:gd name="T0" fmla="*/ 0 w 92"/>
                <a:gd name="T1" fmla="*/ 10 h 107"/>
                <a:gd name="T2" fmla="*/ 7 w 92"/>
                <a:gd name="T3" fmla="*/ 35 h 107"/>
                <a:gd name="T4" fmla="*/ 19 w 92"/>
                <a:gd name="T5" fmla="*/ 62 h 107"/>
                <a:gd name="T6" fmla="*/ 37 w 92"/>
                <a:gd name="T7" fmla="*/ 95 h 107"/>
                <a:gd name="T8" fmla="*/ 22 w 92"/>
                <a:gd name="T9" fmla="*/ 105 h 107"/>
                <a:gd name="T10" fmla="*/ 44 w 92"/>
                <a:gd name="T11" fmla="*/ 105 h 107"/>
                <a:gd name="T12" fmla="*/ 49 w 92"/>
                <a:gd name="T13" fmla="*/ 90 h 107"/>
                <a:gd name="T14" fmla="*/ 59 w 92"/>
                <a:gd name="T15" fmla="*/ 85 h 107"/>
                <a:gd name="T16" fmla="*/ 67 w 92"/>
                <a:gd name="T17" fmla="*/ 107 h 107"/>
                <a:gd name="T18" fmla="*/ 77 w 92"/>
                <a:gd name="T19" fmla="*/ 100 h 107"/>
                <a:gd name="T20" fmla="*/ 82 w 92"/>
                <a:gd name="T21" fmla="*/ 80 h 107"/>
                <a:gd name="T22" fmla="*/ 92 w 92"/>
                <a:gd name="T23" fmla="*/ 75 h 107"/>
                <a:gd name="T24" fmla="*/ 89 w 92"/>
                <a:gd name="T25" fmla="*/ 65 h 107"/>
                <a:gd name="T26" fmla="*/ 72 w 92"/>
                <a:gd name="T27" fmla="*/ 53 h 107"/>
                <a:gd name="T28" fmla="*/ 54 w 92"/>
                <a:gd name="T29" fmla="*/ 35 h 107"/>
                <a:gd name="T30" fmla="*/ 34 w 92"/>
                <a:gd name="T31" fmla="*/ 0 h 107"/>
                <a:gd name="T32" fmla="*/ 0 w 92"/>
                <a:gd name="T3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7">
                  <a:moveTo>
                    <a:pt x="0" y="10"/>
                  </a:moveTo>
                  <a:lnTo>
                    <a:pt x="7" y="35"/>
                  </a:lnTo>
                  <a:lnTo>
                    <a:pt x="19" y="62"/>
                  </a:lnTo>
                  <a:lnTo>
                    <a:pt x="37" y="95"/>
                  </a:lnTo>
                  <a:lnTo>
                    <a:pt x="22" y="105"/>
                  </a:lnTo>
                  <a:lnTo>
                    <a:pt x="44" y="105"/>
                  </a:lnTo>
                  <a:lnTo>
                    <a:pt x="49" y="90"/>
                  </a:lnTo>
                  <a:lnTo>
                    <a:pt x="59" y="85"/>
                  </a:lnTo>
                  <a:lnTo>
                    <a:pt x="67" y="107"/>
                  </a:lnTo>
                  <a:lnTo>
                    <a:pt x="77" y="100"/>
                  </a:lnTo>
                  <a:lnTo>
                    <a:pt x="82" y="80"/>
                  </a:lnTo>
                  <a:lnTo>
                    <a:pt x="92" y="75"/>
                  </a:lnTo>
                  <a:lnTo>
                    <a:pt x="89" y="65"/>
                  </a:lnTo>
                  <a:lnTo>
                    <a:pt x="72" y="53"/>
                  </a:lnTo>
                  <a:lnTo>
                    <a:pt x="54" y="35"/>
                  </a:lnTo>
                  <a:lnTo>
                    <a:pt x="34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262"/>
            <p:cNvSpPr>
              <a:spLocks/>
            </p:cNvSpPr>
            <p:nvPr/>
          </p:nvSpPr>
          <p:spPr bwMode="auto">
            <a:xfrm>
              <a:off x="3850145" y="3965030"/>
              <a:ext cx="86354" cy="25906"/>
            </a:xfrm>
            <a:custGeom>
              <a:avLst/>
              <a:gdLst>
                <a:gd name="T0" fmla="*/ 5 w 60"/>
                <a:gd name="T1" fmla="*/ 0 h 18"/>
                <a:gd name="T2" fmla="*/ 27 w 60"/>
                <a:gd name="T3" fmla="*/ 3 h 18"/>
                <a:gd name="T4" fmla="*/ 37 w 60"/>
                <a:gd name="T5" fmla="*/ 0 h 18"/>
                <a:gd name="T6" fmla="*/ 60 w 60"/>
                <a:gd name="T7" fmla="*/ 3 h 18"/>
                <a:gd name="T8" fmla="*/ 60 w 60"/>
                <a:gd name="T9" fmla="*/ 13 h 18"/>
                <a:gd name="T10" fmla="*/ 47 w 60"/>
                <a:gd name="T11" fmla="*/ 10 h 18"/>
                <a:gd name="T12" fmla="*/ 37 w 60"/>
                <a:gd name="T13" fmla="*/ 8 h 18"/>
                <a:gd name="T14" fmla="*/ 20 w 60"/>
                <a:gd name="T15" fmla="*/ 18 h 18"/>
                <a:gd name="T16" fmla="*/ 0 w 60"/>
                <a:gd name="T17" fmla="*/ 15 h 18"/>
                <a:gd name="T18" fmla="*/ 12 w 60"/>
                <a:gd name="T19" fmla="*/ 8 h 18"/>
                <a:gd name="T20" fmla="*/ 5 w 6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8">
                  <a:moveTo>
                    <a:pt x="5" y="0"/>
                  </a:moveTo>
                  <a:lnTo>
                    <a:pt x="27" y="3"/>
                  </a:lnTo>
                  <a:lnTo>
                    <a:pt x="37" y="0"/>
                  </a:lnTo>
                  <a:lnTo>
                    <a:pt x="60" y="3"/>
                  </a:lnTo>
                  <a:lnTo>
                    <a:pt x="60" y="13"/>
                  </a:lnTo>
                  <a:lnTo>
                    <a:pt x="47" y="10"/>
                  </a:lnTo>
                  <a:lnTo>
                    <a:pt x="37" y="8"/>
                  </a:lnTo>
                  <a:lnTo>
                    <a:pt x="20" y="18"/>
                  </a:lnTo>
                  <a:lnTo>
                    <a:pt x="0" y="15"/>
                  </a:lnTo>
                  <a:lnTo>
                    <a:pt x="12" y="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263"/>
            <p:cNvSpPr>
              <a:spLocks/>
            </p:cNvSpPr>
            <p:nvPr/>
          </p:nvSpPr>
          <p:spPr bwMode="auto">
            <a:xfrm>
              <a:off x="3850145" y="3998133"/>
              <a:ext cx="74840" cy="38859"/>
            </a:xfrm>
            <a:custGeom>
              <a:avLst/>
              <a:gdLst>
                <a:gd name="T0" fmla="*/ 52 w 52"/>
                <a:gd name="T1" fmla="*/ 7 h 27"/>
                <a:gd name="T2" fmla="*/ 27 w 52"/>
                <a:gd name="T3" fmla="*/ 0 h 27"/>
                <a:gd name="T4" fmla="*/ 0 w 52"/>
                <a:gd name="T5" fmla="*/ 5 h 27"/>
                <a:gd name="T6" fmla="*/ 0 w 52"/>
                <a:gd name="T7" fmla="*/ 19 h 27"/>
                <a:gd name="T8" fmla="*/ 15 w 52"/>
                <a:gd name="T9" fmla="*/ 19 h 27"/>
                <a:gd name="T10" fmla="*/ 22 w 52"/>
                <a:gd name="T11" fmla="*/ 27 h 27"/>
                <a:gd name="T12" fmla="*/ 32 w 52"/>
                <a:gd name="T13" fmla="*/ 14 h 27"/>
                <a:gd name="T14" fmla="*/ 52 w 52"/>
                <a:gd name="T15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27">
                  <a:moveTo>
                    <a:pt x="52" y="7"/>
                  </a:moveTo>
                  <a:lnTo>
                    <a:pt x="27" y="0"/>
                  </a:lnTo>
                  <a:lnTo>
                    <a:pt x="0" y="5"/>
                  </a:lnTo>
                  <a:lnTo>
                    <a:pt x="0" y="19"/>
                  </a:lnTo>
                  <a:lnTo>
                    <a:pt x="15" y="19"/>
                  </a:lnTo>
                  <a:lnTo>
                    <a:pt x="22" y="27"/>
                  </a:lnTo>
                  <a:lnTo>
                    <a:pt x="32" y="14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264"/>
            <p:cNvSpPr>
              <a:spLocks/>
            </p:cNvSpPr>
            <p:nvPr/>
          </p:nvSpPr>
          <p:spPr bwMode="auto">
            <a:xfrm>
              <a:off x="4644603" y="2874089"/>
              <a:ext cx="156877" cy="86354"/>
            </a:xfrm>
            <a:custGeom>
              <a:avLst/>
              <a:gdLst>
                <a:gd name="T0" fmla="*/ 109 w 109"/>
                <a:gd name="T1" fmla="*/ 15 h 60"/>
                <a:gd name="T2" fmla="*/ 94 w 109"/>
                <a:gd name="T3" fmla="*/ 2 h 60"/>
                <a:gd name="T4" fmla="*/ 87 w 109"/>
                <a:gd name="T5" fmla="*/ 0 h 60"/>
                <a:gd name="T6" fmla="*/ 57 w 109"/>
                <a:gd name="T7" fmla="*/ 5 h 60"/>
                <a:gd name="T8" fmla="*/ 37 w 109"/>
                <a:gd name="T9" fmla="*/ 5 h 60"/>
                <a:gd name="T10" fmla="*/ 12 w 109"/>
                <a:gd name="T11" fmla="*/ 2 h 60"/>
                <a:gd name="T12" fmla="*/ 15 w 109"/>
                <a:gd name="T13" fmla="*/ 20 h 60"/>
                <a:gd name="T14" fmla="*/ 7 w 109"/>
                <a:gd name="T15" fmla="*/ 30 h 60"/>
                <a:gd name="T16" fmla="*/ 7 w 109"/>
                <a:gd name="T17" fmla="*/ 35 h 60"/>
                <a:gd name="T18" fmla="*/ 0 w 109"/>
                <a:gd name="T19" fmla="*/ 42 h 60"/>
                <a:gd name="T20" fmla="*/ 7 w 109"/>
                <a:gd name="T21" fmla="*/ 45 h 60"/>
                <a:gd name="T22" fmla="*/ 27 w 109"/>
                <a:gd name="T23" fmla="*/ 55 h 60"/>
                <a:gd name="T24" fmla="*/ 47 w 109"/>
                <a:gd name="T25" fmla="*/ 60 h 60"/>
                <a:gd name="T26" fmla="*/ 57 w 109"/>
                <a:gd name="T27" fmla="*/ 50 h 60"/>
                <a:gd name="T28" fmla="*/ 72 w 109"/>
                <a:gd name="T29" fmla="*/ 52 h 60"/>
                <a:gd name="T30" fmla="*/ 89 w 109"/>
                <a:gd name="T31" fmla="*/ 47 h 60"/>
                <a:gd name="T32" fmla="*/ 102 w 109"/>
                <a:gd name="T33" fmla="*/ 27 h 60"/>
                <a:gd name="T34" fmla="*/ 109 w 109"/>
                <a:gd name="T35" fmla="*/ 1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60">
                  <a:moveTo>
                    <a:pt x="109" y="15"/>
                  </a:moveTo>
                  <a:lnTo>
                    <a:pt x="94" y="2"/>
                  </a:lnTo>
                  <a:lnTo>
                    <a:pt x="87" y="0"/>
                  </a:lnTo>
                  <a:lnTo>
                    <a:pt x="57" y="5"/>
                  </a:lnTo>
                  <a:lnTo>
                    <a:pt x="37" y="5"/>
                  </a:lnTo>
                  <a:lnTo>
                    <a:pt x="12" y="2"/>
                  </a:lnTo>
                  <a:lnTo>
                    <a:pt x="15" y="20"/>
                  </a:lnTo>
                  <a:lnTo>
                    <a:pt x="7" y="30"/>
                  </a:lnTo>
                  <a:lnTo>
                    <a:pt x="7" y="35"/>
                  </a:lnTo>
                  <a:lnTo>
                    <a:pt x="0" y="42"/>
                  </a:lnTo>
                  <a:lnTo>
                    <a:pt x="7" y="45"/>
                  </a:lnTo>
                  <a:lnTo>
                    <a:pt x="27" y="55"/>
                  </a:lnTo>
                  <a:lnTo>
                    <a:pt x="47" y="60"/>
                  </a:lnTo>
                  <a:lnTo>
                    <a:pt x="57" y="50"/>
                  </a:lnTo>
                  <a:lnTo>
                    <a:pt x="72" y="52"/>
                  </a:lnTo>
                  <a:lnTo>
                    <a:pt x="89" y="47"/>
                  </a:lnTo>
                  <a:lnTo>
                    <a:pt x="102" y="27"/>
                  </a:lnTo>
                  <a:lnTo>
                    <a:pt x="109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265"/>
            <p:cNvSpPr>
              <a:spLocks/>
            </p:cNvSpPr>
            <p:nvPr/>
          </p:nvSpPr>
          <p:spPr bwMode="auto">
            <a:xfrm>
              <a:off x="4340925" y="2766147"/>
              <a:ext cx="77719" cy="64765"/>
            </a:xfrm>
            <a:custGeom>
              <a:avLst/>
              <a:gdLst>
                <a:gd name="T0" fmla="*/ 0 w 54"/>
                <a:gd name="T1" fmla="*/ 3 h 45"/>
                <a:gd name="T2" fmla="*/ 0 w 54"/>
                <a:gd name="T3" fmla="*/ 15 h 45"/>
                <a:gd name="T4" fmla="*/ 12 w 54"/>
                <a:gd name="T5" fmla="*/ 23 h 45"/>
                <a:gd name="T6" fmla="*/ 19 w 54"/>
                <a:gd name="T7" fmla="*/ 38 h 45"/>
                <a:gd name="T8" fmla="*/ 42 w 54"/>
                <a:gd name="T9" fmla="*/ 45 h 45"/>
                <a:gd name="T10" fmla="*/ 44 w 54"/>
                <a:gd name="T11" fmla="*/ 35 h 45"/>
                <a:gd name="T12" fmla="*/ 54 w 54"/>
                <a:gd name="T13" fmla="*/ 23 h 45"/>
                <a:gd name="T14" fmla="*/ 44 w 54"/>
                <a:gd name="T15" fmla="*/ 18 h 45"/>
                <a:gd name="T16" fmla="*/ 39 w 54"/>
                <a:gd name="T17" fmla="*/ 3 h 45"/>
                <a:gd name="T18" fmla="*/ 29 w 54"/>
                <a:gd name="T19" fmla="*/ 0 h 45"/>
                <a:gd name="T20" fmla="*/ 19 w 54"/>
                <a:gd name="T21" fmla="*/ 3 h 45"/>
                <a:gd name="T22" fmla="*/ 0 w 54"/>
                <a:gd name="T23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45">
                  <a:moveTo>
                    <a:pt x="0" y="3"/>
                  </a:moveTo>
                  <a:lnTo>
                    <a:pt x="0" y="15"/>
                  </a:lnTo>
                  <a:lnTo>
                    <a:pt x="12" y="23"/>
                  </a:lnTo>
                  <a:lnTo>
                    <a:pt x="19" y="38"/>
                  </a:lnTo>
                  <a:lnTo>
                    <a:pt x="42" y="45"/>
                  </a:lnTo>
                  <a:lnTo>
                    <a:pt x="44" y="35"/>
                  </a:lnTo>
                  <a:lnTo>
                    <a:pt x="54" y="23"/>
                  </a:lnTo>
                  <a:lnTo>
                    <a:pt x="44" y="18"/>
                  </a:lnTo>
                  <a:lnTo>
                    <a:pt x="39" y="3"/>
                  </a:lnTo>
                  <a:lnTo>
                    <a:pt x="29" y="0"/>
                  </a:lnTo>
                  <a:lnTo>
                    <a:pt x="19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266"/>
            <p:cNvSpPr>
              <a:spLocks/>
            </p:cNvSpPr>
            <p:nvPr/>
          </p:nvSpPr>
          <p:spPr bwMode="auto">
            <a:xfrm>
              <a:off x="4418644" y="2898557"/>
              <a:ext cx="86354" cy="50373"/>
            </a:xfrm>
            <a:custGeom>
              <a:avLst/>
              <a:gdLst>
                <a:gd name="T0" fmla="*/ 10 w 60"/>
                <a:gd name="T1" fmla="*/ 35 h 35"/>
                <a:gd name="T2" fmla="*/ 0 w 60"/>
                <a:gd name="T3" fmla="*/ 28 h 35"/>
                <a:gd name="T4" fmla="*/ 5 w 60"/>
                <a:gd name="T5" fmla="*/ 15 h 35"/>
                <a:gd name="T6" fmla="*/ 13 w 60"/>
                <a:gd name="T7" fmla="*/ 5 h 35"/>
                <a:gd name="T8" fmla="*/ 23 w 60"/>
                <a:gd name="T9" fmla="*/ 3 h 35"/>
                <a:gd name="T10" fmla="*/ 33 w 60"/>
                <a:gd name="T11" fmla="*/ 3 h 35"/>
                <a:gd name="T12" fmla="*/ 45 w 60"/>
                <a:gd name="T13" fmla="*/ 0 h 35"/>
                <a:gd name="T14" fmla="*/ 55 w 60"/>
                <a:gd name="T15" fmla="*/ 5 h 35"/>
                <a:gd name="T16" fmla="*/ 60 w 60"/>
                <a:gd name="T17" fmla="*/ 18 h 35"/>
                <a:gd name="T18" fmla="*/ 52 w 60"/>
                <a:gd name="T19" fmla="*/ 33 h 35"/>
                <a:gd name="T20" fmla="*/ 45 w 60"/>
                <a:gd name="T21" fmla="*/ 28 h 35"/>
                <a:gd name="T22" fmla="*/ 40 w 60"/>
                <a:gd name="T23" fmla="*/ 35 h 35"/>
                <a:gd name="T24" fmla="*/ 35 w 60"/>
                <a:gd name="T25" fmla="*/ 28 h 35"/>
                <a:gd name="T26" fmla="*/ 28 w 60"/>
                <a:gd name="T27" fmla="*/ 35 h 35"/>
                <a:gd name="T28" fmla="*/ 10 w 60"/>
                <a:gd name="T2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35">
                  <a:moveTo>
                    <a:pt x="10" y="35"/>
                  </a:moveTo>
                  <a:lnTo>
                    <a:pt x="0" y="28"/>
                  </a:lnTo>
                  <a:lnTo>
                    <a:pt x="5" y="15"/>
                  </a:lnTo>
                  <a:lnTo>
                    <a:pt x="13" y="5"/>
                  </a:lnTo>
                  <a:lnTo>
                    <a:pt x="23" y="3"/>
                  </a:lnTo>
                  <a:lnTo>
                    <a:pt x="33" y="3"/>
                  </a:lnTo>
                  <a:lnTo>
                    <a:pt x="45" y="0"/>
                  </a:lnTo>
                  <a:lnTo>
                    <a:pt x="55" y="5"/>
                  </a:lnTo>
                  <a:lnTo>
                    <a:pt x="60" y="18"/>
                  </a:lnTo>
                  <a:lnTo>
                    <a:pt x="52" y="33"/>
                  </a:lnTo>
                  <a:lnTo>
                    <a:pt x="45" y="28"/>
                  </a:lnTo>
                  <a:lnTo>
                    <a:pt x="40" y="35"/>
                  </a:lnTo>
                  <a:lnTo>
                    <a:pt x="35" y="28"/>
                  </a:lnTo>
                  <a:lnTo>
                    <a:pt x="28" y="35"/>
                  </a:lnTo>
                  <a:lnTo>
                    <a:pt x="10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267"/>
            <p:cNvSpPr>
              <a:spLocks/>
            </p:cNvSpPr>
            <p:nvPr/>
          </p:nvSpPr>
          <p:spPr bwMode="auto">
            <a:xfrm>
              <a:off x="4454624" y="2541626"/>
              <a:ext cx="67645" cy="110821"/>
            </a:xfrm>
            <a:custGeom>
              <a:avLst/>
              <a:gdLst>
                <a:gd name="T0" fmla="*/ 37 w 47"/>
                <a:gd name="T1" fmla="*/ 72 h 77"/>
                <a:gd name="T2" fmla="*/ 17 w 47"/>
                <a:gd name="T3" fmla="*/ 77 h 77"/>
                <a:gd name="T4" fmla="*/ 10 w 47"/>
                <a:gd name="T5" fmla="*/ 59 h 77"/>
                <a:gd name="T6" fmla="*/ 0 w 47"/>
                <a:gd name="T7" fmla="*/ 55 h 77"/>
                <a:gd name="T8" fmla="*/ 0 w 47"/>
                <a:gd name="T9" fmla="*/ 25 h 77"/>
                <a:gd name="T10" fmla="*/ 22 w 47"/>
                <a:gd name="T11" fmla="*/ 22 h 77"/>
                <a:gd name="T12" fmla="*/ 35 w 47"/>
                <a:gd name="T13" fmla="*/ 0 h 77"/>
                <a:gd name="T14" fmla="*/ 47 w 47"/>
                <a:gd name="T15" fmla="*/ 22 h 77"/>
                <a:gd name="T16" fmla="*/ 35 w 47"/>
                <a:gd name="T17" fmla="*/ 55 h 77"/>
                <a:gd name="T18" fmla="*/ 37 w 47"/>
                <a:gd name="T19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77">
                  <a:moveTo>
                    <a:pt x="37" y="72"/>
                  </a:moveTo>
                  <a:lnTo>
                    <a:pt x="17" y="77"/>
                  </a:lnTo>
                  <a:lnTo>
                    <a:pt x="10" y="59"/>
                  </a:lnTo>
                  <a:lnTo>
                    <a:pt x="0" y="55"/>
                  </a:lnTo>
                  <a:lnTo>
                    <a:pt x="0" y="25"/>
                  </a:lnTo>
                  <a:lnTo>
                    <a:pt x="22" y="22"/>
                  </a:lnTo>
                  <a:lnTo>
                    <a:pt x="35" y="0"/>
                  </a:lnTo>
                  <a:lnTo>
                    <a:pt x="47" y="22"/>
                  </a:lnTo>
                  <a:lnTo>
                    <a:pt x="35" y="55"/>
                  </a:lnTo>
                  <a:lnTo>
                    <a:pt x="37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268"/>
            <p:cNvSpPr>
              <a:spLocks/>
            </p:cNvSpPr>
            <p:nvPr/>
          </p:nvSpPr>
          <p:spPr bwMode="auto">
            <a:xfrm>
              <a:off x="4479092" y="2522916"/>
              <a:ext cx="33102" cy="14392"/>
            </a:xfrm>
            <a:custGeom>
              <a:avLst/>
              <a:gdLst>
                <a:gd name="T0" fmla="*/ 0 w 23"/>
                <a:gd name="T1" fmla="*/ 10 h 10"/>
                <a:gd name="T2" fmla="*/ 5 w 23"/>
                <a:gd name="T3" fmla="*/ 0 h 10"/>
                <a:gd name="T4" fmla="*/ 15 w 23"/>
                <a:gd name="T5" fmla="*/ 0 h 10"/>
                <a:gd name="T6" fmla="*/ 23 w 23"/>
                <a:gd name="T7" fmla="*/ 0 h 10"/>
                <a:gd name="T8" fmla="*/ 0 w 2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0" y="10"/>
                  </a:moveTo>
                  <a:lnTo>
                    <a:pt x="5" y="0"/>
                  </a:lnTo>
                  <a:lnTo>
                    <a:pt x="15" y="0"/>
                  </a:lnTo>
                  <a:lnTo>
                    <a:pt x="23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269"/>
            <p:cNvSpPr>
              <a:spLocks/>
            </p:cNvSpPr>
            <p:nvPr/>
          </p:nvSpPr>
          <p:spPr bwMode="auto">
            <a:xfrm>
              <a:off x="4368270" y="2698503"/>
              <a:ext cx="71962" cy="93551"/>
            </a:xfrm>
            <a:custGeom>
              <a:avLst/>
              <a:gdLst>
                <a:gd name="T0" fmla="*/ 0 w 50"/>
                <a:gd name="T1" fmla="*/ 50 h 65"/>
                <a:gd name="T2" fmla="*/ 10 w 50"/>
                <a:gd name="T3" fmla="*/ 47 h 65"/>
                <a:gd name="T4" fmla="*/ 20 w 50"/>
                <a:gd name="T5" fmla="*/ 50 h 65"/>
                <a:gd name="T6" fmla="*/ 25 w 50"/>
                <a:gd name="T7" fmla="*/ 65 h 65"/>
                <a:gd name="T8" fmla="*/ 28 w 50"/>
                <a:gd name="T9" fmla="*/ 45 h 65"/>
                <a:gd name="T10" fmla="*/ 40 w 50"/>
                <a:gd name="T11" fmla="*/ 35 h 65"/>
                <a:gd name="T12" fmla="*/ 50 w 50"/>
                <a:gd name="T13" fmla="*/ 20 h 65"/>
                <a:gd name="T14" fmla="*/ 50 w 50"/>
                <a:gd name="T15" fmla="*/ 0 h 65"/>
                <a:gd name="T16" fmla="*/ 28 w 50"/>
                <a:gd name="T17" fmla="*/ 3 h 65"/>
                <a:gd name="T18" fmla="*/ 23 w 50"/>
                <a:gd name="T19" fmla="*/ 10 h 65"/>
                <a:gd name="T20" fmla="*/ 23 w 50"/>
                <a:gd name="T21" fmla="*/ 13 h 65"/>
                <a:gd name="T22" fmla="*/ 20 w 50"/>
                <a:gd name="T23" fmla="*/ 20 h 65"/>
                <a:gd name="T24" fmla="*/ 10 w 50"/>
                <a:gd name="T25" fmla="*/ 13 h 65"/>
                <a:gd name="T26" fmla="*/ 3 w 50"/>
                <a:gd name="T27" fmla="*/ 35 h 65"/>
                <a:gd name="T28" fmla="*/ 5 w 50"/>
                <a:gd name="T29" fmla="*/ 37 h 65"/>
                <a:gd name="T30" fmla="*/ 0 w 50"/>
                <a:gd name="T31" fmla="*/ 5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65">
                  <a:moveTo>
                    <a:pt x="0" y="50"/>
                  </a:moveTo>
                  <a:lnTo>
                    <a:pt x="10" y="47"/>
                  </a:lnTo>
                  <a:lnTo>
                    <a:pt x="20" y="50"/>
                  </a:lnTo>
                  <a:lnTo>
                    <a:pt x="25" y="65"/>
                  </a:lnTo>
                  <a:lnTo>
                    <a:pt x="28" y="45"/>
                  </a:lnTo>
                  <a:lnTo>
                    <a:pt x="40" y="35"/>
                  </a:lnTo>
                  <a:lnTo>
                    <a:pt x="50" y="20"/>
                  </a:lnTo>
                  <a:lnTo>
                    <a:pt x="50" y="0"/>
                  </a:lnTo>
                  <a:lnTo>
                    <a:pt x="28" y="3"/>
                  </a:lnTo>
                  <a:lnTo>
                    <a:pt x="23" y="10"/>
                  </a:lnTo>
                  <a:lnTo>
                    <a:pt x="23" y="13"/>
                  </a:lnTo>
                  <a:lnTo>
                    <a:pt x="20" y="20"/>
                  </a:lnTo>
                  <a:lnTo>
                    <a:pt x="10" y="13"/>
                  </a:lnTo>
                  <a:lnTo>
                    <a:pt x="3" y="35"/>
                  </a:lnTo>
                  <a:lnTo>
                    <a:pt x="5" y="37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270"/>
            <p:cNvSpPr>
              <a:spLocks/>
            </p:cNvSpPr>
            <p:nvPr/>
          </p:nvSpPr>
          <p:spPr bwMode="auto">
            <a:xfrm>
              <a:off x="3717736" y="2183256"/>
              <a:ext cx="233156" cy="139606"/>
            </a:xfrm>
            <a:custGeom>
              <a:avLst/>
              <a:gdLst>
                <a:gd name="T0" fmla="*/ 50 w 162"/>
                <a:gd name="T1" fmla="*/ 18 h 97"/>
                <a:gd name="T2" fmla="*/ 27 w 162"/>
                <a:gd name="T3" fmla="*/ 0 h 97"/>
                <a:gd name="T4" fmla="*/ 0 w 162"/>
                <a:gd name="T5" fmla="*/ 30 h 97"/>
                <a:gd name="T6" fmla="*/ 2 w 162"/>
                <a:gd name="T7" fmla="*/ 45 h 97"/>
                <a:gd name="T8" fmla="*/ 32 w 162"/>
                <a:gd name="T9" fmla="*/ 40 h 97"/>
                <a:gd name="T10" fmla="*/ 32 w 162"/>
                <a:gd name="T11" fmla="*/ 62 h 97"/>
                <a:gd name="T12" fmla="*/ 25 w 162"/>
                <a:gd name="T13" fmla="*/ 80 h 97"/>
                <a:gd name="T14" fmla="*/ 52 w 162"/>
                <a:gd name="T15" fmla="*/ 72 h 97"/>
                <a:gd name="T16" fmla="*/ 80 w 162"/>
                <a:gd name="T17" fmla="*/ 85 h 97"/>
                <a:gd name="T18" fmla="*/ 89 w 162"/>
                <a:gd name="T19" fmla="*/ 97 h 97"/>
                <a:gd name="T20" fmla="*/ 114 w 162"/>
                <a:gd name="T21" fmla="*/ 72 h 97"/>
                <a:gd name="T22" fmla="*/ 134 w 162"/>
                <a:gd name="T23" fmla="*/ 72 h 97"/>
                <a:gd name="T24" fmla="*/ 157 w 162"/>
                <a:gd name="T25" fmla="*/ 57 h 97"/>
                <a:gd name="T26" fmla="*/ 162 w 162"/>
                <a:gd name="T27" fmla="*/ 33 h 97"/>
                <a:gd name="T28" fmla="*/ 157 w 162"/>
                <a:gd name="T29" fmla="*/ 5 h 97"/>
                <a:gd name="T30" fmla="*/ 124 w 162"/>
                <a:gd name="T31" fmla="*/ 5 h 97"/>
                <a:gd name="T32" fmla="*/ 94 w 162"/>
                <a:gd name="T33" fmla="*/ 15 h 97"/>
                <a:gd name="T34" fmla="*/ 60 w 162"/>
                <a:gd name="T35" fmla="*/ 3 h 97"/>
                <a:gd name="T36" fmla="*/ 50 w 162"/>
                <a:gd name="T37" fmla="*/ 1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97">
                  <a:moveTo>
                    <a:pt x="50" y="18"/>
                  </a:moveTo>
                  <a:lnTo>
                    <a:pt x="27" y="0"/>
                  </a:lnTo>
                  <a:lnTo>
                    <a:pt x="0" y="30"/>
                  </a:lnTo>
                  <a:lnTo>
                    <a:pt x="2" y="45"/>
                  </a:lnTo>
                  <a:lnTo>
                    <a:pt x="32" y="40"/>
                  </a:lnTo>
                  <a:lnTo>
                    <a:pt x="32" y="62"/>
                  </a:lnTo>
                  <a:lnTo>
                    <a:pt x="25" y="80"/>
                  </a:lnTo>
                  <a:lnTo>
                    <a:pt x="52" y="72"/>
                  </a:lnTo>
                  <a:lnTo>
                    <a:pt x="80" y="85"/>
                  </a:lnTo>
                  <a:lnTo>
                    <a:pt x="89" y="97"/>
                  </a:lnTo>
                  <a:lnTo>
                    <a:pt x="114" y="72"/>
                  </a:lnTo>
                  <a:lnTo>
                    <a:pt x="134" y="72"/>
                  </a:lnTo>
                  <a:lnTo>
                    <a:pt x="157" y="57"/>
                  </a:lnTo>
                  <a:lnTo>
                    <a:pt x="162" y="33"/>
                  </a:lnTo>
                  <a:lnTo>
                    <a:pt x="157" y="5"/>
                  </a:lnTo>
                  <a:lnTo>
                    <a:pt x="124" y="5"/>
                  </a:lnTo>
                  <a:lnTo>
                    <a:pt x="94" y="15"/>
                  </a:lnTo>
                  <a:lnTo>
                    <a:pt x="60" y="3"/>
                  </a:lnTo>
                  <a:lnTo>
                    <a:pt x="50" y="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271"/>
            <p:cNvSpPr>
              <a:spLocks/>
            </p:cNvSpPr>
            <p:nvPr/>
          </p:nvSpPr>
          <p:spPr bwMode="auto">
            <a:xfrm>
              <a:off x="4798602" y="3009377"/>
              <a:ext cx="142484" cy="107943"/>
            </a:xfrm>
            <a:custGeom>
              <a:avLst/>
              <a:gdLst>
                <a:gd name="T0" fmla="*/ 74 w 99"/>
                <a:gd name="T1" fmla="*/ 63 h 75"/>
                <a:gd name="T2" fmla="*/ 57 w 99"/>
                <a:gd name="T3" fmla="*/ 65 h 75"/>
                <a:gd name="T4" fmla="*/ 49 w 99"/>
                <a:gd name="T5" fmla="*/ 65 h 75"/>
                <a:gd name="T6" fmla="*/ 37 w 99"/>
                <a:gd name="T7" fmla="*/ 75 h 75"/>
                <a:gd name="T8" fmla="*/ 22 w 99"/>
                <a:gd name="T9" fmla="*/ 70 h 75"/>
                <a:gd name="T10" fmla="*/ 12 w 99"/>
                <a:gd name="T11" fmla="*/ 70 h 75"/>
                <a:gd name="T12" fmla="*/ 10 w 99"/>
                <a:gd name="T13" fmla="*/ 43 h 75"/>
                <a:gd name="T14" fmla="*/ 0 w 99"/>
                <a:gd name="T15" fmla="*/ 25 h 75"/>
                <a:gd name="T16" fmla="*/ 0 w 99"/>
                <a:gd name="T17" fmla="*/ 15 h 75"/>
                <a:gd name="T18" fmla="*/ 15 w 99"/>
                <a:gd name="T19" fmla="*/ 3 h 75"/>
                <a:gd name="T20" fmla="*/ 20 w 99"/>
                <a:gd name="T21" fmla="*/ 8 h 75"/>
                <a:gd name="T22" fmla="*/ 25 w 99"/>
                <a:gd name="T23" fmla="*/ 0 h 75"/>
                <a:gd name="T24" fmla="*/ 44 w 99"/>
                <a:gd name="T25" fmla="*/ 8 h 75"/>
                <a:gd name="T26" fmla="*/ 52 w 99"/>
                <a:gd name="T27" fmla="*/ 23 h 75"/>
                <a:gd name="T28" fmla="*/ 77 w 99"/>
                <a:gd name="T29" fmla="*/ 18 h 75"/>
                <a:gd name="T30" fmla="*/ 92 w 99"/>
                <a:gd name="T31" fmla="*/ 15 h 75"/>
                <a:gd name="T32" fmla="*/ 99 w 99"/>
                <a:gd name="T33" fmla="*/ 33 h 75"/>
                <a:gd name="T34" fmla="*/ 92 w 99"/>
                <a:gd name="T35" fmla="*/ 45 h 75"/>
                <a:gd name="T36" fmla="*/ 84 w 99"/>
                <a:gd name="T37" fmla="*/ 53 h 75"/>
                <a:gd name="T38" fmla="*/ 92 w 99"/>
                <a:gd name="T39" fmla="*/ 60 h 75"/>
                <a:gd name="T40" fmla="*/ 74 w 99"/>
                <a:gd name="T41" fmla="*/ 6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" h="75">
                  <a:moveTo>
                    <a:pt x="74" y="63"/>
                  </a:moveTo>
                  <a:lnTo>
                    <a:pt x="57" y="65"/>
                  </a:lnTo>
                  <a:lnTo>
                    <a:pt x="49" y="65"/>
                  </a:lnTo>
                  <a:lnTo>
                    <a:pt x="37" y="75"/>
                  </a:lnTo>
                  <a:lnTo>
                    <a:pt x="22" y="70"/>
                  </a:lnTo>
                  <a:lnTo>
                    <a:pt x="12" y="70"/>
                  </a:lnTo>
                  <a:lnTo>
                    <a:pt x="10" y="43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15" y="3"/>
                  </a:lnTo>
                  <a:lnTo>
                    <a:pt x="20" y="8"/>
                  </a:lnTo>
                  <a:lnTo>
                    <a:pt x="25" y="0"/>
                  </a:lnTo>
                  <a:lnTo>
                    <a:pt x="44" y="8"/>
                  </a:lnTo>
                  <a:lnTo>
                    <a:pt x="52" y="23"/>
                  </a:lnTo>
                  <a:lnTo>
                    <a:pt x="77" y="18"/>
                  </a:lnTo>
                  <a:lnTo>
                    <a:pt x="92" y="15"/>
                  </a:lnTo>
                  <a:lnTo>
                    <a:pt x="99" y="33"/>
                  </a:lnTo>
                  <a:lnTo>
                    <a:pt x="92" y="45"/>
                  </a:lnTo>
                  <a:lnTo>
                    <a:pt x="84" y="53"/>
                  </a:lnTo>
                  <a:lnTo>
                    <a:pt x="92" y="60"/>
                  </a:lnTo>
                  <a:lnTo>
                    <a:pt x="74" y="6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272"/>
            <p:cNvSpPr>
              <a:spLocks/>
            </p:cNvSpPr>
            <p:nvPr/>
          </p:nvSpPr>
          <p:spPr bwMode="auto">
            <a:xfrm>
              <a:off x="4751107" y="2033576"/>
              <a:ext cx="243231" cy="428892"/>
            </a:xfrm>
            <a:custGeom>
              <a:avLst/>
              <a:gdLst>
                <a:gd name="T0" fmla="*/ 23 w 169"/>
                <a:gd name="T1" fmla="*/ 124 h 298"/>
                <a:gd name="T2" fmla="*/ 35 w 169"/>
                <a:gd name="T3" fmla="*/ 117 h 298"/>
                <a:gd name="T4" fmla="*/ 33 w 169"/>
                <a:gd name="T5" fmla="*/ 79 h 298"/>
                <a:gd name="T6" fmla="*/ 33 w 169"/>
                <a:gd name="T7" fmla="*/ 67 h 298"/>
                <a:gd name="T8" fmla="*/ 18 w 169"/>
                <a:gd name="T9" fmla="*/ 55 h 298"/>
                <a:gd name="T10" fmla="*/ 3 w 169"/>
                <a:gd name="T11" fmla="*/ 40 h 298"/>
                <a:gd name="T12" fmla="*/ 18 w 169"/>
                <a:gd name="T13" fmla="*/ 42 h 298"/>
                <a:gd name="T14" fmla="*/ 33 w 169"/>
                <a:gd name="T15" fmla="*/ 45 h 298"/>
                <a:gd name="T16" fmla="*/ 58 w 169"/>
                <a:gd name="T17" fmla="*/ 42 h 298"/>
                <a:gd name="T18" fmla="*/ 65 w 169"/>
                <a:gd name="T19" fmla="*/ 25 h 298"/>
                <a:gd name="T20" fmla="*/ 77 w 169"/>
                <a:gd name="T21" fmla="*/ 10 h 298"/>
                <a:gd name="T22" fmla="*/ 87 w 169"/>
                <a:gd name="T23" fmla="*/ 0 h 298"/>
                <a:gd name="T24" fmla="*/ 102 w 169"/>
                <a:gd name="T25" fmla="*/ 2 h 298"/>
                <a:gd name="T26" fmla="*/ 115 w 169"/>
                <a:gd name="T27" fmla="*/ 15 h 298"/>
                <a:gd name="T28" fmla="*/ 105 w 169"/>
                <a:gd name="T29" fmla="*/ 45 h 298"/>
                <a:gd name="T30" fmla="*/ 125 w 169"/>
                <a:gd name="T31" fmla="*/ 62 h 298"/>
                <a:gd name="T32" fmla="*/ 125 w 169"/>
                <a:gd name="T33" fmla="*/ 82 h 298"/>
                <a:gd name="T34" fmla="*/ 130 w 169"/>
                <a:gd name="T35" fmla="*/ 107 h 298"/>
                <a:gd name="T36" fmla="*/ 132 w 169"/>
                <a:gd name="T37" fmla="*/ 137 h 298"/>
                <a:gd name="T38" fmla="*/ 140 w 169"/>
                <a:gd name="T39" fmla="*/ 161 h 298"/>
                <a:gd name="T40" fmla="*/ 147 w 169"/>
                <a:gd name="T41" fmla="*/ 189 h 298"/>
                <a:gd name="T42" fmla="*/ 157 w 169"/>
                <a:gd name="T43" fmla="*/ 199 h 298"/>
                <a:gd name="T44" fmla="*/ 169 w 169"/>
                <a:gd name="T45" fmla="*/ 209 h 298"/>
                <a:gd name="T46" fmla="*/ 157 w 169"/>
                <a:gd name="T47" fmla="*/ 221 h 298"/>
                <a:gd name="T48" fmla="*/ 137 w 169"/>
                <a:gd name="T49" fmla="*/ 241 h 298"/>
                <a:gd name="T50" fmla="*/ 122 w 169"/>
                <a:gd name="T51" fmla="*/ 261 h 298"/>
                <a:gd name="T52" fmla="*/ 115 w 169"/>
                <a:gd name="T53" fmla="*/ 278 h 298"/>
                <a:gd name="T54" fmla="*/ 117 w 169"/>
                <a:gd name="T55" fmla="*/ 298 h 298"/>
                <a:gd name="T56" fmla="*/ 100 w 169"/>
                <a:gd name="T57" fmla="*/ 271 h 298"/>
                <a:gd name="T58" fmla="*/ 77 w 169"/>
                <a:gd name="T59" fmla="*/ 276 h 298"/>
                <a:gd name="T60" fmla="*/ 65 w 169"/>
                <a:gd name="T61" fmla="*/ 286 h 298"/>
                <a:gd name="T62" fmla="*/ 35 w 169"/>
                <a:gd name="T63" fmla="*/ 283 h 298"/>
                <a:gd name="T64" fmla="*/ 13 w 169"/>
                <a:gd name="T65" fmla="*/ 268 h 298"/>
                <a:gd name="T66" fmla="*/ 5 w 169"/>
                <a:gd name="T67" fmla="*/ 248 h 298"/>
                <a:gd name="T68" fmla="*/ 0 w 169"/>
                <a:gd name="T69" fmla="*/ 229 h 298"/>
                <a:gd name="T70" fmla="*/ 3 w 169"/>
                <a:gd name="T71" fmla="*/ 196 h 298"/>
                <a:gd name="T72" fmla="*/ 25 w 169"/>
                <a:gd name="T73" fmla="*/ 186 h 298"/>
                <a:gd name="T74" fmla="*/ 40 w 169"/>
                <a:gd name="T75" fmla="*/ 171 h 298"/>
                <a:gd name="T76" fmla="*/ 45 w 169"/>
                <a:gd name="T77" fmla="*/ 151 h 298"/>
                <a:gd name="T78" fmla="*/ 72 w 169"/>
                <a:gd name="T79" fmla="*/ 154 h 298"/>
                <a:gd name="T80" fmla="*/ 58 w 169"/>
                <a:gd name="T81" fmla="*/ 127 h 298"/>
                <a:gd name="T82" fmla="*/ 23 w 169"/>
                <a:gd name="T83" fmla="*/ 12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9" h="298">
                  <a:moveTo>
                    <a:pt x="23" y="124"/>
                  </a:moveTo>
                  <a:lnTo>
                    <a:pt x="35" y="117"/>
                  </a:lnTo>
                  <a:lnTo>
                    <a:pt x="33" y="79"/>
                  </a:lnTo>
                  <a:lnTo>
                    <a:pt x="33" y="67"/>
                  </a:lnTo>
                  <a:lnTo>
                    <a:pt x="18" y="55"/>
                  </a:lnTo>
                  <a:lnTo>
                    <a:pt x="3" y="40"/>
                  </a:lnTo>
                  <a:lnTo>
                    <a:pt x="18" y="42"/>
                  </a:lnTo>
                  <a:lnTo>
                    <a:pt x="33" y="45"/>
                  </a:lnTo>
                  <a:lnTo>
                    <a:pt x="58" y="42"/>
                  </a:lnTo>
                  <a:lnTo>
                    <a:pt x="65" y="25"/>
                  </a:lnTo>
                  <a:lnTo>
                    <a:pt x="77" y="10"/>
                  </a:lnTo>
                  <a:lnTo>
                    <a:pt x="87" y="0"/>
                  </a:lnTo>
                  <a:lnTo>
                    <a:pt x="102" y="2"/>
                  </a:lnTo>
                  <a:lnTo>
                    <a:pt x="115" y="15"/>
                  </a:lnTo>
                  <a:lnTo>
                    <a:pt x="105" y="45"/>
                  </a:lnTo>
                  <a:lnTo>
                    <a:pt x="125" y="62"/>
                  </a:lnTo>
                  <a:lnTo>
                    <a:pt x="125" y="82"/>
                  </a:lnTo>
                  <a:lnTo>
                    <a:pt x="130" y="107"/>
                  </a:lnTo>
                  <a:lnTo>
                    <a:pt x="132" y="137"/>
                  </a:lnTo>
                  <a:lnTo>
                    <a:pt x="140" y="161"/>
                  </a:lnTo>
                  <a:lnTo>
                    <a:pt x="147" y="189"/>
                  </a:lnTo>
                  <a:lnTo>
                    <a:pt x="157" y="199"/>
                  </a:lnTo>
                  <a:lnTo>
                    <a:pt x="169" y="209"/>
                  </a:lnTo>
                  <a:lnTo>
                    <a:pt x="157" y="221"/>
                  </a:lnTo>
                  <a:lnTo>
                    <a:pt x="137" y="241"/>
                  </a:lnTo>
                  <a:lnTo>
                    <a:pt x="122" y="261"/>
                  </a:lnTo>
                  <a:lnTo>
                    <a:pt x="115" y="278"/>
                  </a:lnTo>
                  <a:lnTo>
                    <a:pt x="117" y="298"/>
                  </a:lnTo>
                  <a:lnTo>
                    <a:pt x="100" y="271"/>
                  </a:lnTo>
                  <a:lnTo>
                    <a:pt x="77" y="276"/>
                  </a:lnTo>
                  <a:lnTo>
                    <a:pt x="65" y="286"/>
                  </a:lnTo>
                  <a:lnTo>
                    <a:pt x="35" y="283"/>
                  </a:lnTo>
                  <a:lnTo>
                    <a:pt x="13" y="268"/>
                  </a:lnTo>
                  <a:lnTo>
                    <a:pt x="5" y="248"/>
                  </a:lnTo>
                  <a:lnTo>
                    <a:pt x="0" y="229"/>
                  </a:lnTo>
                  <a:lnTo>
                    <a:pt x="3" y="196"/>
                  </a:lnTo>
                  <a:lnTo>
                    <a:pt x="25" y="186"/>
                  </a:lnTo>
                  <a:lnTo>
                    <a:pt x="40" y="171"/>
                  </a:lnTo>
                  <a:lnTo>
                    <a:pt x="45" y="151"/>
                  </a:lnTo>
                  <a:lnTo>
                    <a:pt x="72" y="154"/>
                  </a:lnTo>
                  <a:lnTo>
                    <a:pt x="58" y="127"/>
                  </a:lnTo>
                  <a:lnTo>
                    <a:pt x="23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273"/>
            <p:cNvSpPr>
              <a:spLocks/>
            </p:cNvSpPr>
            <p:nvPr/>
          </p:nvSpPr>
          <p:spPr bwMode="auto">
            <a:xfrm>
              <a:off x="4497801" y="2849623"/>
              <a:ext cx="168391" cy="96428"/>
            </a:xfrm>
            <a:custGeom>
              <a:avLst/>
              <a:gdLst>
                <a:gd name="T0" fmla="*/ 5 w 117"/>
                <a:gd name="T1" fmla="*/ 52 h 67"/>
                <a:gd name="T2" fmla="*/ 0 w 117"/>
                <a:gd name="T3" fmla="*/ 39 h 67"/>
                <a:gd name="T4" fmla="*/ 7 w 117"/>
                <a:gd name="T5" fmla="*/ 42 h 67"/>
                <a:gd name="T6" fmla="*/ 15 w 117"/>
                <a:gd name="T7" fmla="*/ 42 h 67"/>
                <a:gd name="T8" fmla="*/ 37 w 117"/>
                <a:gd name="T9" fmla="*/ 34 h 67"/>
                <a:gd name="T10" fmla="*/ 52 w 117"/>
                <a:gd name="T11" fmla="*/ 22 h 67"/>
                <a:gd name="T12" fmla="*/ 57 w 117"/>
                <a:gd name="T13" fmla="*/ 17 h 67"/>
                <a:gd name="T14" fmla="*/ 60 w 117"/>
                <a:gd name="T15" fmla="*/ 0 h 67"/>
                <a:gd name="T16" fmla="*/ 72 w 117"/>
                <a:gd name="T17" fmla="*/ 12 h 67"/>
                <a:gd name="T18" fmla="*/ 84 w 117"/>
                <a:gd name="T19" fmla="*/ 10 h 67"/>
                <a:gd name="T20" fmla="*/ 89 w 117"/>
                <a:gd name="T21" fmla="*/ 0 h 67"/>
                <a:gd name="T22" fmla="*/ 104 w 117"/>
                <a:gd name="T23" fmla="*/ 2 h 67"/>
                <a:gd name="T24" fmla="*/ 102 w 117"/>
                <a:gd name="T25" fmla="*/ 12 h 67"/>
                <a:gd name="T26" fmla="*/ 114 w 117"/>
                <a:gd name="T27" fmla="*/ 19 h 67"/>
                <a:gd name="T28" fmla="*/ 117 w 117"/>
                <a:gd name="T29" fmla="*/ 37 h 67"/>
                <a:gd name="T30" fmla="*/ 109 w 117"/>
                <a:gd name="T31" fmla="*/ 47 h 67"/>
                <a:gd name="T32" fmla="*/ 109 w 117"/>
                <a:gd name="T33" fmla="*/ 52 h 67"/>
                <a:gd name="T34" fmla="*/ 102 w 117"/>
                <a:gd name="T35" fmla="*/ 59 h 67"/>
                <a:gd name="T36" fmla="*/ 84 w 117"/>
                <a:gd name="T37" fmla="*/ 67 h 67"/>
                <a:gd name="T38" fmla="*/ 57 w 117"/>
                <a:gd name="T39" fmla="*/ 59 h 67"/>
                <a:gd name="T40" fmla="*/ 45 w 117"/>
                <a:gd name="T41" fmla="*/ 49 h 67"/>
                <a:gd name="T42" fmla="*/ 30 w 117"/>
                <a:gd name="T43" fmla="*/ 57 h 67"/>
                <a:gd name="T44" fmla="*/ 12 w 117"/>
                <a:gd name="T45" fmla="*/ 57 h 67"/>
                <a:gd name="T46" fmla="*/ 5 w 117"/>
                <a:gd name="T47" fmla="*/ 5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7" h="67">
                  <a:moveTo>
                    <a:pt x="5" y="52"/>
                  </a:moveTo>
                  <a:lnTo>
                    <a:pt x="0" y="39"/>
                  </a:lnTo>
                  <a:lnTo>
                    <a:pt x="7" y="42"/>
                  </a:lnTo>
                  <a:lnTo>
                    <a:pt x="15" y="42"/>
                  </a:lnTo>
                  <a:lnTo>
                    <a:pt x="37" y="34"/>
                  </a:lnTo>
                  <a:lnTo>
                    <a:pt x="52" y="22"/>
                  </a:lnTo>
                  <a:lnTo>
                    <a:pt x="57" y="17"/>
                  </a:lnTo>
                  <a:lnTo>
                    <a:pt x="60" y="0"/>
                  </a:lnTo>
                  <a:lnTo>
                    <a:pt x="72" y="12"/>
                  </a:lnTo>
                  <a:lnTo>
                    <a:pt x="84" y="10"/>
                  </a:lnTo>
                  <a:lnTo>
                    <a:pt x="89" y="0"/>
                  </a:lnTo>
                  <a:lnTo>
                    <a:pt x="104" y="2"/>
                  </a:lnTo>
                  <a:lnTo>
                    <a:pt x="102" y="12"/>
                  </a:lnTo>
                  <a:lnTo>
                    <a:pt x="114" y="19"/>
                  </a:lnTo>
                  <a:lnTo>
                    <a:pt x="117" y="37"/>
                  </a:lnTo>
                  <a:lnTo>
                    <a:pt x="109" y="47"/>
                  </a:lnTo>
                  <a:lnTo>
                    <a:pt x="109" y="52"/>
                  </a:lnTo>
                  <a:lnTo>
                    <a:pt x="102" y="59"/>
                  </a:lnTo>
                  <a:lnTo>
                    <a:pt x="84" y="67"/>
                  </a:lnTo>
                  <a:lnTo>
                    <a:pt x="57" y="59"/>
                  </a:lnTo>
                  <a:lnTo>
                    <a:pt x="45" y="49"/>
                  </a:lnTo>
                  <a:lnTo>
                    <a:pt x="30" y="57"/>
                  </a:lnTo>
                  <a:lnTo>
                    <a:pt x="12" y="57"/>
                  </a:lnTo>
                  <a:lnTo>
                    <a:pt x="5" y="5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274"/>
            <p:cNvSpPr>
              <a:spLocks/>
            </p:cNvSpPr>
            <p:nvPr/>
          </p:nvSpPr>
          <p:spPr bwMode="auto">
            <a:xfrm>
              <a:off x="4201319" y="2484057"/>
              <a:ext cx="17271" cy="11514"/>
            </a:xfrm>
            <a:custGeom>
              <a:avLst/>
              <a:gdLst>
                <a:gd name="T0" fmla="*/ 0 w 12"/>
                <a:gd name="T1" fmla="*/ 0 h 8"/>
                <a:gd name="T2" fmla="*/ 2 w 12"/>
                <a:gd name="T3" fmla="*/ 8 h 8"/>
                <a:gd name="T4" fmla="*/ 12 w 12"/>
                <a:gd name="T5" fmla="*/ 0 h 8"/>
                <a:gd name="T6" fmla="*/ 0 w 1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lnTo>
                    <a:pt x="2" y="8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275"/>
            <p:cNvSpPr>
              <a:spLocks/>
            </p:cNvSpPr>
            <p:nvPr/>
          </p:nvSpPr>
          <p:spPr bwMode="auto">
            <a:xfrm>
              <a:off x="4598548" y="3220946"/>
              <a:ext cx="53252" cy="35980"/>
            </a:xfrm>
            <a:custGeom>
              <a:avLst/>
              <a:gdLst>
                <a:gd name="T0" fmla="*/ 32 w 37"/>
                <a:gd name="T1" fmla="*/ 0 h 25"/>
                <a:gd name="T2" fmla="*/ 19 w 37"/>
                <a:gd name="T3" fmla="*/ 5 h 25"/>
                <a:gd name="T4" fmla="*/ 0 w 37"/>
                <a:gd name="T5" fmla="*/ 3 h 25"/>
                <a:gd name="T6" fmla="*/ 4 w 37"/>
                <a:gd name="T7" fmla="*/ 8 h 25"/>
                <a:gd name="T8" fmla="*/ 7 w 37"/>
                <a:gd name="T9" fmla="*/ 18 h 25"/>
                <a:gd name="T10" fmla="*/ 17 w 37"/>
                <a:gd name="T11" fmla="*/ 18 h 25"/>
                <a:gd name="T12" fmla="*/ 37 w 37"/>
                <a:gd name="T13" fmla="*/ 25 h 25"/>
                <a:gd name="T14" fmla="*/ 37 w 37"/>
                <a:gd name="T15" fmla="*/ 13 h 25"/>
                <a:gd name="T16" fmla="*/ 32 w 3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5">
                  <a:moveTo>
                    <a:pt x="32" y="0"/>
                  </a:moveTo>
                  <a:lnTo>
                    <a:pt x="19" y="5"/>
                  </a:lnTo>
                  <a:lnTo>
                    <a:pt x="0" y="3"/>
                  </a:lnTo>
                  <a:lnTo>
                    <a:pt x="4" y="8"/>
                  </a:lnTo>
                  <a:lnTo>
                    <a:pt x="7" y="18"/>
                  </a:lnTo>
                  <a:lnTo>
                    <a:pt x="17" y="18"/>
                  </a:lnTo>
                  <a:lnTo>
                    <a:pt x="37" y="25"/>
                  </a:lnTo>
                  <a:lnTo>
                    <a:pt x="37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276"/>
            <p:cNvSpPr>
              <a:spLocks/>
            </p:cNvSpPr>
            <p:nvPr/>
          </p:nvSpPr>
          <p:spPr bwMode="auto">
            <a:xfrm>
              <a:off x="4021415" y="2633737"/>
              <a:ext cx="103625" cy="132410"/>
            </a:xfrm>
            <a:custGeom>
              <a:avLst/>
              <a:gdLst>
                <a:gd name="T0" fmla="*/ 38 w 72"/>
                <a:gd name="T1" fmla="*/ 0 h 92"/>
                <a:gd name="T2" fmla="*/ 33 w 72"/>
                <a:gd name="T3" fmla="*/ 8 h 92"/>
                <a:gd name="T4" fmla="*/ 33 w 72"/>
                <a:gd name="T5" fmla="*/ 20 h 92"/>
                <a:gd name="T6" fmla="*/ 3 w 72"/>
                <a:gd name="T7" fmla="*/ 25 h 92"/>
                <a:gd name="T8" fmla="*/ 0 w 72"/>
                <a:gd name="T9" fmla="*/ 33 h 92"/>
                <a:gd name="T10" fmla="*/ 0 w 72"/>
                <a:gd name="T11" fmla="*/ 48 h 92"/>
                <a:gd name="T12" fmla="*/ 10 w 72"/>
                <a:gd name="T13" fmla="*/ 50 h 92"/>
                <a:gd name="T14" fmla="*/ 10 w 72"/>
                <a:gd name="T15" fmla="*/ 63 h 92"/>
                <a:gd name="T16" fmla="*/ 0 w 72"/>
                <a:gd name="T17" fmla="*/ 68 h 92"/>
                <a:gd name="T18" fmla="*/ 3 w 72"/>
                <a:gd name="T19" fmla="*/ 82 h 92"/>
                <a:gd name="T20" fmla="*/ 3 w 72"/>
                <a:gd name="T21" fmla="*/ 92 h 92"/>
                <a:gd name="T22" fmla="*/ 23 w 72"/>
                <a:gd name="T23" fmla="*/ 92 h 92"/>
                <a:gd name="T24" fmla="*/ 40 w 72"/>
                <a:gd name="T25" fmla="*/ 80 h 92"/>
                <a:gd name="T26" fmla="*/ 55 w 72"/>
                <a:gd name="T27" fmla="*/ 80 h 92"/>
                <a:gd name="T28" fmla="*/ 67 w 72"/>
                <a:gd name="T29" fmla="*/ 78 h 92"/>
                <a:gd name="T30" fmla="*/ 72 w 72"/>
                <a:gd name="T31" fmla="*/ 50 h 92"/>
                <a:gd name="T32" fmla="*/ 65 w 72"/>
                <a:gd name="T33" fmla="*/ 30 h 92"/>
                <a:gd name="T34" fmla="*/ 45 w 72"/>
                <a:gd name="T35" fmla="*/ 30 h 92"/>
                <a:gd name="T36" fmla="*/ 43 w 72"/>
                <a:gd name="T37" fmla="*/ 20 h 92"/>
                <a:gd name="T38" fmla="*/ 47 w 72"/>
                <a:gd name="T39" fmla="*/ 5 h 92"/>
                <a:gd name="T40" fmla="*/ 38 w 72"/>
                <a:gd name="T4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92">
                  <a:moveTo>
                    <a:pt x="38" y="0"/>
                  </a:moveTo>
                  <a:lnTo>
                    <a:pt x="33" y="8"/>
                  </a:lnTo>
                  <a:lnTo>
                    <a:pt x="33" y="20"/>
                  </a:lnTo>
                  <a:lnTo>
                    <a:pt x="3" y="25"/>
                  </a:lnTo>
                  <a:lnTo>
                    <a:pt x="0" y="33"/>
                  </a:lnTo>
                  <a:lnTo>
                    <a:pt x="0" y="48"/>
                  </a:lnTo>
                  <a:lnTo>
                    <a:pt x="10" y="50"/>
                  </a:lnTo>
                  <a:lnTo>
                    <a:pt x="10" y="63"/>
                  </a:lnTo>
                  <a:lnTo>
                    <a:pt x="0" y="68"/>
                  </a:lnTo>
                  <a:lnTo>
                    <a:pt x="3" y="82"/>
                  </a:lnTo>
                  <a:lnTo>
                    <a:pt x="3" y="92"/>
                  </a:lnTo>
                  <a:lnTo>
                    <a:pt x="23" y="92"/>
                  </a:lnTo>
                  <a:lnTo>
                    <a:pt x="40" y="80"/>
                  </a:lnTo>
                  <a:lnTo>
                    <a:pt x="55" y="80"/>
                  </a:lnTo>
                  <a:lnTo>
                    <a:pt x="67" y="78"/>
                  </a:lnTo>
                  <a:lnTo>
                    <a:pt x="72" y="50"/>
                  </a:lnTo>
                  <a:lnTo>
                    <a:pt x="65" y="30"/>
                  </a:lnTo>
                  <a:lnTo>
                    <a:pt x="45" y="30"/>
                  </a:lnTo>
                  <a:lnTo>
                    <a:pt x="43" y="20"/>
                  </a:lnTo>
                  <a:lnTo>
                    <a:pt x="47" y="5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277"/>
            <p:cNvSpPr>
              <a:spLocks/>
            </p:cNvSpPr>
            <p:nvPr/>
          </p:nvSpPr>
          <p:spPr bwMode="auto">
            <a:xfrm>
              <a:off x="4083301" y="2633737"/>
              <a:ext cx="53252" cy="43177"/>
            </a:xfrm>
            <a:custGeom>
              <a:avLst/>
              <a:gdLst>
                <a:gd name="T0" fmla="*/ 22 w 37"/>
                <a:gd name="T1" fmla="*/ 30 h 30"/>
                <a:gd name="T2" fmla="*/ 2 w 37"/>
                <a:gd name="T3" fmla="*/ 30 h 30"/>
                <a:gd name="T4" fmla="*/ 0 w 37"/>
                <a:gd name="T5" fmla="*/ 20 h 30"/>
                <a:gd name="T6" fmla="*/ 4 w 37"/>
                <a:gd name="T7" fmla="*/ 5 h 30"/>
                <a:gd name="T8" fmla="*/ 14 w 37"/>
                <a:gd name="T9" fmla="*/ 0 h 30"/>
                <a:gd name="T10" fmla="*/ 24 w 37"/>
                <a:gd name="T11" fmla="*/ 3 h 30"/>
                <a:gd name="T12" fmla="*/ 32 w 37"/>
                <a:gd name="T13" fmla="*/ 10 h 30"/>
                <a:gd name="T14" fmla="*/ 37 w 37"/>
                <a:gd name="T15" fmla="*/ 23 h 30"/>
                <a:gd name="T16" fmla="*/ 22 w 37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0">
                  <a:moveTo>
                    <a:pt x="22" y="30"/>
                  </a:moveTo>
                  <a:lnTo>
                    <a:pt x="2" y="30"/>
                  </a:lnTo>
                  <a:lnTo>
                    <a:pt x="0" y="20"/>
                  </a:lnTo>
                  <a:lnTo>
                    <a:pt x="4" y="5"/>
                  </a:lnTo>
                  <a:lnTo>
                    <a:pt x="14" y="0"/>
                  </a:lnTo>
                  <a:lnTo>
                    <a:pt x="24" y="3"/>
                  </a:lnTo>
                  <a:lnTo>
                    <a:pt x="32" y="10"/>
                  </a:lnTo>
                  <a:lnTo>
                    <a:pt x="37" y="23"/>
                  </a:lnTo>
                  <a:lnTo>
                    <a:pt x="22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278"/>
            <p:cNvSpPr>
              <a:spLocks/>
            </p:cNvSpPr>
            <p:nvPr/>
          </p:nvSpPr>
          <p:spPr bwMode="auto">
            <a:xfrm>
              <a:off x="4093377" y="2512842"/>
              <a:ext cx="24467" cy="38859"/>
            </a:xfrm>
            <a:custGeom>
              <a:avLst/>
              <a:gdLst>
                <a:gd name="T0" fmla="*/ 15 w 17"/>
                <a:gd name="T1" fmla="*/ 0 h 27"/>
                <a:gd name="T2" fmla="*/ 2 w 17"/>
                <a:gd name="T3" fmla="*/ 7 h 27"/>
                <a:gd name="T4" fmla="*/ 0 w 17"/>
                <a:gd name="T5" fmla="*/ 20 h 27"/>
                <a:gd name="T6" fmla="*/ 7 w 17"/>
                <a:gd name="T7" fmla="*/ 27 h 27"/>
                <a:gd name="T8" fmla="*/ 17 w 17"/>
                <a:gd name="T9" fmla="*/ 15 h 27"/>
                <a:gd name="T10" fmla="*/ 15 w 17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7">
                  <a:moveTo>
                    <a:pt x="15" y="0"/>
                  </a:moveTo>
                  <a:lnTo>
                    <a:pt x="2" y="7"/>
                  </a:lnTo>
                  <a:lnTo>
                    <a:pt x="0" y="20"/>
                  </a:lnTo>
                  <a:lnTo>
                    <a:pt x="7" y="27"/>
                  </a:lnTo>
                  <a:lnTo>
                    <a:pt x="17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279"/>
            <p:cNvSpPr>
              <a:spLocks/>
            </p:cNvSpPr>
            <p:nvPr/>
          </p:nvSpPr>
          <p:spPr bwMode="auto">
            <a:xfrm>
              <a:off x="4122161" y="2508524"/>
              <a:ext cx="182782" cy="315193"/>
            </a:xfrm>
            <a:custGeom>
              <a:avLst/>
              <a:gdLst>
                <a:gd name="T0" fmla="*/ 20 w 127"/>
                <a:gd name="T1" fmla="*/ 3 h 219"/>
                <a:gd name="T2" fmla="*/ 12 w 127"/>
                <a:gd name="T3" fmla="*/ 15 h 219"/>
                <a:gd name="T4" fmla="*/ 0 w 127"/>
                <a:gd name="T5" fmla="*/ 30 h 219"/>
                <a:gd name="T6" fmla="*/ 10 w 127"/>
                <a:gd name="T7" fmla="*/ 35 h 219"/>
                <a:gd name="T8" fmla="*/ 12 w 127"/>
                <a:gd name="T9" fmla="*/ 45 h 219"/>
                <a:gd name="T10" fmla="*/ 12 w 127"/>
                <a:gd name="T11" fmla="*/ 55 h 219"/>
                <a:gd name="T12" fmla="*/ 2 w 127"/>
                <a:gd name="T13" fmla="*/ 63 h 219"/>
                <a:gd name="T14" fmla="*/ 5 w 127"/>
                <a:gd name="T15" fmla="*/ 73 h 219"/>
                <a:gd name="T16" fmla="*/ 17 w 127"/>
                <a:gd name="T17" fmla="*/ 75 h 219"/>
                <a:gd name="T18" fmla="*/ 20 w 127"/>
                <a:gd name="T19" fmla="*/ 85 h 219"/>
                <a:gd name="T20" fmla="*/ 15 w 127"/>
                <a:gd name="T21" fmla="*/ 92 h 219"/>
                <a:gd name="T22" fmla="*/ 45 w 127"/>
                <a:gd name="T23" fmla="*/ 100 h 219"/>
                <a:gd name="T24" fmla="*/ 50 w 127"/>
                <a:gd name="T25" fmla="*/ 110 h 219"/>
                <a:gd name="T26" fmla="*/ 60 w 127"/>
                <a:gd name="T27" fmla="*/ 112 h 219"/>
                <a:gd name="T28" fmla="*/ 57 w 127"/>
                <a:gd name="T29" fmla="*/ 122 h 219"/>
                <a:gd name="T30" fmla="*/ 42 w 127"/>
                <a:gd name="T31" fmla="*/ 132 h 219"/>
                <a:gd name="T32" fmla="*/ 30 w 127"/>
                <a:gd name="T33" fmla="*/ 132 h 219"/>
                <a:gd name="T34" fmla="*/ 27 w 127"/>
                <a:gd name="T35" fmla="*/ 145 h 219"/>
                <a:gd name="T36" fmla="*/ 32 w 127"/>
                <a:gd name="T37" fmla="*/ 152 h 219"/>
                <a:gd name="T38" fmla="*/ 30 w 127"/>
                <a:gd name="T39" fmla="*/ 165 h 219"/>
                <a:gd name="T40" fmla="*/ 20 w 127"/>
                <a:gd name="T41" fmla="*/ 172 h 219"/>
                <a:gd name="T42" fmla="*/ 47 w 127"/>
                <a:gd name="T43" fmla="*/ 177 h 219"/>
                <a:gd name="T44" fmla="*/ 45 w 127"/>
                <a:gd name="T45" fmla="*/ 182 h 219"/>
                <a:gd name="T46" fmla="*/ 35 w 127"/>
                <a:gd name="T47" fmla="*/ 184 h 219"/>
                <a:gd name="T48" fmla="*/ 25 w 127"/>
                <a:gd name="T49" fmla="*/ 197 h 219"/>
                <a:gd name="T50" fmla="*/ 12 w 127"/>
                <a:gd name="T51" fmla="*/ 209 h 219"/>
                <a:gd name="T52" fmla="*/ 12 w 127"/>
                <a:gd name="T53" fmla="*/ 219 h 219"/>
                <a:gd name="T54" fmla="*/ 37 w 127"/>
                <a:gd name="T55" fmla="*/ 209 h 219"/>
                <a:gd name="T56" fmla="*/ 55 w 127"/>
                <a:gd name="T57" fmla="*/ 202 h 219"/>
                <a:gd name="T58" fmla="*/ 77 w 127"/>
                <a:gd name="T59" fmla="*/ 207 h 219"/>
                <a:gd name="T60" fmla="*/ 97 w 127"/>
                <a:gd name="T61" fmla="*/ 194 h 219"/>
                <a:gd name="T62" fmla="*/ 119 w 127"/>
                <a:gd name="T63" fmla="*/ 189 h 219"/>
                <a:gd name="T64" fmla="*/ 107 w 127"/>
                <a:gd name="T65" fmla="*/ 177 h 219"/>
                <a:gd name="T66" fmla="*/ 114 w 127"/>
                <a:gd name="T67" fmla="*/ 172 h 219"/>
                <a:gd name="T68" fmla="*/ 124 w 127"/>
                <a:gd name="T69" fmla="*/ 172 h 219"/>
                <a:gd name="T70" fmla="*/ 127 w 127"/>
                <a:gd name="T71" fmla="*/ 145 h 219"/>
                <a:gd name="T72" fmla="*/ 104 w 127"/>
                <a:gd name="T73" fmla="*/ 137 h 219"/>
                <a:gd name="T74" fmla="*/ 102 w 127"/>
                <a:gd name="T75" fmla="*/ 120 h 219"/>
                <a:gd name="T76" fmla="*/ 99 w 127"/>
                <a:gd name="T77" fmla="*/ 107 h 219"/>
                <a:gd name="T78" fmla="*/ 87 w 127"/>
                <a:gd name="T79" fmla="*/ 102 h 219"/>
                <a:gd name="T80" fmla="*/ 89 w 127"/>
                <a:gd name="T81" fmla="*/ 87 h 219"/>
                <a:gd name="T82" fmla="*/ 77 w 127"/>
                <a:gd name="T83" fmla="*/ 85 h 219"/>
                <a:gd name="T84" fmla="*/ 82 w 127"/>
                <a:gd name="T85" fmla="*/ 63 h 219"/>
                <a:gd name="T86" fmla="*/ 52 w 127"/>
                <a:gd name="T87" fmla="*/ 43 h 219"/>
                <a:gd name="T88" fmla="*/ 67 w 127"/>
                <a:gd name="T89" fmla="*/ 38 h 219"/>
                <a:gd name="T90" fmla="*/ 69 w 127"/>
                <a:gd name="T91" fmla="*/ 18 h 219"/>
                <a:gd name="T92" fmla="*/ 42 w 127"/>
                <a:gd name="T93" fmla="*/ 18 h 219"/>
                <a:gd name="T94" fmla="*/ 42 w 127"/>
                <a:gd name="T95" fmla="*/ 0 h 219"/>
                <a:gd name="T96" fmla="*/ 20 w 127"/>
                <a:gd name="T97" fmla="*/ 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" h="219">
                  <a:moveTo>
                    <a:pt x="20" y="3"/>
                  </a:moveTo>
                  <a:lnTo>
                    <a:pt x="12" y="15"/>
                  </a:lnTo>
                  <a:lnTo>
                    <a:pt x="0" y="30"/>
                  </a:lnTo>
                  <a:lnTo>
                    <a:pt x="10" y="35"/>
                  </a:lnTo>
                  <a:lnTo>
                    <a:pt x="12" y="45"/>
                  </a:lnTo>
                  <a:lnTo>
                    <a:pt x="12" y="55"/>
                  </a:lnTo>
                  <a:lnTo>
                    <a:pt x="2" y="63"/>
                  </a:lnTo>
                  <a:lnTo>
                    <a:pt x="5" y="73"/>
                  </a:lnTo>
                  <a:lnTo>
                    <a:pt x="17" y="75"/>
                  </a:lnTo>
                  <a:lnTo>
                    <a:pt x="20" y="85"/>
                  </a:lnTo>
                  <a:lnTo>
                    <a:pt x="15" y="92"/>
                  </a:lnTo>
                  <a:lnTo>
                    <a:pt x="45" y="100"/>
                  </a:lnTo>
                  <a:lnTo>
                    <a:pt x="50" y="110"/>
                  </a:lnTo>
                  <a:lnTo>
                    <a:pt x="60" y="112"/>
                  </a:lnTo>
                  <a:lnTo>
                    <a:pt x="57" y="122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27" y="145"/>
                  </a:lnTo>
                  <a:lnTo>
                    <a:pt x="32" y="152"/>
                  </a:lnTo>
                  <a:lnTo>
                    <a:pt x="30" y="165"/>
                  </a:lnTo>
                  <a:lnTo>
                    <a:pt x="20" y="172"/>
                  </a:lnTo>
                  <a:lnTo>
                    <a:pt x="47" y="177"/>
                  </a:lnTo>
                  <a:lnTo>
                    <a:pt x="45" y="182"/>
                  </a:lnTo>
                  <a:lnTo>
                    <a:pt x="35" y="184"/>
                  </a:lnTo>
                  <a:lnTo>
                    <a:pt x="25" y="197"/>
                  </a:lnTo>
                  <a:lnTo>
                    <a:pt x="12" y="209"/>
                  </a:lnTo>
                  <a:lnTo>
                    <a:pt x="12" y="219"/>
                  </a:lnTo>
                  <a:lnTo>
                    <a:pt x="37" y="209"/>
                  </a:lnTo>
                  <a:lnTo>
                    <a:pt x="55" y="202"/>
                  </a:lnTo>
                  <a:lnTo>
                    <a:pt x="77" y="207"/>
                  </a:lnTo>
                  <a:lnTo>
                    <a:pt x="97" y="194"/>
                  </a:lnTo>
                  <a:lnTo>
                    <a:pt x="119" y="189"/>
                  </a:lnTo>
                  <a:lnTo>
                    <a:pt x="107" y="177"/>
                  </a:lnTo>
                  <a:lnTo>
                    <a:pt x="114" y="172"/>
                  </a:lnTo>
                  <a:lnTo>
                    <a:pt x="124" y="172"/>
                  </a:lnTo>
                  <a:lnTo>
                    <a:pt x="127" y="145"/>
                  </a:lnTo>
                  <a:lnTo>
                    <a:pt x="104" y="137"/>
                  </a:lnTo>
                  <a:lnTo>
                    <a:pt x="102" y="120"/>
                  </a:lnTo>
                  <a:lnTo>
                    <a:pt x="99" y="107"/>
                  </a:lnTo>
                  <a:lnTo>
                    <a:pt x="87" y="102"/>
                  </a:lnTo>
                  <a:lnTo>
                    <a:pt x="89" y="87"/>
                  </a:lnTo>
                  <a:lnTo>
                    <a:pt x="77" y="85"/>
                  </a:lnTo>
                  <a:lnTo>
                    <a:pt x="82" y="63"/>
                  </a:lnTo>
                  <a:lnTo>
                    <a:pt x="52" y="43"/>
                  </a:lnTo>
                  <a:lnTo>
                    <a:pt x="67" y="38"/>
                  </a:lnTo>
                  <a:lnTo>
                    <a:pt x="69" y="18"/>
                  </a:lnTo>
                  <a:lnTo>
                    <a:pt x="42" y="18"/>
                  </a:lnTo>
                  <a:lnTo>
                    <a:pt x="42" y="0"/>
                  </a:lnTo>
                  <a:lnTo>
                    <a:pt x="2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280"/>
            <p:cNvSpPr>
              <a:spLocks/>
            </p:cNvSpPr>
            <p:nvPr/>
          </p:nvSpPr>
          <p:spPr bwMode="auto">
            <a:xfrm>
              <a:off x="4225786" y="2423609"/>
              <a:ext cx="14392" cy="31663"/>
            </a:xfrm>
            <a:custGeom>
              <a:avLst/>
              <a:gdLst>
                <a:gd name="T0" fmla="*/ 10 w 10"/>
                <a:gd name="T1" fmla="*/ 0 h 22"/>
                <a:gd name="T2" fmla="*/ 0 w 10"/>
                <a:gd name="T3" fmla="*/ 10 h 22"/>
                <a:gd name="T4" fmla="*/ 2 w 10"/>
                <a:gd name="T5" fmla="*/ 22 h 22"/>
                <a:gd name="T6" fmla="*/ 10 w 10"/>
                <a:gd name="T7" fmla="*/ 22 h 22"/>
                <a:gd name="T8" fmla="*/ 10 w 10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10" y="0"/>
                  </a:moveTo>
                  <a:lnTo>
                    <a:pt x="0" y="10"/>
                  </a:lnTo>
                  <a:lnTo>
                    <a:pt x="2" y="22"/>
                  </a:lnTo>
                  <a:lnTo>
                    <a:pt x="10" y="2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281"/>
            <p:cNvSpPr>
              <a:spLocks/>
            </p:cNvSpPr>
            <p:nvPr/>
          </p:nvSpPr>
          <p:spPr bwMode="auto">
            <a:xfrm>
              <a:off x="4379784" y="1980325"/>
              <a:ext cx="621750" cy="542591"/>
            </a:xfrm>
            <a:custGeom>
              <a:avLst/>
              <a:gdLst>
                <a:gd name="T0" fmla="*/ 373 w 432"/>
                <a:gd name="T1" fmla="*/ 52 h 377"/>
                <a:gd name="T2" fmla="*/ 345 w 432"/>
                <a:gd name="T3" fmla="*/ 37 h 377"/>
                <a:gd name="T4" fmla="*/ 323 w 432"/>
                <a:gd name="T5" fmla="*/ 62 h 377"/>
                <a:gd name="T6" fmla="*/ 291 w 432"/>
                <a:gd name="T7" fmla="*/ 82 h 377"/>
                <a:gd name="T8" fmla="*/ 261 w 432"/>
                <a:gd name="T9" fmla="*/ 77 h 377"/>
                <a:gd name="T10" fmla="*/ 243 w 432"/>
                <a:gd name="T11" fmla="*/ 97 h 377"/>
                <a:gd name="T12" fmla="*/ 214 w 432"/>
                <a:gd name="T13" fmla="*/ 97 h 377"/>
                <a:gd name="T14" fmla="*/ 194 w 432"/>
                <a:gd name="T15" fmla="*/ 111 h 377"/>
                <a:gd name="T16" fmla="*/ 181 w 432"/>
                <a:gd name="T17" fmla="*/ 124 h 377"/>
                <a:gd name="T18" fmla="*/ 169 w 432"/>
                <a:gd name="T19" fmla="*/ 146 h 377"/>
                <a:gd name="T20" fmla="*/ 154 w 432"/>
                <a:gd name="T21" fmla="*/ 161 h 377"/>
                <a:gd name="T22" fmla="*/ 142 w 432"/>
                <a:gd name="T23" fmla="*/ 188 h 377"/>
                <a:gd name="T24" fmla="*/ 144 w 432"/>
                <a:gd name="T25" fmla="*/ 213 h 377"/>
                <a:gd name="T26" fmla="*/ 119 w 432"/>
                <a:gd name="T27" fmla="*/ 216 h 377"/>
                <a:gd name="T28" fmla="*/ 119 w 432"/>
                <a:gd name="T29" fmla="*/ 261 h 377"/>
                <a:gd name="T30" fmla="*/ 132 w 432"/>
                <a:gd name="T31" fmla="*/ 300 h 377"/>
                <a:gd name="T32" fmla="*/ 119 w 432"/>
                <a:gd name="T33" fmla="*/ 330 h 377"/>
                <a:gd name="T34" fmla="*/ 107 w 432"/>
                <a:gd name="T35" fmla="*/ 365 h 377"/>
                <a:gd name="T36" fmla="*/ 69 w 432"/>
                <a:gd name="T37" fmla="*/ 360 h 377"/>
                <a:gd name="T38" fmla="*/ 42 w 432"/>
                <a:gd name="T39" fmla="*/ 375 h 377"/>
                <a:gd name="T40" fmla="*/ 20 w 432"/>
                <a:gd name="T41" fmla="*/ 355 h 377"/>
                <a:gd name="T42" fmla="*/ 15 w 432"/>
                <a:gd name="T43" fmla="*/ 318 h 377"/>
                <a:gd name="T44" fmla="*/ 0 w 432"/>
                <a:gd name="T45" fmla="*/ 271 h 377"/>
                <a:gd name="T46" fmla="*/ 17 w 432"/>
                <a:gd name="T47" fmla="*/ 253 h 377"/>
                <a:gd name="T48" fmla="*/ 50 w 432"/>
                <a:gd name="T49" fmla="*/ 246 h 377"/>
                <a:gd name="T50" fmla="*/ 74 w 432"/>
                <a:gd name="T51" fmla="*/ 233 h 377"/>
                <a:gd name="T52" fmla="*/ 102 w 432"/>
                <a:gd name="T53" fmla="*/ 203 h 377"/>
                <a:gd name="T54" fmla="*/ 117 w 432"/>
                <a:gd name="T55" fmla="*/ 179 h 377"/>
                <a:gd name="T56" fmla="*/ 127 w 432"/>
                <a:gd name="T57" fmla="*/ 146 h 377"/>
                <a:gd name="T58" fmla="*/ 159 w 432"/>
                <a:gd name="T59" fmla="*/ 109 h 377"/>
                <a:gd name="T60" fmla="*/ 201 w 432"/>
                <a:gd name="T61" fmla="*/ 92 h 377"/>
                <a:gd name="T62" fmla="*/ 241 w 432"/>
                <a:gd name="T63" fmla="*/ 79 h 377"/>
                <a:gd name="T64" fmla="*/ 261 w 432"/>
                <a:gd name="T65" fmla="*/ 57 h 377"/>
                <a:gd name="T66" fmla="*/ 243 w 432"/>
                <a:gd name="T67" fmla="*/ 29 h 377"/>
                <a:gd name="T68" fmla="*/ 268 w 432"/>
                <a:gd name="T69" fmla="*/ 12 h 377"/>
                <a:gd name="T70" fmla="*/ 281 w 432"/>
                <a:gd name="T71" fmla="*/ 32 h 377"/>
                <a:gd name="T72" fmla="*/ 291 w 432"/>
                <a:gd name="T73" fmla="*/ 22 h 377"/>
                <a:gd name="T74" fmla="*/ 306 w 432"/>
                <a:gd name="T75" fmla="*/ 32 h 377"/>
                <a:gd name="T76" fmla="*/ 303 w 432"/>
                <a:gd name="T77" fmla="*/ 12 h 377"/>
                <a:gd name="T78" fmla="*/ 333 w 432"/>
                <a:gd name="T79" fmla="*/ 14 h 377"/>
                <a:gd name="T80" fmla="*/ 348 w 432"/>
                <a:gd name="T81" fmla="*/ 17 h 377"/>
                <a:gd name="T82" fmla="*/ 380 w 432"/>
                <a:gd name="T83" fmla="*/ 7 h 377"/>
                <a:gd name="T84" fmla="*/ 395 w 432"/>
                <a:gd name="T85" fmla="*/ 32 h 377"/>
                <a:gd name="T86" fmla="*/ 410 w 432"/>
                <a:gd name="T87" fmla="*/ 59 h 377"/>
                <a:gd name="T88" fmla="*/ 383 w 432"/>
                <a:gd name="T89" fmla="*/ 99 h 377"/>
                <a:gd name="T90" fmla="*/ 373 w 432"/>
                <a:gd name="T91" fmla="*/ 52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2" h="377">
                  <a:moveTo>
                    <a:pt x="363" y="82"/>
                  </a:moveTo>
                  <a:lnTo>
                    <a:pt x="373" y="52"/>
                  </a:lnTo>
                  <a:lnTo>
                    <a:pt x="360" y="39"/>
                  </a:lnTo>
                  <a:lnTo>
                    <a:pt x="345" y="37"/>
                  </a:lnTo>
                  <a:lnTo>
                    <a:pt x="335" y="47"/>
                  </a:lnTo>
                  <a:lnTo>
                    <a:pt x="323" y="62"/>
                  </a:lnTo>
                  <a:lnTo>
                    <a:pt x="316" y="79"/>
                  </a:lnTo>
                  <a:lnTo>
                    <a:pt x="291" y="82"/>
                  </a:lnTo>
                  <a:lnTo>
                    <a:pt x="276" y="79"/>
                  </a:lnTo>
                  <a:lnTo>
                    <a:pt x="261" y="77"/>
                  </a:lnTo>
                  <a:lnTo>
                    <a:pt x="251" y="84"/>
                  </a:lnTo>
                  <a:lnTo>
                    <a:pt x="243" y="97"/>
                  </a:lnTo>
                  <a:lnTo>
                    <a:pt x="226" y="97"/>
                  </a:lnTo>
                  <a:lnTo>
                    <a:pt x="214" y="97"/>
                  </a:lnTo>
                  <a:lnTo>
                    <a:pt x="204" y="106"/>
                  </a:lnTo>
                  <a:lnTo>
                    <a:pt x="194" y="111"/>
                  </a:lnTo>
                  <a:lnTo>
                    <a:pt x="184" y="109"/>
                  </a:lnTo>
                  <a:lnTo>
                    <a:pt x="181" y="124"/>
                  </a:lnTo>
                  <a:lnTo>
                    <a:pt x="174" y="129"/>
                  </a:lnTo>
                  <a:lnTo>
                    <a:pt x="169" y="146"/>
                  </a:lnTo>
                  <a:lnTo>
                    <a:pt x="159" y="146"/>
                  </a:lnTo>
                  <a:lnTo>
                    <a:pt x="154" y="161"/>
                  </a:lnTo>
                  <a:lnTo>
                    <a:pt x="144" y="164"/>
                  </a:lnTo>
                  <a:lnTo>
                    <a:pt x="142" y="188"/>
                  </a:lnTo>
                  <a:lnTo>
                    <a:pt x="134" y="203"/>
                  </a:lnTo>
                  <a:lnTo>
                    <a:pt x="144" y="213"/>
                  </a:lnTo>
                  <a:lnTo>
                    <a:pt x="137" y="218"/>
                  </a:lnTo>
                  <a:lnTo>
                    <a:pt x="119" y="216"/>
                  </a:lnTo>
                  <a:lnTo>
                    <a:pt x="114" y="228"/>
                  </a:lnTo>
                  <a:lnTo>
                    <a:pt x="119" y="261"/>
                  </a:lnTo>
                  <a:lnTo>
                    <a:pt x="122" y="280"/>
                  </a:lnTo>
                  <a:lnTo>
                    <a:pt x="132" y="300"/>
                  </a:lnTo>
                  <a:lnTo>
                    <a:pt x="137" y="320"/>
                  </a:lnTo>
                  <a:lnTo>
                    <a:pt x="119" y="330"/>
                  </a:lnTo>
                  <a:lnTo>
                    <a:pt x="114" y="353"/>
                  </a:lnTo>
                  <a:lnTo>
                    <a:pt x="107" y="365"/>
                  </a:lnTo>
                  <a:lnTo>
                    <a:pt x="94" y="358"/>
                  </a:lnTo>
                  <a:lnTo>
                    <a:pt x="69" y="360"/>
                  </a:lnTo>
                  <a:lnTo>
                    <a:pt x="55" y="370"/>
                  </a:lnTo>
                  <a:lnTo>
                    <a:pt x="42" y="375"/>
                  </a:lnTo>
                  <a:lnTo>
                    <a:pt x="20" y="377"/>
                  </a:lnTo>
                  <a:lnTo>
                    <a:pt x="20" y="355"/>
                  </a:lnTo>
                  <a:lnTo>
                    <a:pt x="10" y="350"/>
                  </a:lnTo>
                  <a:lnTo>
                    <a:pt x="15" y="318"/>
                  </a:lnTo>
                  <a:lnTo>
                    <a:pt x="2" y="315"/>
                  </a:lnTo>
                  <a:lnTo>
                    <a:pt x="0" y="271"/>
                  </a:lnTo>
                  <a:lnTo>
                    <a:pt x="15" y="266"/>
                  </a:lnTo>
                  <a:lnTo>
                    <a:pt x="17" y="253"/>
                  </a:lnTo>
                  <a:lnTo>
                    <a:pt x="35" y="248"/>
                  </a:lnTo>
                  <a:lnTo>
                    <a:pt x="50" y="246"/>
                  </a:lnTo>
                  <a:lnTo>
                    <a:pt x="57" y="236"/>
                  </a:lnTo>
                  <a:lnTo>
                    <a:pt x="74" y="233"/>
                  </a:lnTo>
                  <a:lnTo>
                    <a:pt x="77" y="213"/>
                  </a:lnTo>
                  <a:lnTo>
                    <a:pt x="102" y="203"/>
                  </a:lnTo>
                  <a:lnTo>
                    <a:pt x="104" y="188"/>
                  </a:lnTo>
                  <a:lnTo>
                    <a:pt x="117" y="179"/>
                  </a:lnTo>
                  <a:lnTo>
                    <a:pt x="122" y="161"/>
                  </a:lnTo>
                  <a:lnTo>
                    <a:pt x="127" y="146"/>
                  </a:lnTo>
                  <a:lnTo>
                    <a:pt x="144" y="126"/>
                  </a:lnTo>
                  <a:lnTo>
                    <a:pt x="159" y="109"/>
                  </a:lnTo>
                  <a:lnTo>
                    <a:pt x="176" y="97"/>
                  </a:lnTo>
                  <a:lnTo>
                    <a:pt x="201" y="92"/>
                  </a:lnTo>
                  <a:lnTo>
                    <a:pt x="214" y="84"/>
                  </a:lnTo>
                  <a:lnTo>
                    <a:pt x="241" y="79"/>
                  </a:lnTo>
                  <a:lnTo>
                    <a:pt x="246" y="64"/>
                  </a:lnTo>
                  <a:lnTo>
                    <a:pt x="261" y="57"/>
                  </a:lnTo>
                  <a:lnTo>
                    <a:pt x="256" y="39"/>
                  </a:lnTo>
                  <a:lnTo>
                    <a:pt x="243" y="29"/>
                  </a:lnTo>
                  <a:lnTo>
                    <a:pt x="261" y="24"/>
                  </a:lnTo>
                  <a:lnTo>
                    <a:pt x="268" y="12"/>
                  </a:lnTo>
                  <a:lnTo>
                    <a:pt x="271" y="29"/>
                  </a:lnTo>
                  <a:lnTo>
                    <a:pt x="281" y="32"/>
                  </a:lnTo>
                  <a:lnTo>
                    <a:pt x="281" y="22"/>
                  </a:lnTo>
                  <a:lnTo>
                    <a:pt x="291" y="22"/>
                  </a:lnTo>
                  <a:lnTo>
                    <a:pt x="293" y="29"/>
                  </a:lnTo>
                  <a:lnTo>
                    <a:pt x="306" y="32"/>
                  </a:lnTo>
                  <a:lnTo>
                    <a:pt x="311" y="19"/>
                  </a:lnTo>
                  <a:lnTo>
                    <a:pt x="303" y="12"/>
                  </a:lnTo>
                  <a:lnTo>
                    <a:pt x="318" y="5"/>
                  </a:lnTo>
                  <a:lnTo>
                    <a:pt x="333" y="14"/>
                  </a:lnTo>
                  <a:lnTo>
                    <a:pt x="343" y="0"/>
                  </a:lnTo>
                  <a:lnTo>
                    <a:pt x="348" y="17"/>
                  </a:lnTo>
                  <a:lnTo>
                    <a:pt x="363" y="19"/>
                  </a:lnTo>
                  <a:lnTo>
                    <a:pt x="380" y="7"/>
                  </a:lnTo>
                  <a:lnTo>
                    <a:pt x="400" y="19"/>
                  </a:lnTo>
                  <a:lnTo>
                    <a:pt x="395" y="32"/>
                  </a:lnTo>
                  <a:lnTo>
                    <a:pt x="432" y="44"/>
                  </a:lnTo>
                  <a:lnTo>
                    <a:pt x="410" y="59"/>
                  </a:lnTo>
                  <a:lnTo>
                    <a:pt x="390" y="82"/>
                  </a:lnTo>
                  <a:lnTo>
                    <a:pt x="383" y="99"/>
                  </a:lnTo>
                  <a:lnTo>
                    <a:pt x="365" y="82"/>
                  </a:lnTo>
                  <a:lnTo>
                    <a:pt x="373" y="52"/>
                  </a:lnTo>
                  <a:lnTo>
                    <a:pt x="363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282"/>
            <p:cNvSpPr>
              <a:spLocks/>
            </p:cNvSpPr>
            <p:nvPr/>
          </p:nvSpPr>
          <p:spPr bwMode="auto">
            <a:xfrm>
              <a:off x="4161020" y="2770464"/>
              <a:ext cx="297922" cy="315193"/>
            </a:xfrm>
            <a:custGeom>
              <a:avLst/>
              <a:gdLst>
                <a:gd name="T0" fmla="*/ 107 w 207"/>
                <a:gd name="T1" fmla="*/ 5 h 219"/>
                <a:gd name="T2" fmla="*/ 102 w 207"/>
                <a:gd name="T3" fmla="*/ 20 h 219"/>
                <a:gd name="T4" fmla="*/ 95 w 207"/>
                <a:gd name="T5" fmla="*/ 27 h 219"/>
                <a:gd name="T6" fmla="*/ 90 w 207"/>
                <a:gd name="T7" fmla="*/ 37 h 219"/>
                <a:gd name="T8" fmla="*/ 77 w 207"/>
                <a:gd name="T9" fmla="*/ 35 h 219"/>
                <a:gd name="T10" fmla="*/ 75 w 207"/>
                <a:gd name="T11" fmla="*/ 47 h 219"/>
                <a:gd name="T12" fmla="*/ 60 w 207"/>
                <a:gd name="T13" fmla="*/ 47 h 219"/>
                <a:gd name="T14" fmla="*/ 50 w 207"/>
                <a:gd name="T15" fmla="*/ 37 h 219"/>
                <a:gd name="T16" fmla="*/ 42 w 207"/>
                <a:gd name="T17" fmla="*/ 40 h 219"/>
                <a:gd name="T18" fmla="*/ 45 w 207"/>
                <a:gd name="T19" fmla="*/ 50 h 219"/>
                <a:gd name="T20" fmla="*/ 42 w 207"/>
                <a:gd name="T21" fmla="*/ 60 h 219"/>
                <a:gd name="T22" fmla="*/ 28 w 207"/>
                <a:gd name="T23" fmla="*/ 62 h 219"/>
                <a:gd name="T24" fmla="*/ 20 w 207"/>
                <a:gd name="T25" fmla="*/ 67 h 219"/>
                <a:gd name="T26" fmla="*/ 18 w 207"/>
                <a:gd name="T27" fmla="*/ 67 h 219"/>
                <a:gd name="T28" fmla="*/ 0 w 207"/>
                <a:gd name="T29" fmla="*/ 70 h 219"/>
                <a:gd name="T30" fmla="*/ 0 w 207"/>
                <a:gd name="T31" fmla="*/ 74 h 219"/>
                <a:gd name="T32" fmla="*/ 0 w 207"/>
                <a:gd name="T33" fmla="*/ 84 h 219"/>
                <a:gd name="T34" fmla="*/ 20 w 207"/>
                <a:gd name="T35" fmla="*/ 94 h 219"/>
                <a:gd name="T36" fmla="*/ 30 w 207"/>
                <a:gd name="T37" fmla="*/ 99 h 219"/>
                <a:gd name="T38" fmla="*/ 42 w 207"/>
                <a:gd name="T39" fmla="*/ 109 h 219"/>
                <a:gd name="T40" fmla="*/ 47 w 207"/>
                <a:gd name="T41" fmla="*/ 127 h 219"/>
                <a:gd name="T42" fmla="*/ 57 w 207"/>
                <a:gd name="T43" fmla="*/ 139 h 219"/>
                <a:gd name="T44" fmla="*/ 50 w 207"/>
                <a:gd name="T45" fmla="*/ 144 h 219"/>
                <a:gd name="T46" fmla="*/ 42 w 207"/>
                <a:gd name="T47" fmla="*/ 186 h 219"/>
                <a:gd name="T48" fmla="*/ 38 w 207"/>
                <a:gd name="T49" fmla="*/ 199 h 219"/>
                <a:gd name="T50" fmla="*/ 60 w 207"/>
                <a:gd name="T51" fmla="*/ 206 h 219"/>
                <a:gd name="T52" fmla="*/ 85 w 207"/>
                <a:gd name="T53" fmla="*/ 209 h 219"/>
                <a:gd name="T54" fmla="*/ 97 w 207"/>
                <a:gd name="T55" fmla="*/ 219 h 219"/>
                <a:gd name="T56" fmla="*/ 132 w 207"/>
                <a:gd name="T57" fmla="*/ 216 h 219"/>
                <a:gd name="T58" fmla="*/ 127 w 207"/>
                <a:gd name="T59" fmla="*/ 204 h 219"/>
                <a:gd name="T60" fmla="*/ 134 w 207"/>
                <a:gd name="T61" fmla="*/ 191 h 219"/>
                <a:gd name="T62" fmla="*/ 149 w 207"/>
                <a:gd name="T63" fmla="*/ 189 h 219"/>
                <a:gd name="T64" fmla="*/ 164 w 207"/>
                <a:gd name="T65" fmla="*/ 189 h 219"/>
                <a:gd name="T66" fmla="*/ 174 w 207"/>
                <a:gd name="T67" fmla="*/ 196 h 219"/>
                <a:gd name="T68" fmla="*/ 189 w 207"/>
                <a:gd name="T69" fmla="*/ 201 h 219"/>
                <a:gd name="T70" fmla="*/ 197 w 207"/>
                <a:gd name="T71" fmla="*/ 184 h 219"/>
                <a:gd name="T72" fmla="*/ 197 w 207"/>
                <a:gd name="T73" fmla="*/ 171 h 219"/>
                <a:gd name="T74" fmla="*/ 184 w 207"/>
                <a:gd name="T75" fmla="*/ 166 h 219"/>
                <a:gd name="T76" fmla="*/ 182 w 207"/>
                <a:gd name="T77" fmla="*/ 149 h 219"/>
                <a:gd name="T78" fmla="*/ 189 w 207"/>
                <a:gd name="T79" fmla="*/ 137 h 219"/>
                <a:gd name="T80" fmla="*/ 189 w 207"/>
                <a:gd name="T81" fmla="*/ 124 h 219"/>
                <a:gd name="T82" fmla="*/ 179 w 207"/>
                <a:gd name="T83" fmla="*/ 117 h 219"/>
                <a:gd name="T84" fmla="*/ 184 w 207"/>
                <a:gd name="T85" fmla="*/ 104 h 219"/>
                <a:gd name="T86" fmla="*/ 192 w 207"/>
                <a:gd name="T87" fmla="*/ 94 h 219"/>
                <a:gd name="T88" fmla="*/ 202 w 207"/>
                <a:gd name="T89" fmla="*/ 92 h 219"/>
                <a:gd name="T90" fmla="*/ 199 w 207"/>
                <a:gd name="T91" fmla="*/ 65 h 219"/>
                <a:gd name="T92" fmla="*/ 207 w 207"/>
                <a:gd name="T93" fmla="*/ 55 h 219"/>
                <a:gd name="T94" fmla="*/ 192 w 207"/>
                <a:gd name="T95" fmla="*/ 40 h 219"/>
                <a:gd name="T96" fmla="*/ 167 w 207"/>
                <a:gd name="T97" fmla="*/ 42 h 219"/>
                <a:gd name="T98" fmla="*/ 144 w 207"/>
                <a:gd name="T99" fmla="*/ 35 h 219"/>
                <a:gd name="T100" fmla="*/ 137 w 207"/>
                <a:gd name="T101" fmla="*/ 20 h 219"/>
                <a:gd name="T102" fmla="*/ 125 w 207"/>
                <a:gd name="T103" fmla="*/ 12 h 219"/>
                <a:gd name="T104" fmla="*/ 125 w 207"/>
                <a:gd name="T105" fmla="*/ 0 h 219"/>
                <a:gd name="T106" fmla="*/ 107 w 207"/>
                <a:gd name="T107" fmla="*/ 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7" h="219">
                  <a:moveTo>
                    <a:pt x="107" y="5"/>
                  </a:moveTo>
                  <a:lnTo>
                    <a:pt x="102" y="20"/>
                  </a:lnTo>
                  <a:lnTo>
                    <a:pt x="95" y="27"/>
                  </a:lnTo>
                  <a:lnTo>
                    <a:pt x="90" y="37"/>
                  </a:lnTo>
                  <a:lnTo>
                    <a:pt x="77" y="35"/>
                  </a:lnTo>
                  <a:lnTo>
                    <a:pt x="75" y="47"/>
                  </a:lnTo>
                  <a:lnTo>
                    <a:pt x="60" y="47"/>
                  </a:lnTo>
                  <a:lnTo>
                    <a:pt x="50" y="37"/>
                  </a:lnTo>
                  <a:lnTo>
                    <a:pt x="42" y="40"/>
                  </a:lnTo>
                  <a:lnTo>
                    <a:pt x="45" y="50"/>
                  </a:lnTo>
                  <a:lnTo>
                    <a:pt x="42" y="60"/>
                  </a:lnTo>
                  <a:lnTo>
                    <a:pt x="28" y="62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0" y="94"/>
                  </a:lnTo>
                  <a:lnTo>
                    <a:pt x="30" y="99"/>
                  </a:lnTo>
                  <a:lnTo>
                    <a:pt x="42" y="109"/>
                  </a:lnTo>
                  <a:lnTo>
                    <a:pt x="47" y="127"/>
                  </a:lnTo>
                  <a:lnTo>
                    <a:pt x="57" y="139"/>
                  </a:lnTo>
                  <a:lnTo>
                    <a:pt x="50" y="144"/>
                  </a:lnTo>
                  <a:lnTo>
                    <a:pt x="42" y="186"/>
                  </a:lnTo>
                  <a:lnTo>
                    <a:pt x="38" y="199"/>
                  </a:lnTo>
                  <a:lnTo>
                    <a:pt x="60" y="206"/>
                  </a:lnTo>
                  <a:lnTo>
                    <a:pt x="85" y="209"/>
                  </a:lnTo>
                  <a:lnTo>
                    <a:pt x="97" y="219"/>
                  </a:lnTo>
                  <a:lnTo>
                    <a:pt x="132" y="216"/>
                  </a:lnTo>
                  <a:lnTo>
                    <a:pt x="127" y="204"/>
                  </a:lnTo>
                  <a:lnTo>
                    <a:pt x="134" y="191"/>
                  </a:lnTo>
                  <a:lnTo>
                    <a:pt x="149" y="189"/>
                  </a:lnTo>
                  <a:lnTo>
                    <a:pt x="164" y="189"/>
                  </a:lnTo>
                  <a:lnTo>
                    <a:pt x="174" y="196"/>
                  </a:lnTo>
                  <a:lnTo>
                    <a:pt x="189" y="201"/>
                  </a:lnTo>
                  <a:lnTo>
                    <a:pt x="197" y="184"/>
                  </a:lnTo>
                  <a:lnTo>
                    <a:pt x="197" y="171"/>
                  </a:lnTo>
                  <a:lnTo>
                    <a:pt x="184" y="166"/>
                  </a:lnTo>
                  <a:lnTo>
                    <a:pt x="182" y="149"/>
                  </a:lnTo>
                  <a:lnTo>
                    <a:pt x="189" y="137"/>
                  </a:lnTo>
                  <a:lnTo>
                    <a:pt x="189" y="124"/>
                  </a:lnTo>
                  <a:lnTo>
                    <a:pt x="179" y="117"/>
                  </a:lnTo>
                  <a:lnTo>
                    <a:pt x="184" y="104"/>
                  </a:lnTo>
                  <a:lnTo>
                    <a:pt x="192" y="94"/>
                  </a:lnTo>
                  <a:lnTo>
                    <a:pt x="202" y="92"/>
                  </a:lnTo>
                  <a:lnTo>
                    <a:pt x="199" y="65"/>
                  </a:lnTo>
                  <a:lnTo>
                    <a:pt x="207" y="55"/>
                  </a:lnTo>
                  <a:lnTo>
                    <a:pt x="192" y="40"/>
                  </a:lnTo>
                  <a:lnTo>
                    <a:pt x="167" y="42"/>
                  </a:lnTo>
                  <a:lnTo>
                    <a:pt x="144" y="35"/>
                  </a:lnTo>
                  <a:lnTo>
                    <a:pt x="137" y="20"/>
                  </a:lnTo>
                  <a:lnTo>
                    <a:pt x="125" y="12"/>
                  </a:lnTo>
                  <a:lnTo>
                    <a:pt x="125" y="0"/>
                  </a:lnTo>
                  <a:lnTo>
                    <a:pt x="10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283"/>
            <p:cNvSpPr>
              <a:spLocks/>
            </p:cNvSpPr>
            <p:nvPr/>
          </p:nvSpPr>
          <p:spPr bwMode="auto">
            <a:xfrm>
              <a:off x="4422961" y="2920145"/>
              <a:ext cx="303679" cy="300801"/>
            </a:xfrm>
            <a:custGeom>
              <a:avLst/>
              <a:gdLst>
                <a:gd name="T0" fmla="*/ 15 w 211"/>
                <a:gd name="T1" fmla="*/ 80 h 209"/>
                <a:gd name="T2" fmla="*/ 15 w 211"/>
                <a:gd name="T3" fmla="*/ 67 h 209"/>
                <a:gd name="T4" fmla="*/ 2 w 211"/>
                <a:gd name="T5" fmla="*/ 62 h 209"/>
                <a:gd name="T6" fmla="*/ 0 w 211"/>
                <a:gd name="T7" fmla="*/ 45 h 209"/>
                <a:gd name="T8" fmla="*/ 7 w 211"/>
                <a:gd name="T9" fmla="*/ 33 h 209"/>
                <a:gd name="T10" fmla="*/ 7 w 211"/>
                <a:gd name="T11" fmla="*/ 20 h 209"/>
                <a:gd name="T12" fmla="*/ 25 w 211"/>
                <a:gd name="T13" fmla="*/ 20 h 209"/>
                <a:gd name="T14" fmla="*/ 32 w 211"/>
                <a:gd name="T15" fmla="*/ 13 h 209"/>
                <a:gd name="T16" fmla="*/ 37 w 211"/>
                <a:gd name="T17" fmla="*/ 20 h 209"/>
                <a:gd name="T18" fmla="*/ 42 w 211"/>
                <a:gd name="T19" fmla="*/ 13 h 209"/>
                <a:gd name="T20" fmla="*/ 49 w 211"/>
                <a:gd name="T21" fmla="*/ 18 h 209"/>
                <a:gd name="T22" fmla="*/ 57 w 211"/>
                <a:gd name="T23" fmla="*/ 3 h 209"/>
                <a:gd name="T24" fmla="*/ 64 w 211"/>
                <a:gd name="T25" fmla="*/ 8 h 209"/>
                <a:gd name="T26" fmla="*/ 82 w 211"/>
                <a:gd name="T27" fmla="*/ 8 h 209"/>
                <a:gd name="T28" fmla="*/ 97 w 211"/>
                <a:gd name="T29" fmla="*/ 0 h 209"/>
                <a:gd name="T30" fmla="*/ 109 w 211"/>
                <a:gd name="T31" fmla="*/ 10 h 209"/>
                <a:gd name="T32" fmla="*/ 112 w 211"/>
                <a:gd name="T33" fmla="*/ 25 h 209"/>
                <a:gd name="T34" fmla="*/ 104 w 211"/>
                <a:gd name="T35" fmla="*/ 33 h 209"/>
                <a:gd name="T36" fmla="*/ 97 w 211"/>
                <a:gd name="T37" fmla="*/ 50 h 209"/>
                <a:gd name="T38" fmla="*/ 99 w 211"/>
                <a:gd name="T39" fmla="*/ 62 h 209"/>
                <a:gd name="T40" fmla="*/ 107 w 211"/>
                <a:gd name="T41" fmla="*/ 67 h 209"/>
                <a:gd name="T42" fmla="*/ 117 w 211"/>
                <a:gd name="T43" fmla="*/ 85 h 209"/>
                <a:gd name="T44" fmla="*/ 131 w 211"/>
                <a:gd name="T45" fmla="*/ 105 h 209"/>
                <a:gd name="T46" fmla="*/ 151 w 211"/>
                <a:gd name="T47" fmla="*/ 125 h 209"/>
                <a:gd name="T48" fmla="*/ 164 w 211"/>
                <a:gd name="T49" fmla="*/ 125 h 209"/>
                <a:gd name="T50" fmla="*/ 171 w 211"/>
                <a:gd name="T51" fmla="*/ 122 h 209"/>
                <a:gd name="T52" fmla="*/ 174 w 211"/>
                <a:gd name="T53" fmla="*/ 130 h 209"/>
                <a:gd name="T54" fmla="*/ 179 w 211"/>
                <a:gd name="T55" fmla="*/ 137 h 209"/>
                <a:gd name="T56" fmla="*/ 184 w 211"/>
                <a:gd name="T57" fmla="*/ 144 h 209"/>
                <a:gd name="T58" fmla="*/ 191 w 211"/>
                <a:gd name="T59" fmla="*/ 152 h 209"/>
                <a:gd name="T60" fmla="*/ 201 w 211"/>
                <a:gd name="T61" fmla="*/ 159 h 209"/>
                <a:gd name="T62" fmla="*/ 211 w 211"/>
                <a:gd name="T63" fmla="*/ 172 h 209"/>
                <a:gd name="T64" fmla="*/ 204 w 211"/>
                <a:gd name="T65" fmla="*/ 177 h 209"/>
                <a:gd name="T66" fmla="*/ 189 w 211"/>
                <a:gd name="T67" fmla="*/ 164 h 209"/>
                <a:gd name="T68" fmla="*/ 179 w 211"/>
                <a:gd name="T69" fmla="*/ 169 h 209"/>
                <a:gd name="T70" fmla="*/ 176 w 211"/>
                <a:gd name="T71" fmla="*/ 179 h 209"/>
                <a:gd name="T72" fmla="*/ 181 w 211"/>
                <a:gd name="T73" fmla="*/ 192 h 209"/>
                <a:gd name="T74" fmla="*/ 176 w 211"/>
                <a:gd name="T75" fmla="*/ 199 h 209"/>
                <a:gd name="T76" fmla="*/ 171 w 211"/>
                <a:gd name="T77" fmla="*/ 209 h 209"/>
                <a:gd name="T78" fmla="*/ 161 w 211"/>
                <a:gd name="T79" fmla="*/ 209 h 209"/>
                <a:gd name="T80" fmla="*/ 161 w 211"/>
                <a:gd name="T81" fmla="*/ 187 h 209"/>
                <a:gd name="T82" fmla="*/ 161 w 211"/>
                <a:gd name="T83" fmla="*/ 177 h 209"/>
                <a:gd name="T84" fmla="*/ 149 w 211"/>
                <a:gd name="T85" fmla="*/ 169 h 209"/>
                <a:gd name="T86" fmla="*/ 144 w 211"/>
                <a:gd name="T87" fmla="*/ 157 h 209"/>
                <a:gd name="T88" fmla="*/ 131 w 211"/>
                <a:gd name="T89" fmla="*/ 154 h 209"/>
                <a:gd name="T90" fmla="*/ 134 w 211"/>
                <a:gd name="T91" fmla="*/ 144 h 209"/>
                <a:gd name="T92" fmla="*/ 107 w 211"/>
                <a:gd name="T93" fmla="*/ 137 h 209"/>
                <a:gd name="T94" fmla="*/ 92 w 211"/>
                <a:gd name="T95" fmla="*/ 122 h 209"/>
                <a:gd name="T96" fmla="*/ 82 w 211"/>
                <a:gd name="T97" fmla="*/ 115 h 209"/>
                <a:gd name="T98" fmla="*/ 72 w 211"/>
                <a:gd name="T99" fmla="*/ 107 h 209"/>
                <a:gd name="T100" fmla="*/ 64 w 211"/>
                <a:gd name="T101" fmla="*/ 85 h 209"/>
                <a:gd name="T102" fmla="*/ 59 w 211"/>
                <a:gd name="T103" fmla="*/ 72 h 209"/>
                <a:gd name="T104" fmla="*/ 39 w 211"/>
                <a:gd name="T105" fmla="*/ 70 h 209"/>
                <a:gd name="T106" fmla="*/ 34 w 211"/>
                <a:gd name="T107" fmla="*/ 80 h 209"/>
                <a:gd name="T108" fmla="*/ 15 w 211"/>
                <a:gd name="T109" fmla="*/ 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09">
                  <a:moveTo>
                    <a:pt x="15" y="80"/>
                  </a:moveTo>
                  <a:lnTo>
                    <a:pt x="15" y="67"/>
                  </a:lnTo>
                  <a:lnTo>
                    <a:pt x="2" y="62"/>
                  </a:lnTo>
                  <a:lnTo>
                    <a:pt x="0" y="45"/>
                  </a:lnTo>
                  <a:lnTo>
                    <a:pt x="7" y="33"/>
                  </a:lnTo>
                  <a:lnTo>
                    <a:pt x="7" y="20"/>
                  </a:lnTo>
                  <a:lnTo>
                    <a:pt x="25" y="20"/>
                  </a:lnTo>
                  <a:lnTo>
                    <a:pt x="32" y="13"/>
                  </a:lnTo>
                  <a:lnTo>
                    <a:pt x="37" y="20"/>
                  </a:lnTo>
                  <a:lnTo>
                    <a:pt x="42" y="13"/>
                  </a:lnTo>
                  <a:lnTo>
                    <a:pt x="49" y="18"/>
                  </a:lnTo>
                  <a:lnTo>
                    <a:pt x="57" y="3"/>
                  </a:lnTo>
                  <a:lnTo>
                    <a:pt x="64" y="8"/>
                  </a:lnTo>
                  <a:lnTo>
                    <a:pt x="82" y="8"/>
                  </a:lnTo>
                  <a:lnTo>
                    <a:pt x="97" y="0"/>
                  </a:lnTo>
                  <a:lnTo>
                    <a:pt x="109" y="10"/>
                  </a:lnTo>
                  <a:lnTo>
                    <a:pt x="112" y="25"/>
                  </a:lnTo>
                  <a:lnTo>
                    <a:pt x="104" y="33"/>
                  </a:lnTo>
                  <a:lnTo>
                    <a:pt x="97" y="50"/>
                  </a:lnTo>
                  <a:lnTo>
                    <a:pt x="99" y="62"/>
                  </a:lnTo>
                  <a:lnTo>
                    <a:pt x="107" y="67"/>
                  </a:lnTo>
                  <a:lnTo>
                    <a:pt x="117" y="85"/>
                  </a:lnTo>
                  <a:lnTo>
                    <a:pt x="131" y="105"/>
                  </a:lnTo>
                  <a:lnTo>
                    <a:pt x="151" y="125"/>
                  </a:lnTo>
                  <a:lnTo>
                    <a:pt x="164" y="125"/>
                  </a:lnTo>
                  <a:lnTo>
                    <a:pt x="171" y="122"/>
                  </a:lnTo>
                  <a:lnTo>
                    <a:pt x="174" y="130"/>
                  </a:lnTo>
                  <a:lnTo>
                    <a:pt x="179" y="137"/>
                  </a:lnTo>
                  <a:lnTo>
                    <a:pt x="184" y="144"/>
                  </a:lnTo>
                  <a:lnTo>
                    <a:pt x="191" y="152"/>
                  </a:lnTo>
                  <a:lnTo>
                    <a:pt x="201" y="159"/>
                  </a:lnTo>
                  <a:lnTo>
                    <a:pt x="211" y="172"/>
                  </a:lnTo>
                  <a:lnTo>
                    <a:pt x="204" y="177"/>
                  </a:lnTo>
                  <a:lnTo>
                    <a:pt x="189" y="164"/>
                  </a:lnTo>
                  <a:lnTo>
                    <a:pt x="179" y="169"/>
                  </a:lnTo>
                  <a:lnTo>
                    <a:pt x="176" y="179"/>
                  </a:lnTo>
                  <a:lnTo>
                    <a:pt x="181" y="192"/>
                  </a:lnTo>
                  <a:lnTo>
                    <a:pt x="176" y="199"/>
                  </a:lnTo>
                  <a:lnTo>
                    <a:pt x="171" y="209"/>
                  </a:lnTo>
                  <a:lnTo>
                    <a:pt x="161" y="209"/>
                  </a:lnTo>
                  <a:lnTo>
                    <a:pt x="161" y="187"/>
                  </a:lnTo>
                  <a:lnTo>
                    <a:pt x="161" y="177"/>
                  </a:lnTo>
                  <a:lnTo>
                    <a:pt x="149" y="169"/>
                  </a:lnTo>
                  <a:lnTo>
                    <a:pt x="144" y="157"/>
                  </a:lnTo>
                  <a:lnTo>
                    <a:pt x="131" y="154"/>
                  </a:lnTo>
                  <a:lnTo>
                    <a:pt x="134" y="144"/>
                  </a:lnTo>
                  <a:lnTo>
                    <a:pt x="107" y="137"/>
                  </a:lnTo>
                  <a:lnTo>
                    <a:pt x="92" y="122"/>
                  </a:lnTo>
                  <a:lnTo>
                    <a:pt x="82" y="115"/>
                  </a:lnTo>
                  <a:lnTo>
                    <a:pt x="72" y="107"/>
                  </a:lnTo>
                  <a:lnTo>
                    <a:pt x="64" y="85"/>
                  </a:lnTo>
                  <a:lnTo>
                    <a:pt x="59" y="72"/>
                  </a:lnTo>
                  <a:lnTo>
                    <a:pt x="39" y="70"/>
                  </a:lnTo>
                  <a:lnTo>
                    <a:pt x="34" y="80"/>
                  </a:lnTo>
                  <a:lnTo>
                    <a:pt x="15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284"/>
            <p:cNvSpPr>
              <a:spLocks/>
            </p:cNvSpPr>
            <p:nvPr/>
          </p:nvSpPr>
          <p:spPr bwMode="auto">
            <a:xfrm>
              <a:off x="4040124" y="3038162"/>
              <a:ext cx="310875" cy="247548"/>
            </a:xfrm>
            <a:custGeom>
              <a:avLst/>
              <a:gdLst>
                <a:gd name="T0" fmla="*/ 216 w 216"/>
                <a:gd name="T1" fmla="*/ 30 h 172"/>
                <a:gd name="T2" fmla="*/ 181 w 216"/>
                <a:gd name="T3" fmla="*/ 33 h 172"/>
                <a:gd name="T4" fmla="*/ 169 w 216"/>
                <a:gd name="T5" fmla="*/ 23 h 172"/>
                <a:gd name="T6" fmla="*/ 144 w 216"/>
                <a:gd name="T7" fmla="*/ 20 h 172"/>
                <a:gd name="T8" fmla="*/ 122 w 216"/>
                <a:gd name="T9" fmla="*/ 13 h 172"/>
                <a:gd name="T10" fmla="*/ 94 w 216"/>
                <a:gd name="T11" fmla="*/ 3 h 172"/>
                <a:gd name="T12" fmla="*/ 79 w 216"/>
                <a:gd name="T13" fmla="*/ 8 h 172"/>
                <a:gd name="T14" fmla="*/ 67 w 216"/>
                <a:gd name="T15" fmla="*/ 0 h 172"/>
                <a:gd name="T16" fmla="*/ 7 w 216"/>
                <a:gd name="T17" fmla="*/ 0 h 172"/>
                <a:gd name="T18" fmla="*/ 10 w 216"/>
                <a:gd name="T19" fmla="*/ 10 h 172"/>
                <a:gd name="T20" fmla="*/ 0 w 216"/>
                <a:gd name="T21" fmla="*/ 15 h 172"/>
                <a:gd name="T22" fmla="*/ 2 w 216"/>
                <a:gd name="T23" fmla="*/ 28 h 172"/>
                <a:gd name="T24" fmla="*/ 12 w 216"/>
                <a:gd name="T25" fmla="*/ 38 h 172"/>
                <a:gd name="T26" fmla="*/ 15 w 216"/>
                <a:gd name="T27" fmla="*/ 50 h 172"/>
                <a:gd name="T28" fmla="*/ 32 w 216"/>
                <a:gd name="T29" fmla="*/ 48 h 172"/>
                <a:gd name="T30" fmla="*/ 44 w 216"/>
                <a:gd name="T31" fmla="*/ 43 h 172"/>
                <a:gd name="T32" fmla="*/ 49 w 216"/>
                <a:gd name="T33" fmla="*/ 50 h 172"/>
                <a:gd name="T34" fmla="*/ 47 w 216"/>
                <a:gd name="T35" fmla="*/ 55 h 172"/>
                <a:gd name="T36" fmla="*/ 42 w 216"/>
                <a:gd name="T37" fmla="*/ 62 h 172"/>
                <a:gd name="T38" fmla="*/ 34 w 216"/>
                <a:gd name="T39" fmla="*/ 95 h 172"/>
                <a:gd name="T40" fmla="*/ 27 w 216"/>
                <a:gd name="T41" fmla="*/ 102 h 172"/>
                <a:gd name="T42" fmla="*/ 37 w 216"/>
                <a:gd name="T43" fmla="*/ 110 h 172"/>
                <a:gd name="T44" fmla="*/ 37 w 216"/>
                <a:gd name="T45" fmla="*/ 137 h 172"/>
                <a:gd name="T46" fmla="*/ 39 w 216"/>
                <a:gd name="T47" fmla="*/ 149 h 172"/>
                <a:gd name="T48" fmla="*/ 49 w 216"/>
                <a:gd name="T49" fmla="*/ 149 h 172"/>
                <a:gd name="T50" fmla="*/ 49 w 216"/>
                <a:gd name="T51" fmla="*/ 164 h 172"/>
                <a:gd name="T52" fmla="*/ 62 w 216"/>
                <a:gd name="T53" fmla="*/ 172 h 172"/>
                <a:gd name="T54" fmla="*/ 74 w 216"/>
                <a:gd name="T55" fmla="*/ 167 h 172"/>
                <a:gd name="T56" fmla="*/ 84 w 216"/>
                <a:gd name="T57" fmla="*/ 162 h 172"/>
                <a:gd name="T58" fmla="*/ 126 w 216"/>
                <a:gd name="T59" fmla="*/ 164 h 172"/>
                <a:gd name="T60" fmla="*/ 134 w 216"/>
                <a:gd name="T61" fmla="*/ 154 h 172"/>
                <a:gd name="T62" fmla="*/ 134 w 216"/>
                <a:gd name="T63" fmla="*/ 145 h 172"/>
                <a:gd name="T64" fmla="*/ 146 w 216"/>
                <a:gd name="T65" fmla="*/ 137 h 172"/>
                <a:gd name="T66" fmla="*/ 156 w 216"/>
                <a:gd name="T67" fmla="*/ 127 h 172"/>
                <a:gd name="T68" fmla="*/ 159 w 216"/>
                <a:gd name="T69" fmla="*/ 115 h 172"/>
                <a:gd name="T70" fmla="*/ 146 w 216"/>
                <a:gd name="T71" fmla="*/ 97 h 172"/>
                <a:gd name="T72" fmla="*/ 156 w 216"/>
                <a:gd name="T73" fmla="*/ 87 h 172"/>
                <a:gd name="T74" fmla="*/ 164 w 216"/>
                <a:gd name="T75" fmla="*/ 75 h 172"/>
                <a:gd name="T76" fmla="*/ 179 w 216"/>
                <a:gd name="T77" fmla="*/ 72 h 172"/>
                <a:gd name="T78" fmla="*/ 191 w 216"/>
                <a:gd name="T79" fmla="*/ 55 h 172"/>
                <a:gd name="T80" fmla="*/ 201 w 216"/>
                <a:gd name="T81" fmla="*/ 45 h 172"/>
                <a:gd name="T82" fmla="*/ 216 w 216"/>
                <a:gd name="T83" fmla="*/ 3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6" h="172">
                  <a:moveTo>
                    <a:pt x="216" y="30"/>
                  </a:moveTo>
                  <a:lnTo>
                    <a:pt x="181" y="33"/>
                  </a:lnTo>
                  <a:lnTo>
                    <a:pt x="169" y="23"/>
                  </a:lnTo>
                  <a:lnTo>
                    <a:pt x="144" y="20"/>
                  </a:lnTo>
                  <a:lnTo>
                    <a:pt x="122" y="13"/>
                  </a:lnTo>
                  <a:lnTo>
                    <a:pt x="94" y="3"/>
                  </a:lnTo>
                  <a:lnTo>
                    <a:pt x="79" y="8"/>
                  </a:lnTo>
                  <a:lnTo>
                    <a:pt x="67" y="0"/>
                  </a:lnTo>
                  <a:lnTo>
                    <a:pt x="7" y="0"/>
                  </a:lnTo>
                  <a:lnTo>
                    <a:pt x="10" y="10"/>
                  </a:lnTo>
                  <a:lnTo>
                    <a:pt x="0" y="15"/>
                  </a:lnTo>
                  <a:lnTo>
                    <a:pt x="2" y="28"/>
                  </a:lnTo>
                  <a:lnTo>
                    <a:pt x="12" y="38"/>
                  </a:lnTo>
                  <a:lnTo>
                    <a:pt x="15" y="50"/>
                  </a:lnTo>
                  <a:lnTo>
                    <a:pt x="32" y="48"/>
                  </a:lnTo>
                  <a:lnTo>
                    <a:pt x="44" y="43"/>
                  </a:lnTo>
                  <a:lnTo>
                    <a:pt x="49" y="50"/>
                  </a:lnTo>
                  <a:lnTo>
                    <a:pt x="47" y="55"/>
                  </a:lnTo>
                  <a:lnTo>
                    <a:pt x="42" y="62"/>
                  </a:lnTo>
                  <a:lnTo>
                    <a:pt x="34" y="95"/>
                  </a:lnTo>
                  <a:lnTo>
                    <a:pt x="27" y="102"/>
                  </a:lnTo>
                  <a:lnTo>
                    <a:pt x="37" y="110"/>
                  </a:lnTo>
                  <a:lnTo>
                    <a:pt x="37" y="137"/>
                  </a:lnTo>
                  <a:lnTo>
                    <a:pt x="39" y="149"/>
                  </a:lnTo>
                  <a:lnTo>
                    <a:pt x="49" y="149"/>
                  </a:lnTo>
                  <a:lnTo>
                    <a:pt x="49" y="164"/>
                  </a:lnTo>
                  <a:lnTo>
                    <a:pt x="62" y="172"/>
                  </a:lnTo>
                  <a:lnTo>
                    <a:pt x="74" y="167"/>
                  </a:lnTo>
                  <a:lnTo>
                    <a:pt x="84" y="162"/>
                  </a:lnTo>
                  <a:lnTo>
                    <a:pt x="126" y="164"/>
                  </a:lnTo>
                  <a:lnTo>
                    <a:pt x="134" y="154"/>
                  </a:lnTo>
                  <a:lnTo>
                    <a:pt x="134" y="145"/>
                  </a:lnTo>
                  <a:lnTo>
                    <a:pt x="146" y="137"/>
                  </a:lnTo>
                  <a:lnTo>
                    <a:pt x="156" y="127"/>
                  </a:lnTo>
                  <a:lnTo>
                    <a:pt x="159" y="115"/>
                  </a:lnTo>
                  <a:lnTo>
                    <a:pt x="146" y="97"/>
                  </a:lnTo>
                  <a:lnTo>
                    <a:pt x="156" y="87"/>
                  </a:lnTo>
                  <a:lnTo>
                    <a:pt x="164" y="75"/>
                  </a:lnTo>
                  <a:lnTo>
                    <a:pt x="179" y="72"/>
                  </a:lnTo>
                  <a:lnTo>
                    <a:pt x="191" y="55"/>
                  </a:lnTo>
                  <a:lnTo>
                    <a:pt x="201" y="45"/>
                  </a:lnTo>
                  <a:lnTo>
                    <a:pt x="216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85"/>
            <p:cNvSpPr>
              <a:spLocks/>
            </p:cNvSpPr>
            <p:nvPr/>
          </p:nvSpPr>
          <p:spPr bwMode="auto">
            <a:xfrm>
              <a:off x="4021415" y="3092853"/>
              <a:ext cx="89233" cy="164073"/>
            </a:xfrm>
            <a:custGeom>
              <a:avLst/>
              <a:gdLst>
                <a:gd name="T0" fmla="*/ 50 w 62"/>
                <a:gd name="T1" fmla="*/ 99 h 114"/>
                <a:gd name="T2" fmla="*/ 50 w 62"/>
                <a:gd name="T3" fmla="*/ 72 h 114"/>
                <a:gd name="T4" fmla="*/ 40 w 62"/>
                <a:gd name="T5" fmla="*/ 64 h 114"/>
                <a:gd name="T6" fmla="*/ 47 w 62"/>
                <a:gd name="T7" fmla="*/ 57 h 114"/>
                <a:gd name="T8" fmla="*/ 55 w 62"/>
                <a:gd name="T9" fmla="*/ 24 h 114"/>
                <a:gd name="T10" fmla="*/ 60 w 62"/>
                <a:gd name="T11" fmla="*/ 17 h 114"/>
                <a:gd name="T12" fmla="*/ 62 w 62"/>
                <a:gd name="T13" fmla="*/ 12 h 114"/>
                <a:gd name="T14" fmla="*/ 57 w 62"/>
                <a:gd name="T15" fmla="*/ 5 h 114"/>
                <a:gd name="T16" fmla="*/ 45 w 62"/>
                <a:gd name="T17" fmla="*/ 10 h 114"/>
                <a:gd name="T18" fmla="*/ 28 w 62"/>
                <a:gd name="T19" fmla="*/ 12 h 114"/>
                <a:gd name="T20" fmla="*/ 25 w 62"/>
                <a:gd name="T21" fmla="*/ 0 h 114"/>
                <a:gd name="T22" fmla="*/ 18 w 62"/>
                <a:gd name="T23" fmla="*/ 15 h 114"/>
                <a:gd name="T24" fmla="*/ 18 w 62"/>
                <a:gd name="T25" fmla="*/ 32 h 114"/>
                <a:gd name="T26" fmla="*/ 20 w 62"/>
                <a:gd name="T27" fmla="*/ 39 h 114"/>
                <a:gd name="T28" fmla="*/ 13 w 62"/>
                <a:gd name="T29" fmla="*/ 52 h 114"/>
                <a:gd name="T30" fmla="*/ 3 w 62"/>
                <a:gd name="T31" fmla="*/ 59 h 114"/>
                <a:gd name="T32" fmla="*/ 0 w 62"/>
                <a:gd name="T33" fmla="*/ 79 h 114"/>
                <a:gd name="T34" fmla="*/ 13 w 62"/>
                <a:gd name="T35" fmla="*/ 84 h 114"/>
                <a:gd name="T36" fmla="*/ 13 w 62"/>
                <a:gd name="T37" fmla="*/ 97 h 114"/>
                <a:gd name="T38" fmla="*/ 15 w 62"/>
                <a:gd name="T39" fmla="*/ 109 h 114"/>
                <a:gd name="T40" fmla="*/ 28 w 62"/>
                <a:gd name="T41" fmla="*/ 114 h 114"/>
                <a:gd name="T42" fmla="*/ 43 w 62"/>
                <a:gd name="T43" fmla="*/ 114 h 114"/>
                <a:gd name="T44" fmla="*/ 50 w 62"/>
                <a:gd name="T45" fmla="*/ 9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4">
                  <a:moveTo>
                    <a:pt x="50" y="99"/>
                  </a:moveTo>
                  <a:lnTo>
                    <a:pt x="50" y="72"/>
                  </a:lnTo>
                  <a:lnTo>
                    <a:pt x="40" y="64"/>
                  </a:lnTo>
                  <a:lnTo>
                    <a:pt x="47" y="57"/>
                  </a:lnTo>
                  <a:lnTo>
                    <a:pt x="55" y="24"/>
                  </a:lnTo>
                  <a:lnTo>
                    <a:pt x="60" y="17"/>
                  </a:lnTo>
                  <a:lnTo>
                    <a:pt x="62" y="12"/>
                  </a:lnTo>
                  <a:lnTo>
                    <a:pt x="57" y="5"/>
                  </a:lnTo>
                  <a:lnTo>
                    <a:pt x="45" y="10"/>
                  </a:lnTo>
                  <a:lnTo>
                    <a:pt x="28" y="12"/>
                  </a:lnTo>
                  <a:lnTo>
                    <a:pt x="25" y="0"/>
                  </a:lnTo>
                  <a:lnTo>
                    <a:pt x="18" y="15"/>
                  </a:lnTo>
                  <a:lnTo>
                    <a:pt x="18" y="32"/>
                  </a:lnTo>
                  <a:lnTo>
                    <a:pt x="20" y="39"/>
                  </a:lnTo>
                  <a:lnTo>
                    <a:pt x="13" y="52"/>
                  </a:lnTo>
                  <a:lnTo>
                    <a:pt x="3" y="59"/>
                  </a:lnTo>
                  <a:lnTo>
                    <a:pt x="0" y="79"/>
                  </a:lnTo>
                  <a:lnTo>
                    <a:pt x="13" y="84"/>
                  </a:lnTo>
                  <a:lnTo>
                    <a:pt x="13" y="97"/>
                  </a:lnTo>
                  <a:lnTo>
                    <a:pt x="15" y="109"/>
                  </a:lnTo>
                  <a:lnTo>
                    <a:pt x="28" y="114"/>
                  </a:lnTo>
                  <a:lnTo>
                    <a:pt x="43" y="114"/>
                  </a:lnTo>
                  <a:lnTo>
                    <a:pt x="5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86"/>
            <p:cNvSpPr>
              <a:spLocks/>
            </p:cNvSpPr>
            <p:nvPr/>
          </p:nvSpPr>
          <p:spPr bwMode="auto">
            <a:xfrm>
              <a:off x="4479092" y="3071265"/>
              <a:ext cx="25906" cy="46056"/>
            </a:xfrm>
            <a:custGeom>
              <a:avLst/>
              <a:gdLst>
                <a:gd name="T0" fmla="*/ 18 w 18"/>
                <a:gd name="T1" fmla="*/ 0 h 32"/>
                <a:gd name="T2" fmla="*/ 13 w 18"/>
                <a:gd name="T3" fmla="*/ 5 h 32"/>
                <a:gd name="T4" fmla="*/ 0 w 18"/>
                <a:gd name="T5" fmla="*/ 12 h 32"/>
                <a:gd name="T6" fmla="*/ 5 w 18"/>
                <a:gd name="T7" fmla="*/ 25 h 32"/>
                <a:gd name="T8" fmla="*/ 13 w 18"/>
                <a:gd name="T9" fmla="*/ 32 h 32"/>
                <a:gd name="T10" fmla="*/ 18 w 18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8" y="0"/>
                  </a:moveTo>
                  <a:lnTo>
                    <a:pt x="13" y="5"/>
                  </a:lnTo>
                  <a:lnTo>
                    <a:pt x="0" y="12"/>
                  </a:lnTo>
                  <a:lnTo>
                    <a:pt x="5" y="25"/>
                  </a:lnTo>
                  <a:lnTo>
                    <a:pt x="13" y="3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87"/>
            <p:cNvSpPr>
              <a:spLocks/>
            </p:cNvSpPr>
            <p:nvPr/>
          </p:nvSpPr>
          <p:spPr bwMode="auto">
            <a:xfrm>
              <a:off x="4471895" y="3131713"/>
              <a:ext cx="33103" cy="60448"/>
            </a:xfrm>
            <a:custGeom>
              <a:avLst/>
              <a:gdLst>
                <a:gd name="T0" fmla="*/ 3 w 23"/>
                <a:gd name="T1" fmla="*/ 5 h 42"/>
                <a:gd name="T2" fmla="*/ 5 w 23"/>
                <a:gd name="T3" fmla="*/ 5 h 42"/>
                <a:gd name="T4" fmla="*/ 15 w 23"/>
                <a:gd name="T5" fmla="*/ 2 h 42"/>
                <a:gd name="T6" fmla="*/ 20 w 23"/>
                <a:gd name="T7" fmla="*/ 0 h 42"/>
                <a:gd name="T8" fmla="*/ 23 w 23"/>
                <a:gd name="T9" fmla="*/ 7 h 42"/>
                <a:gd name="T10" fmla="*/ 23 w 23"/>
                <a:gd name="T11" fmla="*/ 17 h 42"/>
                <a:gd name="T12" fmla="*/ 23 w 23"/>
                <a:gd name="T13" fmla="*/ 27 h 42"/>
                <a:gd name="T14" fmla="*/ 20 w 23"/>
                <a:gd name="T15" fmla="*/ 40 h 42"/>
                <a:gd name="T16" fmla="*/ 10 w 23"/>
                <a:gd name="T17" fmla="*/ 42 h 42"/>
                <a:gd name="T18" fmla="*/ 3 w 23"/>
                <a:gd name="T19" fmla="*/ 40 h 42"/>
                <a:gd name="T20" fmla="*/ 3 w 23"/>
                <a:gd name="T21" fmla="*/ 30 h 42"/>
                <a:gd name="T22" fmla="*/ 3 w 23"/>
                <a:gd name="T23" fmla="*/ 17 h 42"/>
                <a:gd name="T24" fmla="*/ 0 w 23"/>
                <a:gd name="T25" fmla="*/ 10 h 42"/>
                <a:gd name="T26" fmla="*/ 3 w 23"/>
                <a:gd name="T27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42">
                  <a:moveTo>
                    <a:pt x="3" y="5"/>
                  </a:moveTo>
                  <a:lnTo>
                    <a:pt x="5" y="5"/>
                  </a:lnTo>
                  <a:lnTo>
                    <a:pt x="15" y="2"/>
                  </a:lnTo>
                  <a:lnTo>
                    <a:pt x="20" y="0"/>
                  </a:lnTo>
                  <a:lnTo>
                    <a:pt x="23" y="7"/>
                  </a:lnTo>
                  <a:lnTo>
                    <a:pt x="23" y="17"/>
                  </a:lnTo>
                  <a:lnTo>
                    <a:pt x="23" y="27"/>
                  </a:lnTo>
                  <a:lnTo>
                    <a:pt x="20" y="40"/>
                  </a:lnTo>
                  <a:lnTo>
                    <a:pt x="10" y="42"/>
                  </a:lnTo>
                  <a:lnTo>
                    <a:pt x="3" y="40"/>
                  </a:lnTo>
                  <a:lnTo>
                    <a:pt x="3" y="30"/>
                  </a:lnTo>
                  <a:lnTo>
                    <a:pt x="3" y="17"/>
                  </a:lnTo>
                  <a:lnTo>
                    <a:pt x="0" y="1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88"/>
            <p:cNvSpPr>
              <a:spLocks/>
            </p:cNvSpPr>
            <p:nvPr/>
          </p:nvSpPr>
          <p:spPr bwMode="auto">
            <a:xfrm>
              <a:off x="4748228" y="3102928"/>
              <a:ext cx="132410" cy="139605"/>
            </a:xfrm>
            <a:custGeom>
              <a:avLst/>
              <a:gdLst>
                <a:gd name="T0" fmla="*/ 42 w 92"/>
                <a:gd name="T1" fmla="*/ 72 h 97"/>
                <a:gd name="T2" fmla="*/ 20 w 92"/>
                <a:gd name="T3" fmla="*/ 67 h 97"/>
                <a:gd name="T4" fmla="*/ 20 w 92"/>
                <a:gd name="T5" fmla="*/ 57 h 97"/>
                <a:gd name="T6" fmla="*/ 2 w 92"/>
                <a:gd name="T7" fmla="*/ 42 h 97"/>
                <a:gd name="T8" fmla="*/ 0 w 92"/>
                <a:gd name="T9" fmla="*/ 27 h 97"/>
                <a:gd name="T10" fmla="*/ 17 w 92"/>
                <a:gd name="T11" fmla="*/ 15 h 97"/>
                <a:gd name="T12" fmla="*/ 30 w 92"/>
                <a:gd name="T13" fmla="*/ 17 h 97"/>
                <a:gd name="T14" fmla="*/ 47 w 92"/>
                <a:gd name="T15" fmla="*/ 5 h 97"/>
                <a:gd name="T16" fmla="*/ 57 w 92"/>
                <a:gd name="T17" fmla="*/ 5 h 97"/>
                <a:gd name="T18" fmla="*/ 72 w 92"/>
                <a:gd name="T19" fmla="*/ 10 h 97"/>
                <a:gd name="T20" fmla="*/ 84 w 92"/>
                <a:gd name="T21" fmla="*/ 0 h 97"/>
                <a:gd name="T22" fmla="*/ 92 w 92"/>
                <a:gd name="T23" fmla="*/ 0 h 97"/>
                <a:gd name="T24" fmla="*/ 92 w 92"/>
                <a:gd name="T25" fmla="*/ 17 h 97"/>
                <a:gd name="T26" fmla="*/ 82 w 92"/>
                <a:gd name="T27" fmla="*/ 20 h 97"/>
                <a:gd name="T28" fmla="*/ 77 w 92"/>
                <a:gd name="T29" fmla="*/ 25 h 97"/>
                <a:gd name="T30" fmla="*/ 70 w 92"/>
                <a:gd name="T31" fmla="*/ 30 h 97"/>
                <a:gd name="T32" fmla="*/ 74 w 92"/>
                <a:gd name="T33" fmla="*/ 37 h 97"/>
                <a:gd name="T34" fmla="*/ 62 w 92"/>
                <a:gd name="T35" fmla="*/ 42 h 97"/>
                <a:gd name="T36" fmla="*/ 57 w 92"/>
                <a:gd name="T37" fmla="*/ 37 h 97"/>
                <a:gd name="T38" fmla="*/ 50 w 92"/>
                <a:gd name="T39" fmla="*/ 37 h 97"/>
                <a:gd name="T40" fmla="*/ 57 w 92"/>
                <a:gd name="T41" fmla="*/ 47 h 97"/>
                <a:gd name="T42" fmla="*/ 47 w 92"/>
                <a:gd name="T43" fmla="*/ 57 h 97"/>
                <a:gd name="T44" fmla="*/ 60 w 92"/>
                <a:gd name="T45" fmla="*/ 62 h 97"/>
                <a:gd name="T46" fmla="*/ 77 w 92"/>
                <a:gd name="T47" fmla="*/ 72 h 97"/>
                <a:gd name="T48" fmla="*/ 79 w 92"/>
                <a:gd name="T49" fmla="*/ 82 h 97"/>
                <a:gd name="T50" fmla="*/ 72 w 92"/>
                <a:gd name="T51" fmla="*/ 80 h 97"/>
                <a:gd name="T52" fmla="*/ 57 w 92"/>
                <a:gd name="T53" fmla="*/ 87 h 97"/>
                <a:gd name="T54" fmla="*/ 62 w 92"/>
                <a:gd name="T55" fmla="*/ 97 h 97"/>
                <a:gd name="T56" fmla="*/ 32 w 92"/>
                <a:gd name="T57" fmla="*/ 97 h 97"/>
                <a:gd name="T58" fmla="*/ 32 w 92"/>
                <a:gd name="T59" fmla="*/ 87 h 97"/>
                <a:gd name="T60" fmla="*/ 22 w 92"/>
                <a:gd name="T61" fmla="*/ 82 h 97"/>
                <a:gd name="T62" fmla="*/ 32 w 92"/>
                <a:gd name="T63" fmla="*/ 75 h 97"/>
                <a:gd name="T64" fmla="*/ 40 w 92"/>
                <a:gd name="T65" fmla="*/ 75 h 97"/>
                <a:gd name="T66" fmla="*/ 42 w 92"/>
                <a:gd name="T6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2" h="97">
                  <a:moveTo>
                    <a:pt x="42" y="72"/>
                  </a:moveTo>
                  <a:lnTo>
                    <a:pt x="20" y="67"/>
                  </a:lnTo>
                  <a:lnTo>
                    <a:pt x="20" y="57"/>
                  </a:lnTo>
                  <a:lnTo>
                    <a:pt x="2" y="42"/>
                  </a:lnTo>
                  <a:lnTo>
                    <a:pt x="0" y="27"/>
                  </a:lnTo>
                  <a:lnTo>
                    <a:pt x="17" y="15"/>
                  </a:lnTo>
                  <a:lnTo>
                    <a:pt x="30" y="17"/>
                  </a:lnTo>
                  <a:lnTo>
                    <a:pt x="47" y="5"/>
                  </a:lnTo>
                  <a:lnTo>
                    <a:pt x="57" y="5"/>
                  </a:lnTo>
                  <a:lnTo>
                    <a:pt x="72" y="10"/>
                  </a:lnTo>
                  <a:lnTo>
                    <a:pt x="84" y="0"/>
                  </a:lnTo>
                  <a:lnTo>
                    <a:pt x="92" y="0"/>
                  </a:lnTo>
                  <a:lnTo>
                    <a:pt x="92" y="17"/>
                  </a:lnTo>
                  <a:lnTo>
                    <a:pt x="82" y="20"/>
                  </a:lnTo>
                  <a:lnTo>
                    <a:pt x="77" y="25"/>
                  </a:lnTo>
                  <a:lnTo>
                    <a:pt x="70" y="30"/>
                  </a:lnTo>
                  <a:lnTo>
                    <a:pt x="74" y="37"/>
                  </a:lnTo>
                  <a:lnTo>
                    <a:pt x="62" y="42"/>
                  </a:lnTo>
                  <a:lnTo>
                    <a:pt x="57" y="37"/>
                  </a:lnTo>
                  <a:lnTo>
                    <a:pt x="50" y="37"/>
                  </a:lnTo>
                  <a:lnTo>
                    <a:pt x="57" y="47"/>
                  </a:lnTo>
                  <a:lnTo>
                    <a:pt x="47" y="57"/>
                  </a:lnTo>
                  <a:lnTo>
                    <a:pt x="60" y="62"/>
                  </a:lnTo>
                  <a:lnTo>
                    <a:pt x="77" y="72"/>
                  </a:lnTo>
                  <a:lnTo>
                    <a:pt x="79" y="82"/>
                  </a:lnTo>
                  <a:lnTo>
                    <a:pt x="72" y="80"/>
                  </a:lnTo>
                  <a:lnTo>
                    <a:pt x="57" y="87"/>
                  </a:lnTo>
                  <a:lnTo>
                    <a:pt x="62" y="97"/>
                  </a:lnTo>
                  <a:lnTo>
                    <a:pt x="32" y="97"/>
                  </a:lnTo>
                  <a:lnTo>
                    <a:pt x="32" y="87"/>
                  </a:lnTo>
                  <a:lnTo>
                    <a:pt x="22" y="82"/>
                  </a:lnTo>
                  <a:lnTo>
                    <a:pt x="32" y="75"/>
                  </a:lnTo>
                  <a:lnTo>
                    <a:pt x="40" y="75"/>
                  </a:lnTo>
                  <a:lnTo>
                    <a:pt x="42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89"/>
            <p:cNvSpPr>
              <a:spLocks/>
            </p:cNvSpPr>
            <p:nvPr/>
          </p:nvSpPr>
          <p:spPr bwMode="auto">
            <a:xfrm>
              <a:off x="4404251" y="2645251"/>
              <a:ext cx="207250" cy="264819"/>
            </a:xfrm>
            <a:custGeom>
              <a:avLst/>
              <a:gdLst>
                <a:gd name="T0" fmla="*/ 144 w 144"/>
                <a:gd name="T1" fmla="*/ 89 h 184"/>
                <a:gd name="T2" fmla="*/ 135 w 144"/>
                <a:gd name="T3" fmla="*/ 57 h 184"/>
                <a:gd name="T4" fmla="*/ 137 w 144"/>
                <a:gd name="T5" fmla="*/ 22 h 184"/>
                <a:gd name="T6" fmla="*/ 132 w 144"/>
                <a:gd name="T7" fmla="*/ 17 h 184"/>
                <a:gd name="T8" fmla="*/ 90 w 144"/>
                <a:gd name="T9" fmla="*/ 25 h 184"/>
                <a:gd name="T10" fmla="*/ 80 w 144"/>
                <a:gd name="T11" fmla="*/ 15 h 184"/>
                <a:gd name="T12" fmla="*/ 72 w 144"/>
                <a:gd name="T13" fmla="*/ 0 h 184"/>
                <a:gd name="T14" fmla="*/ 52 w 144"/>
                <a:gd name="T15" fmla="*/ 5 h 184"/>
                <a:gd name="T16" fmla="*/ 52 w 144"/>
                <a:gd name="T17" fmla="*/ 22 h 184"/>
                <a:gd name="T18" fmla="*/ 52 w 144"/>
                <a:gd name="T19" fmla="*/ 30 h 184"/>
                <a:gd name="T20" fmla="*/ 45 w 144"/>
                <a:gd name="T21" fmla="*/ 30 h 184"/>
                <a:gd name="T22" fmla="*/ 25 w 144"/>
                <a:gd name="T23" fmla="*/ 37 h 184"/>
                <a:gd name="T24" fmla="*/ 25 w 144"/>
                <a:gd name="T25" fmla="*/ 57 h 184"/>
                <a:gd name="T26" fmla="*/ 15 w 144"/>
                <a:gd name="T27" fmla="*/ 72 h 184"/>
                <a:gd name="T28" fmla="*/ 3 w 144"/>
                <a:gd name="T29" fmla="*/ 82 h 184"/>
                <a:gd name="T30" fmla="*/ 0 w 144"/>
                <a:gd name="T31" fmla="*/ 102 h 184"/>
                <a:gd name="T32" fmla="*/ 10 w 144"/>
                <a:gd name="T33" fmla="*/ 107 h 184"/>
                <a:gd name="T34" fmla="*/ 8 w 144"/>
                <a:gd name="T35" fmla="*/ 119 h 184"/>
                <a:gd name="T36" fmla="*/ 23 w 144"/>
                <a:gd name="T37" fmla="*/ 127 h 184"/>
                <a:gd name="T38" fmla="*/ 38 w 144"/>
                <a:gd name="T39" fmla="*/ 142 h 184"/>
                <a:gd name="T40" fmla="*/ 30 w 144"/>
                <a:gd name="T41" fmla="*/ 152 h 184"/>
                <a:gd name="T42" fmla="*/ 33 w 144"/>
                <a:gd name="T43" fmla="*/ 179 h 184"/>
                <a:gd name="T44" fmla="*/ 43 w 144"/>
                <a:gd name="T45" fmla="*/ 179 h 184"/>
                <a:gd name="T46" fmla="*/ 55 w 144"/>
                <a:gd name="T47" fmla="*/ 176 h 184"/>
                <a:gd name="T48" fmla="*/ 65 w 144"/>
                <a:gd name="T49" fmla="*/ 181 h 184"/>
                <a:gd name="T50" fmla="*/ 72 w 144"/>
                <a:gd name="T51" fmla="*/ 184 h 184"/>
                <a:gd name="T52" fmla="*/ 80 w 144"/>
                <a:gd name="T53" fmla="*/ 184 h 184"/>
                <a:gd name="T54" fmla="*/ 102 w 144"/>
                <a:gd name="T55" fmla="*/ 176 h 184"/>
                <a:gd name="T56" fmla="*/ 117 w 144"/>
                <a:gd name="T57" fmla="*/ 164 h 184"/>
                <a:gd name="T58" fmla="*/ 122 w 144"/>
                <a:gd name="T59" fmla="*/ 159 h 184"/>
                <a:gd name="T60" fmla="*/ 125 w 144"/>
                <a:gd name="T61" fmla="*/ 142 h 184"/>
                <a:gd name="T62" fmla="*/ 97 w 144"/>
                <a:gd name="T63" fmla="*/ 109 h 184"/>
                <a:gd name="T64" fmla="*/ 144 w 144"/>
                <a:gd name="T65" fmla="*/ 8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84">
                  <a:moveTo>
                    <a:pt x="144" y="89"/>
                  </a:moveTo>
                  <a:lnTo>
                    <a:pt x="135" y="57"/>
                  </a:lnTo>
                  <a:lnTo>
                    <a:pt x="137" y="22"/>
                  </a:lnTo>
                  <a:lnTo>
                    <a:pt x="132" y="17"/>
                  </a:lnTo>
                  <a:lnTo>
                    <a:pt x="90" y="25"/>
                  </a:lnTo>
                  <a:lnTo>
                    <a:pt x="80" y="15"/>
                  </a:lnTo>
                  <a:lnTo>
                    <a:pt x="72" y="0"/>
                  </a:lnTo>
                  <a:lnTo>
                    <a:pt x="52" y="5"/>
                  </a:lnTo>
                  <a:lnTo>
                    <a:pt x="52" y="22"/>
                  </a:lnTo>
                  <a:lnTo>
                    <a:pt x="52" y="30"/>
                  </a:lnTo>
                  <a:lnTo>
                    <a:pt x="45" y="30"/>
                  </a:lnTo>
                  <a:lnTo>
                    <a:pt x="25" y="37"/>
                  </a:lnTo>
                  <a:lnTo>
                    <a:pt x="25" y="57"/>
                  </a:lnTo>
                  <a:lnTo>
                    <a:pt x="15" y="72"/>
                  </a:lnTo>
                  <a:lnTo>
                    <a:pt x="3" y="82"/>
                  </a:lnTo>
                  <a:lnTo>
                    <a:pt x="0" y="102"/>
                  </a:lnTo>
                  <a:lnTo>
                    <a:pt x="10" y="107"/>
                  </a:lnTo>
                  <a:lnTo>
                    <a:pt x="8" y="119"/>
                  </a:lnTo>
                  <a:lnTo>
                    <a:pt x="23" y="127"/>
                  </a:lnTo>
                  <a:lnTo>
                    <a:pt x="38" y="142"/>
                  </a:lnTo>
                  <a:lnTo>
                    <a:pt x="30" y="152"/>
                  </a:lnTo>
                  <a:lnTo>
                    <a:pt x="33" y="179"/>
                  </a:lnTo>
                  <a:lnTo>
                    <a:pt x="43" y="179"/>
                  </a:lnTo>
                  <a:lnTo>
                    <a:pt x="55" y="176"/>
                  </a:lnTo>
                  <a:lnTo>
                    <a:pt x="65" y="181"/>
                  </a:lnTo>
                  <a:lnTo>
                    <a:pt x="72" y="184"/>
                  </a:lnTo>
                  <a:lnTo>
                    <a:pt x="80" y="184"/>
                  </a:lnTo>
                  <a:lnTo>
                    <a:pt x="102" y="176"/>
                  </a:lnTo>
                  <a:lnTo>
                    <a:pt x="117" y="164"/>
                  </a:lnTo>
                  <a:lnTo>
                    <a:pt x="122" y="159"/>
                  </a:lnTo>
                  <a:lnTo>
                    <a:pt x="125" y="142"/>
                  </a:lnTo>
                  <a:lnTo>
                    <a:pt x="97" y="109"/>
                  </a:lnTo>
                  <a:lnTo>
                    <a:pt x="144" y="89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91"/>
            <p:cNvSpPr>
              <a:spLocks/>
            </p:cNvSpPr>
            <p:nvPr/>
          </p:nvSpPr>
          <p:spPr bwMode="auto">
            <a:xfrm>
              <a:off x="4598548" y="2645251"/>
              <a:ext cx="231717" cy="182782"/>
            </a:xfrm>
            <a:custGeom>
              <a:avLst/>
              <a:gdLst>
                <a:gd name="T0" fmla="*/ 9 w 161"/>
                <a:gd name="T1" fmla="*/ 89 h 127"/>
                <a:gd name="T2" fmla="*/ 0 w 161"/>
                <a:gd name="T3" fmla="*/ 57 h 127"/>
                <a:gd name="T4" fmla="*/ 2 w 161"/>
                <a:gd name="T5" fmla="*/ 22 h 127"/>
                <a:gd name="T6" fmla="*/ 52 w 161"/>
                <a:gd name="T7" fmla="*/ 0 h 127"/>
                <a:gd name="T8" fmla="*/ 69 w 161"/>
                <a:gd name="T9" fmla="*/ 7 h 127"/>
                <a:gd name="T10" fmla="*/ 94 w 161"/>
                <a:gd name="T11" fmla="*/ 2 h 127"/>
                <a:gd name="T12" fmla="*/ 124 w 161"/>
                <a:gd name="T13" fmla="*/ 15 h 127"/>
                <a:gd name="T14" fmla="*/ 146 w 161"/>
                <a:gd name="T15" fmla="*/ 35 h 127"/>
                <a:gd name="T16" fmla="*/ 146 w 161"/>
                <a:gd name="T17" fmla="*/ 60 h 127"/>
                <a:gd name="T18" fmla="*/ 159 w 161"/>
                <a:gd name="T19" fmla="*/ 60 h 127"/>
                <a:gd name="T20" fmla="*/ 159 w 161"/>
                <a:gd name="T21" fmla="*/ 79 h 127"/>
                <a:gd name="T22" fmla="*/ 161 w 161"/>
                <a:gd name="T23" fmla="*/ 112 h 127"/>
                <a:gd name="T24" fmla="*/ 146 w 161"/>
                <a:gd name="T25" fmla="*/ 122 h 127"/>
                <a:gd name="T26" fmla="*/ 119 w 161"/>
                <a:gd name="T27" fmla="*/ 124 h 127"/>
                <a:gd name="T28" fmla="*/ 89 w 161"/>
                <a:gd name="T29" fmla="*/ 127 h 127"/>
                <a:gd name="T30" fmla="*/ 69 w 161"/>
                <a:gd name="T31" fmla="*/ 114 h 127"/>
                <a:gd name="T32" fmla="*/ 27 w 161"/>
                <a:gd name="T33" fmla="*/ 102 h 127"/>
                <a:gd name="T34" fmla="*/ 9 w 161"/>
                <a:gd name="T35" fmla="*/ 8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27">
                  <a:moveTo>
                    <a:pt x="9" y="89"/>
                  </a:moveTo>
                  <a:lnTo>
                    <a:pt x="0" y="57"/>
                  </a:lnTo>
                  <a:lnTo>
                    <a:pt x="2" y="22"/>
                  </a:lnTo>
                  <a:lnTo>
                    <a:pt x="52" y="0"/>
                  </a:lnTo>
                  <a:lnTo>
                    <a:pt x="69" y="7"/>
                  </a:lnTo>
                  <a:lnTo>
                    <a:pt x="94" y="2"/>
                  </a:lnTo>
                  <a:lnTo>
                    <a:pt x="124" y="15"/>
                  </a:lnTo>
                  <a:lnTo>
                    <a:pt x="146" y="35"/>
                  </a:lnTo>
                  <a:lnTo>
                    <a:pt x="146" y="60"/>
                  </a:lnTo>
                  <a:lnTo>
                    <a:pt x="159" y="60"/>
                  </a:lnTo>
                  <a:lnTo>
                    <a:pt x="159" y="79"/>
                  </a:lnTo>
                  <a:lnTo>
                    <a:pt x="161" y="112"/>
                  </a:lnTo>
                  <a:lnTo>
                    <a:pt x="146" y="122"/>
                  </a:lnTo>
                  <a:lnTo>
                    <a:pt x="119" y="124"/>
                  </a:lnTo>
                  <a:lnTo>
                    <a:pt x="89" y="127"/>
                  </a:lnTo>
                  <a:lnTo>
                    <a:pt x="69" y="114"/>
                  </a:lnTo>
                  <a:lnTo>
                    <a:pt x="27" y="102"/>
                  </a:lnTo>
                  <a:lnTo>
                    <a:pt x="9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292"/>
            <p:cNvSpPr>
              <a:spLocks/>
            </p:cNvSpPr>
            <p:nvPr/>
          </p:nvSpPr>
          <p:spPr bwMode="auto">
            <a:xfrm>
              <a:off x="4533783" y="2091145"/>
              <a:ext cx="267698" cy="532517"/>
            </a:xfrm>
            <a:custGeom>
              <a:avLst/>
              <a:gdLst>
                <a:gd name="T0" fmla="*/ 0 w 186"/>
                <a:gd name="T1" fmla="*/ 288 h 370"/>
                <a:gd name="T2" fmla="*/ 7 w 186"/>
                <a:gd name="T3" fmla="*/ 276 h 370"/>
                <a:gd name="T4" fmla="*/ 12 w 186"/>
                <a:gd name="T5" fmla="*/ 253 h 370"/>
                <a:gd name="T6" fmla="*/ 30 w 186"/>
                <a:gd name="T7" fmla="*/ 243 h 370"/>
                <a:gd name="T8" fmla="*/ 25 w 186"/>
                <a:gd name="T9" fmla="*/ 223 h 370"/>
                <a:gd name="T10" fmla="*/ 15 w 186"/>
                <a:gd name="T11" fmla="*/ 203 h 370"/>
                <a:gd name="T12" fmla="*/ 12 w 186"/>
                <a:gd name="T13" fmla="*/ 184 h 370"/>
                <a:gd name="T14" fmla="*/ 7 w 186"/>
                <a:gd name="T15" fmla="*/ 151 h 370"/>
                <a:gd name="T16" fmla="*/ 12 w 186"/>
                <a:gd name="T17" fmla="*/ 139 h 370"/>
                <a:gd name="T18" fmla="*/ 30 w 186"/>
                <a:gd name="T19" fmla="*/ 141 h 370"/>
                <a:gd name="T20" fmla="*/ 37 w 186"/>
                <a:gd name="T21" fmla="*/ 136 h 370"/>
                <a:gd name="T22" fmla="*/ 27 w 186"/>
                <a:gd name="T23" fmla="*/ 126 h 370"/>
                <a:gd name="T24" fmla="*/ 35 w 186"/>
                <a:gd name="T25" fmla="*/ 111 h 370"/>
                <a:gd name="T26" fmla="*/ 37 w 186"/>
                <a:gd name="T27" fmla="*/ 87 h 370"/>
                <a:gd name="T28" fmla="*/ 47 w 186"/>
                <a:gd name="T29" fmla="*/ 84 h 370"/>
                <a:gd name="T30" fmla="*/ 52 w 186"/>
                <a:gd name="T31" fmla="*/ 69 h 370"/>
                <a:gd name="T32" fmla="*/ 62 w 186"/>
                <a:gd name="T33" fmla="*/ 69 h 370"/>
                <a:gd name="T34" fmla="*/ 67 w 186"/>
                <a:gd name="T35" fmla="*/ 52 h 370"/>
                <a:gd name="T36" fmla="*/ 74 w 186"/>
                <a:gd name="T37" fmla="*/ 47 h 370"/>
                <a:gd name="T38" fmla="*/ 77 w 186"/>
                <a:gd name="T39" fmla="*/ 32 h 370"/>
                <a:gd name="T40" fmla="*/ 87 w 186"/>
                <a:gd name="T41" fmla="*/ 34 h 370"/>
                <a:gd name="T42" fmla="*/ 97 w 186"/>
                <a:gd name="T43" fmla="*/ 29 h 370"/>
                <a:gd name="T44" fmla="*/ 107 w 186"/>
                <a:gd name="T45" fmla="*/ 20 h 370"/>
                <a:gd name="T46" fmla="*/ 119 w 186"/>
                <a:gd name="T47" fmla="*/ 20 h 370"/>
                <a:gd name="T48" fmla="*/ 136 w 186"/>
                <a:gd name="T49" fmla="*/ 20 h 370"/>
                <a:gd name="T50" fmla="*/ 144 w 186"/>
                <a:gd name="T51" fmla="*/ 7 h 370"/>
                <a:gd name="T52" fmla="*/ 154 w 186"/>
                <a:gd name="T53" fmla="*/ 0 h 370"/>
                <a:gd name="T54" fmla="*/ 169 w 186"/>
                <a:gd name="T55" fmla="*/ 15 h 370"/>
                <a:gd name="T56" fmla="*/ 184 w 186"/>
                <a:gd name="T57" fmla="*/ 27 h 370"/>
                <a:gd name="T58" fmla="*/ 184 w 186"/>
                <a:gd name="T59" fmla="*/ 39 h 370"/>
                <a:gd name="T60" fmla="*/ 186 w 186"/>
                <a:gd name="T61" fmla="*/ 77 h 370"/>
                <a:gd name="T62" fmla="*/ 174 w 186"/>
                <a:gd name="T63" fmla="*/ 84 h 370"/>
                <a:gd name="T64" fmla="*/ 161 w 186"/>
                <a:gd name="T65" fmla="*/ 97 h 370"/>
                <a:gd name="T66" fmla="*/ 154 w 186"/>
                <a:gd name="T67" fmla="*/ 116 h 370"/>
                <a:gd name="T68" fmla="*/ 156 w 186"/>
                <a:gd name="T69" fmla="*/ 131 h 370"/>
                <a:gd name="T70" fmla="*/ 139 w 186"/>
                <a:gd name="T71" fmla="*/ 144 h 370"/>
                <a:gd name="T72" fmla="*/ 129 w 186"/>
                <a:gd name="T73" fmla="*/ 156 h 370"/>
                <a:gd name="T74" fmla="*/ 104 w 186"/>
                <a:gd name="T75" fmla="*/ 161 h 370"/>
                <a:gd name="T76" fmla="*/ 94 w 186"/>
                <a:gd name="T77" fmla="*/ 181 h 370"/>
                <a:gd name="T78" fmla="*/ 94 w 186"/>
                <a:gd name="T79" fmla="*/ 216 h 370"/>
                <a:gd name="T80" fmla="*/ 107 w 186"/>
                <a:gd name="T81" fmla="*/ 233 h 370"/>
                <a:gd name="T82" fmla="*/ 114 w 186"/>
                <a:gd name="T83" fmla="*/ 246 h 370"/>
                <a:gd name="T84" fmla="*/ 84 w 186"/>
                <a:gd name="T85" fmla="*/ 261 h 370"/>
                <a:gd name="T86" fmla="*/ 99 w 186"/>
                <a:gd name="T87" fmla="*/ 261 h 370"/>
                <a:gd name="T88" fmla="*/ 107 w 186"/>
                <a:gd name="T89" fmla="*/ 268 h 370"/>
                <a:gd name="T90" fmla="*/ 112 w 186"/>
                <a:gd name="T91" fmla="*/ 281 h 370"/>
                <a:gd name="T92" fmla="*/ 99 w 186"/>
                <a:gd name="T93" fmla="*/ 288 h 370"/>
                <a:gd name="T94" fmla="*/ 87 w 186"/>
                <a:gd name="T95" fmla="*/ 300 h 370"/>
                <a:gd name="T96" fmla="*/ 87 w 186"/>
                <a:gd name="T97" fmla="*/ 325 h 370"/>
                <a:gd name="T98" fmla="*/ 74 w 186"/>
                <a:gd name="T99" fmla="*/ 335 h 370"/>
                <a:gd name="T100" fmla="*/ 69 w 186"/>
                <a:gd name="T101" fmla="*/ 348 h 370"/>
                <a:gd name="T102" fmla="*/ 54 w 186"/>
                <a:gd name="T103" fmla="*/ 358 h 370"/>
                <a:gd name="T104" fmla="*/ 47 w 186"/>
                <a:gd name="T105" fmla="*/ 370 h 370"/>
                <a:gd name="T106" fmla="*/ 27 w 186"/>
                <a:gd name="T107" fmla="*/ 363 h 370"/>
                <a:gd name="T108" fmla="*/ 30 w 186"/>
                <a:gd name="T109" fmla="*/ 338 h 370"/>
                <a:gd name="T110" fmla="*/ 20 w 186"/>
                <a:gd name="T111" fmla="*/ 335 h 370"/>
                <a:gd name="T112" fmla="*/ 15 w 186"/>
                <a:gd name="T113" fmla="*/ 320 h 370"/>
                <a:gd name="T114" fmla="*/ 7 w 186"/>
                <a:gd name="T115" fmla="*/ 303 h 370"/>
                <a:gd name="T116" fmla="*/ 0 w 186"/>
                <a:gd name="T117" fmla="*/ 28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" h="370">
                  <a:moveTo>
                    <a:pt x="0" y="288"/>
                  </a:moveTo>
                  <a:lnTo>
                    <a:pt x="7" y="276"/>
                  </a:lnTo>
                  <a:lnTo>
                    <a:pt x="12" y="253"/>
                  </a:lnTo>
                  <a:lnTo>
                    <a:pt x="30" y="243"/>
                  </a:lnTo>
                  <a:lnTo>
                    <a:pt x="25" y="223"/>
                  </a:lnTo>
                  <a:lnTo>
                    <a:pt x="15" y="203"/>
                  </a:lnTo>
                  <a:lnTo>
                    <a:pt x="12" y="184"/>
                  </a:lnTo>
                  <a:lnTo>
                    <a:pt x="7" y="151"/>
                  </a:lnTo>
                  <a:lnTo>
                    <a:pt x="12" y="139"/>
                  </a:lnTo>
                  <a:lnTo>
                    <a:pt x="30" y="141"/>
                  </a:lnTo>
                  <a:lnTo>
                    <a:pt x="37" y="136"/>
                  </a:lnTo>
                  <a:lnTo>
                    <a:pt x="27" y="126"/>
                  </a:lnTo>
                  <a:lnTo>
                    <a:pt x="35" y="111"/>
                  </a:lnTo>
                  <a:lnTo>
                    <a:pt x="37" y="87"/>
                  </a:lnTo>
                  <a:lnTo>
                    <a:pt x="47" y="84"/>
                  </a:lnTo>
                  <a:lnTo>
                    <a:pt x="52" y="69"/>
                  </a:lnTo>
                  <a:lnTo>
                    <a:pt x="62" y="6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77" y="32"/>
                  </a:lnTo>
                  <a:lnTo>
                    <a:pt x="87" y="34"/>
                  </a:lnTo>
                  <a:lnTo>
                    <a:pt x="97" y="29"/>
                  </a:lnTo>
                  <a:lnTo>
                    <a:pt x="107" y="20"/>
                  </a:lnTo>
                  <a:lnTo>
                    <a:pt x="119" y="20"/>
                  </a:lnTo>
                  <a:lnTo>
                    <a:pt x="136" y="20"/>
                  </a:lnTo>
                  <a:lnTo>
                    <a:pt x="144" y="7"/>
                  </a:lnTo>
                  <a:lnTo>
                    <a:pt x="154" y="0"/>
                  </a:lnTo>
                  <a:lnTo>
                    <a:pt x="169" y="15"/>
                  </a:lnTo>
                  <a:lnTo>
                    <a:pt x="184" y="27"/>
                  </a:lnTo>
                  <a:lnTo>
                    <a:pt x="184" y="39"/>
                  </a:lnTo>
                  <a:lnTo>
                    <a:pt x="186" y="77"/>
                  </a:lnTo>
                  <a:lnTo>
                    <a:pt x="174" y="84"/>
                  </a:lnTo>
                  <a:lnTo>
                    <a:pt x="161" y="97"/>
                  </a:lnTo>
                  <a:lnTo>
                    <a:pt x="154" y="116"/>
                  </a:lnTo>
                  <a:lnTo>
                    <a:pt x="156" y="131"/>
                  </a:lnTo>
                  <a:lnTo>
                    <a:pt x="139" y="144"/>
                  </a:lnTo>
                  <a:lnTo>
                    <a:pt x="129" y="156"/>
                  </a:lnTo>
                  <a:lnTo>
                    <a:pt x="104" y="161"/>
                  </a:lnTo>
                  <a:lnTo>
                    <a:pt x="94" y="181"/>
                  </a:lnTo>
                  <a:lnTo>
                    <a:pt x="94" y="216"/>
                  </a:lnTo>
                  <a:lnTo>
                    <a:pt x="107" y="233"/>
                  </a:lnTo>
                  <a:lnTo>
                    <a:pt x="114" y="246"/>
                  </a:lnTo>
                  <a:lnTo>
                    <a:pt x="84" y="261"/>
                  </a:lnTo>
                  <a:lnTo>
                    <a:pt x="99" y="261"/>
                  </a:lnTo>
                  <a:lnTo>
                    <a:pt x="107" y="268"/>
                  </a:lnTo>
                  <a:lnTo>
                    <a:pt x="112" y="281"/>
                  </a:lnTo>
                  <a:lnTo>
                    <a:pt x="99" y="288"/>
                  </a:lnTo>
                  <a:lnTo>
                    <a:pt x="87" y="300"/>
                  </a:lnTo>
                  <a:lnTo>
                    <a:pt x="87" y="325"/>
                  </a:lnTo>
                  <a:lnTo>
                    <a:pt x="74" y="335"/>
                  </a:lnTo>
                  <a:lnTo>
                    <a:pt x="69" y="348"/>
                  </a:lnTo>
                  <a:lnTo>
                    <a:pt x="54" y="358"/>
                  </a:lnTo>
                  <a:lnTo>
                    <a:pt x="47" y="370"/>
                  </a:lnTo>
                  <a:lnTo>
                    <a:pt x="27" y="363"/>
                  </a:lnTo>
                  <a:lnTo>
                    <a:pt x="30" y="338"/>
                  </a:lnTo>
                  <a:lnTo>
                    <a:pt x="20" y="335"/>
                  </a:lnTo>
                  <a:lnTo>
                    <a:pt x="15" y="320"/>
                  </a:lnTo>
                  <a:lnTo>
                    <a:pt x="7" y="303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293"/>
            <p:cNvSpPr>
              <a:spLocks/>
            </p:cNvSpPr>
            <p:nvPr/>
          </p:nvSpPr>
          <p:spPr bwMode="auto">
            <a:xfrm>
              <a:off x="4748228" y="2895678"/>
              <a:ext cx="207250" cy="146802"/>
            </a:xfrm>
            <a:custGeom>
              <a:avLst/>
              <a:gdLst>
                <a:gd name="T0" fmla="*/ 50 w 144"/>
                <a:gd name="T1" fmla="*/ 82 h 102"/>
                <a:gd name="T2" fmla="*/ 40 w 144"/>
                <a:gd name="T3" fmla="*/ 74 h 102"/>
                <a:gd name="T4" fmla="*/ 22 w 144"/>
                <a:gd name="T5" fmla="*/ 65 h 102"/>
                <a:gd name="T6" fmla="*/ 5 w 144"/>
                <a:gd name="T7" fmla="*/ 52 h 102"/>
                <a:gd name="T8" fmla="*/ 0 w 144"/>
                <a:gd name="T9" fmla="*/ 37 h 102"/>
                <a:gd name="T10" fmla="*/ 17 w 144"/>
                <a:gd name="T11" fmla="*/ 32 h 102"/>
                <a:gd name="T12" fmla="*/ 30 w 144"/>
                <a:gd name="T13" fmla="*/ 12 h 102"/>
                <a:gd name="T14" fmla="*/ 37 w 144"/>
                <a:gd name="T15" fmla="*/ 0 h 102"/>
                <a:gd name="T16" fmla="*/ 62 w 144"/>
                <a:gd name="T17" fmla="*/ 0 h 102"/>
                <a:gd name="T18" fmla="*/ 72 w 144"/>
                <a:gd name="T19" fmla="*/ 7 h 102"/>
                <a:gd name="T20" fmla="*/ 97 w 144"/>
                <a:gd name="T21" fmla="*/ 7 h 102"/>
                <a:gd name="T22" fmla="*/ 107 w 144"/>
                <a:gd name="T23" fmla="*/ 5 h 102"/>
                <a:gd name="T24" fmla="*/ 132 w 144"/>
                <a:gd name="T25" fmla="*/ 27 h 102"/>
                <a:gd name="T26" fmla="*/ 134 w 144"/>
                <a:gd name="T27" fmla="*/ 50 h 102"/>
                <a:gd name="T28" fmla="*/ 144 w 144"/>
                <a:gd name="T29" fmla="*/ 72 h 102"/>
                <a:gd name="T30" fmla="*/ 142 w 144"/>
                <a:gd name="T31" fmla="*/ 84 h 102"/>
                <a:gd name="T32" fmla="*/ 127 w 144"/>
                <a:gd name="T33" fmla="*/ 94 h 102"/>
                <a:gd name="T34" fmla="*/ 112 w 144"/>
                <a:gd name="T35" fmla="*/ 97 h 102"/>
                <a:gd name="T36" fmla="*/ 87 w 144"/>
                <a:gd name="T37" fmla="*/ 102 h 102"/>
                <a:gd name="T38" fmla="*/ 79 w 144"/>
                <a:gd name="T39" fmla="*/ 87 h 102"/>
                <a:gd name="T40" fmla="*/ 60 w 144"/>
                <a:gd name="T41" fmla="*/ 79 h 102"/>
                <a:gd name="T42" fmla="*/ 55 w 144"/>
                <a:gd name="T43" fmla="*/ 87 h 102"/>
                <a:gd name="T44" fmla="*/ 50 w 144"/>
                <a:gd name="T4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" h="102">
                  <a:moveTo>
                    <a:pt x="50" y="82"/>
                  </a:moveTo>
                  <a:lnTo>
                    <a:pt x="40" y="74"/>
                  </a:lnTo>
                  <a:lnTo>
                    <a:pt x="22" y="65"/>
                  </a:lnTo>
                  <a:lnTo>
                    <a:pt x="5" y="52"/>
                  </a:lnTo>
                  <a:lnTo>
                    <a:pt x="0" y="37"/>
                  </a:lnTo>
                  <a:lnTo>
                    <a:pt x="17" y="32"/>
                  </a:lnTo>
                  <a:lnTo>
                    <a:pt x="30" y="12"/>
                  </a:lnTo>
                  <a:lnTo>
                    <a:pt x="37" y="0"/>
                  </a:lnTo>
                  <a:lnTo>
                    <a:pt x="62" y="0"/>
                  </a:lnTo>
                  <a:lnTo>
                    <a:pt x="72" y="7"/>
                  </a:lnTo>
                  <a:lnTo>
                    <a:pt x="97" y="7"/>
                  </a:lnTo>
                  <a:lnTo>
                    <a:pt x="107" y="5"/>
                  </a:lnTo>
                  <a:lnTo>
                    <a:pt x="132" y="27"/>
                  </a:lnTo>
                  <a:lnTo>
                    <a:pt x="134" y="50"/>
                  </a:lnTo>
                  <a:lnTo>
                    <a:pt x="144" y="72"/>
                  </a:lnTo>
                  <a:lnTo>
                    <a:pt x="142" y="84"/>
                  </a:lnTo>
                  <a:lnTo>
                    <a:pt x="127" y="94"/>
                  </a:lnTo>
                  <a:lnTo>
                    <a:pt x="112" y="97"/>
                  </a:lnTo>
                  <a:lnTo>
                    <a:pt x="87" y="102"/>
                  </a:lnTo>
                  <a:lnTo>
                    <a:pt x="79" y="87"/>
                  </a:lnTo>
                  <a:lnTo>
                    <a:pt x="60" y="79"/>
                  </a:lnTo>
                  <a:lnTo>
                    <a:pt x="55" y="87"/>
                  </a:lnTo>
                  <a:lnTo>
                    <a:pt x="50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94"/>
            <p:cNvSpPr>
              <a:spLocks/>
            </p:cNvSpPr>
            <p:nvPr/>
          </p:nvSpPr>
          <p:spPr bwMode="auto">
            <a:xfrm>
              <a:off x="4880638" y="3100050"/>
              <a:ext cx="53252" cy="34542"/>
            </a:xfrm>
            <a:custGeom>
              <a:avLst/>
              <a:gdLst>
                <a:gd name="T0" fmla="*/ 7 w 37"/>
                <a:gd name="T1" fmla="*/ 24 h 24"/>
                <a:gd name="T2" fmla="*/ 25 w 37"/>
                <a:gd name="T3" fmla="*/ 24 h 24"/>
                <a:gd name="T4" fmla="*/ 37 w 37"/>
                <a:gd name="T5" fmla="*/ 15 h 24"/>
                <a:gd name="T6" fmla="*/ 17 w 37"/>
                <a:gd name="T7" fmla="*/ 0 h 24"/>
                <a:gd name="T8" fmla="*/ 0 w 37"/>
                <a:gd name="T9" fmla="*/ 2 h 24"/>
                <a:gd name="T10" fmla="*/ 0 w 37"/>
                <a:gd name="T11" fmla="*/ 19 h 24"/>
                <a:gd name="T12" fmla="*/ 7 w 37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4">
                  <a:moveTo>
                    <a:pt x="7" y="24"/>
                  </a:moveTo>
                  <a:lnTo>
                    <a:pt x="25" y="24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95"/>
            <p:cNvSpPr>
              <a:spLocks/>
            </p:cNvSpPr>
            <p:nvPr/>
          </p:nvSpPr>
          <p:spPr bwMode="auto">
            <a:xfrm>
              <a:off x="4909423" y="3081339"/>
              <a:ext cx="467752" cy="207250"/>
            </a:xfrm>
            <a:custGeom>
              <a:avLst/>
              <a:gdLst>
                <a:gd name="T0" fmla="*/ 164 w 325"/>
                <a:gd name="T1" fmla="*/ 137 h 144"/>
                <a:gd name="T2" fmla="*/ 179 w 325"/>
                <a:gd name="T3" fmla="*/ 134 h 144"/>
                <a:gd name="T4" fmla="*/ 209 w 325"/>
                <a:gd name="T5" fmla="*/ 129 h 144"/>
                <a:gd name="T6" fmla="*/ 226 w 325"/>
                <a:gd name="T7" fmla="*/ 129 h 144"/>
                <a:gd name="T8" fmla="*/ 251 w 325"/>
                <a:gd name="T9" fmla="*/ 124 h 144"/>
                <a:gd name="T10" fmla="*/ 256 w 325"/>
                <a:gd name="T11" fmla="*/ 144 h 144"/>
                <a:gd name="T12" fmla="*/ 268 w 325"/>
                <a:gd name="T13" fmla="*/ 134 h 144"/>
                <a:gd name="T14" fmla="*/ 281 w 325"/>
                <a:gd name="T15" fmla="*/ 122 h 144"/>
                <a:gd name="T16" fmla="*/ 296 w 325"/>
                <a:gd name="T17" fmla="*/ 117 h 144"/>
                <a:gd name="T18" fmla="*/ 303 w 325"/>
                <a:gd name="T19" fmla="*/ 129 h 144"/>
                <a:gd name="T20" fmla="*/ 325 w 325"/>
                <a:gd name="T21" fmla="*/ 132 h 144"/>
                <a:gd name="T22" fmla="*/ 320 w 325"/>
                <a:gd name="T23" fmla="*/ 110 h 144"/>
                <a:gd name="T24" fmla="*/ 311 w 325"/>
                <a:gd name="T25" fmla="*/ 85 h 144"/>
                <a:gd name="T26" fmla="*/ 303 w 325"/>
                <a:gd name="T27" fmla="*/ 62 h 144"/>
                <a:gd name="T28" fmla="*/ 311 w 325"/>
                <a:gd name="T29" fmla="*/ 55 h 144"/>
                <a:gd name="T30" fmla="*/ 296 w 325"/>
                <a:gd name="T31" fmla="*/ 40 h 144"/>
                <a:gd name="T32" fmla="*/ 281 w 325"/>
                <a:gd name="T33" fmla="*/ 15 h 144"/>
                <a:gd name="T34" fmla="*/ 258 w 325"/>
                <a:gd name="T35" fmla="*/ 18 h 144"/>
                <a:gd name="T36" fmla="*/ 248 w 325"/>
                <a:gd name="T37" fmla="*/ 30 h 144"/>
                <a:gd name="T38" fmla="*/ 214 w 325"/>
                <a:gd name="T39" fmla="*/ 32 h 144"/>
                <a:gd name="T40" fmla="*/ 196 w 325"/>
                <a:gd name="T41" fmla="*/ 32 h 144"/>
                <a:gd name="T42" fmla="*/ 181 w 325"/>
                <a:gd name="T43" fmla="*/ 25 h 144"/>
                <a:gd name="T44" fmla="*/ 166 w 325"/>
                <a:gd name="T45" fmla="*/ 25 h 144"/>
                <a:gd name="T46" fmla="*/ 154 w 325"/>
                <a:gd name="T47" fmla="*/ 10 h 144"/>
                <a:gd name="T48" fmla="*/ 137 w 325"/>
                <a:gd name="T49" fmla="*/ 0 h 144"/>
                <a:gd name="T50" fmla="*/ 119 w 325"/>
                <a:gd name="T51" fmla="*/ 10 h 144"/>
                <a:gd name="T52" fmla="*/ 97 w 325"/>
                <a:gd name="T53" fmla="*/ 13 h 144"/>
                <a:gd name="T54" fmla="*/ 79 w 325"/>
                <a:gd name="T55" fmla="*/ 18 h 144"/>
                <a:gd name="T56" fmla="*/ 54 w 325"/>
                <a:gd name="T57" fmla="*/ 20 h 144"/>
                <a:gd name="T58" fmla="*/ 42 w 325"/>
                <a:gd name="T59" fmla="*/ 20 h 144"/>
                <a:gd name="T60" fmla="*/ 22 w 325"/>
                <a:gd name="T61" fmla="*/ 28 h 144"/>
                <a:gd name="T62" fmla="*/ 35 w 325"/>
                <a:gd name="T63" fmla="*/ 32 h 144"/>
                <a:gd name="T64" fmla="*/ 22 w 325"/>
                <a:gd name="T65" fmla="*/ 40 h 144"/>
                <a:gd name="T66" fmla="*/ 17 w 325"/>
                <a:gd name="T67" fmla="*/ 50 h 144"/>
                <a:gd name="T68" fmla="*/ 5 w 325"/>
                <a:gd name="T69" fmla="*/ 60 h 144"/>
                <a:gd name="T70" fmla="*/ 2 w 325"/>
                <a:gd name="T71" fmla="*/ 70 h 144"/>
                <a:gd name="T72" fmla="*/ 0 w 325"/>
                <a:gd name="T73" fmla="*/ 77 h 144"/>
                <a:gd name="T74" fmla="*/ 7 w 325"/>
                <a:gd name="T75" fmla="*/ 80 h 144"/>
                <a:gd name="T76" fmla="*/ 7 w 325"/>
                <a:gd name="T77" fmla="*/ 92 h 144"/>
                <a:gd name="T78" fmla="*/ 15 w 325"/>
                <a:gd name="T79" fmla="*/ 97 h 144"/>
                <a:gd name="T80" fmla="*/ 12 w 325"/>
                <a:gd name="T81" fmla="*/ 110 h 144"/>
                <a:gd name="T82" fmla="*/ 20 w 325"/>
                <a:gd name="T83" fmla="*/ 117 h 144"/>
                <a:gd name="T84" fmla="*/ 27 w 325"/>
                <a:gd name="T85" fmla="*/ 117 h 144"/>
                <a:gd name="T86" fmla="*/ 30 w 325"/>
                <a:gd name="T87" fmla="*/ 124 h 144"/>
                <a:gd name="T88" fmla="*/ 45 w 325"/>
                <a:gd name="T89" fmla="*/ 129 h 144"/>
                <a:gd name="T90" fmla="*/ 54 w 325"/>
                <a:gd name="T91" fmla="*/ 142 h 144"/>
                <a:gd name="T92" fmla="*/ 67 w 325"/>
                <a:gd name="T93" fmla="*/ 137 h 144"/>
                <a:gd name="T94" fmla="*/ 74 w 325"/>
                <a:gd name="T95" fmla="*/ 132 h 144"/>
                <a:gd name="T96" fmla="*/ 82 w 325"/>
                <a:gd name="T97" fmla="*/ 124 h 144"/>
                <a:gd name="T98" fmla="*/ 104 w 325"/>
                <a:gd name="T99" fmla="*/ 137 h 144"/>
                <a:gd name="T100" fmla="*/ 124 w 325"/>
                <a:gd name="T101" fmla="*/ 139 h 144"/>
                <a:gd name="T102" fmla="*/ 149 w 325"/>
                <a:gd name="T103" fmla="*/ 137 h 144"/>
                <a:gd name="T104" fmla="*/ 159 w 325"/>
                <a:gd name="T105" fmla="*/ 137 h 144"/>
                <a:gd name="T106" fmla="*/ 164 w 325"/>
                <a:gd name="T107" fmla="*/ 1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5" h="144">
                  <a:moveTo>
                    <a:pt x="164" y="137"/>
                  </a:moveTo>
                  <a:lnTo>
                    <a:pt x="179" y="134"/>
                  </a:lnTo>
                  <a:lnTo>
                    <a:pt x="209" y="129"/>
                  </a:lnTo>
                  <a:lnTo>
                    <a:pt x="226" y="129"/>
                  </a:lnTo>
                  <a:lnTo>
                    <a:pt x="251" y="124"/>
                  </a:lnTo>
                  <a:lnTo>
                    <a:pt x="256" y="144"/>
                  </a:lnTo>
                  <a:lnTo>
                    <a:pt x="268" y="134"/>
                  </a:lnTo>
                  <a:lnTo>
                    <a:pt x="281" y="122"/>
                  </a:lnTo>
                  <a:lnTo>
                    <a:pt x="296" y="117"/>
                  </a:lnTo>
                  <a:lnTo>
                    <a:pt x="303" y="129"/>
                  </a:lnTo>
                  <a:lnTo>
                    <a:pt x="325" y="132"/>
                  </a:lnTo>
                  <a:lnTo>
                    <a:pt x="320" y="110"/>
                  </a:lnTo>
                  <a:lnTo>
                    <a:pt x="311" y="85"/>
                  </a:lnTo>
                  <a:lnTo>
                    <a:pt x="303" y="62"/>
                  </a:lnTo>
                  <a:lnTo>
                    <a:pt x="311" y="55"/>
                  </a:lnTo>
                  <a:lnTo>
                    <a:pt x="296" y="40"/>
                  </a:lnTo>
                  <a:lnTo>
                    <a:pt x="281" y="15"/>
                  </a:lnTo>
                  <a:lnTo>
                    <a:pt x="258" y="18"/>
                  </a:lnTo>
                  <a:lnTo>
                    <a:pt x="248" y="30"/>
                  </a:lnTo>
                  <a:lnTo>
                    <a:pt x="214" y="32"/>
                  </a:lnTo>
                  <a:lnTo>
                    <a:pt x="196" y="32"/>
                  </a:lnTo>
                  <a:lnTo>
                    <a:pt x="181" y="25"/>
                  </a:lnTo>
                  <a:lnTo>
                    <a:pt x="166" y="25"/>
                  </a:lnTo>
                  <a:lnTo>
                    <a:pt x="154" y="10"/>
                  </a:lnTo>
                  <a:lnTo>
                    <a:pt x="137" y="0"/>
                  </a:lnTo>
                  <a:lnTo>
                    <a:pt x="119" y="10"/>
                  </a:lnTo>
                  <a:lnTo>
                    <a:pt x="97" y="13"/>
                  </a:lnTo>
                  <a:lnTo>
                    <a:pt x="79" y="18"/>
                  </a:lnTo>
                  <a:lnTo>
                    <a:pt x="54" y="20"/>
                  </a:lnTo>
                  <a:lnTo>
                    <a:pt x="42" y="20"/>
                  </a:lnTo>
                  <a:lnTo>
                    <a:pt x="22" y="28"/>
                  </a:lnTo>
                  <a:lnTo>
                    <a:pt x="35" y="32"/>
                  </a:lnTo>
                  <a:lnTo>
                    <a:pt x="22" y="40"/>
                  </a:lnTo>
                  <a:lnTo>
                    <a:pt x="17" y="50"/>
                  </a:lnTo>
                  <a:lnTo>
                    <a:pt x="5" y="60"/>
                  </a:lnTo>
                  <a:lnTo>
                    <a:pt x="2" y="70"/>
                  </a:lnTo>
                  <a:lnTo>
                    <a:pt x="0" y="77"/>
                  </a:lnTo>
                  <a:lnTo>
                    <a:pt x="7" y="80"/>
                  </a:lnTo>
                  <a:lnTo>
                    <a:pt x="7" y="92"/>
                  </a:lnTo>
                  <a:lnTo>
                    <a:pt x="15" y="97"/>
                  </a:lnTo>
                  <a:lnTo>
                    <a:pt x="12" y="110"/>
                  </a:lnTo>
                  <a:lnTo>
                    <a:pt x="20" y="117"/>
                  </a:lnTo>
                  <a:lnTo>
                    <a:pt x="27" y="117"/>
                  </a:lnTo>
                  <a:lnTo>
                    <a:pt x="30" y="124"/>
                  </a:lnTo>
                  <a:lnTo>
                    <a:pt x="45" y="129"/>
                  </a:lnTo>
                  <a:lnTo>
                    <a:pt x="54" y="142"/>
                  </a:lnTo>
                  <a:lnTo>
                    <a:pt x="67" y="137"/>
                  </a:lnTo>
                  <a:lnTo>
                    <a:pt x="74" y="132"/>
                  </a:lnTo>
                  <a:lnTo>
                    <a:pt x="82" y="124"/>
                  </a:lnTo>
                  <a:lnTo>
                    <a:pt x="104" y="137"/>
                  </a:lnTo>
                  <a:lnTo>
                    <a:pt x="124" y="139"/>
                  </a:lnTo>
                  <a:lnTo>
                    <a:pt x="149" y="137"/>
                  </a:lnTo>
                  <a:lnTo>
                    <a:pt x="159" y="137"/>
                  </a:lnTo>
                  <a:lnTo>
                    <a:pt x="164" y="1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296"/>
            <p:cNvSpPr>
              <a:spLocks/>
            </p:cNvSpPr>
            <p:nvPr/>
          </p:nvSpPr>
          <p:spPr bwMode="auto">
            <a:xfrm>
              <a:off x="4401373" y="2799249"/>
              <a:ext cx="35980" cy="31663"/>
            </a:xfrm>
            <a:custGeom>
              <a:avLst/>
              <a:gdLst>
                <a:gd name="T0" fmla="*/ 25 w 25"/>
                <a:gd name="T1" fmla="*/ 20 h 22"/>
                <a:gd name="T2" fmla="*/ 0 w 25"/>
                <a:gd name="T3" fmla="*/ 22 h 22"/>
                <a:gd name="T4" fmla="*/ 2 w 25"/>
                <a:gd name="T5" fmla="*/ 12 h 22"/>
                <a:gd name="T6" fmla="*/ 12 w 25"/>
                <a:gd name="T7" fmla="*/ 0 h 22"/>
                <a:gd name="T8" fmla="*/ 10 w 25"/>
                <a:gd name="T9" fmla="*/ 12 h 22"/>
                <a:gd name="T10" fmla="*/ 25 w 25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2">
                  <a:moveTo>
                    <a:pt x="25" y="20"/>
                  </a:moveTo>
                  <a:lnTo>
                    <a:pt x="0" y="22"/>
                  </a:lnTo>
                  <a:lnTo>
                    <a:pt x="2" y="12"/>
                  </a:lnTo>
                  <a:lnTo>
                    <a:pt x="12" y="0"/>
                  </a:lnTo>
                  <a:lnTo>
                    <a:pt x="10" y="12"/>
                  </a:lnTo>
                  <a:lnTo>
                    <a:pt x="2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297"/>
            <p:cNvSpPr>
              <a:spLocks/>
            </p:cNvSpPr>
            <p:nvPr/>
          </p:nvSpPr>
          <p:spPr bwMode="auto">
            <a:xfrm>
              <a:off x="1252326" y="2823717"/>
              <a:ext cx="60448" cy="64765"/>
            </a:xfrm>
            <a:custGeom>
              <a:avLst/>
              <a:gdLst>
                <a:gd name="T0" fmla="*/ 0 w 42"/>
                <a:gd name="T1" fmla="*/ 10 h 45"/>
                <a:gd name="T2" fmla="*/ 10 w 42"/>
                <a:gd name="T3" fmla="*/ 0 h 45"/>
                <a:gd name="T4" fmla="*/ 35 w 42"/>
                <a:gd name="T5" fmla="*/ 23 h 45"/>
                <a:gd name="T6" fmla="*/ 42 w 42"/>
                <a:gd name="T7" fmla="*/ 37 h 45"/>
                <a:gd name="T8" fmla="*/ 25 w 42"/>
                <a:gd name="T9" fmla="*/ 45 h 45"/>
                <a:gd name="T10" fmla="*/ 8 w 42"/>
                <a:gd name="T11" fmla="*/ 25 h 45"/>
                <a:gd name="T12" fmla="*/ 0 w 42"/>
                <a:gd name="T13" fmla="*/ 1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0" y="10"/>
                  </a:moveTo>
                  <a:lnTo>
                    <a:pt x="10" y="0"/>
                  </a:lnTo>
                  <a:lnTo>
                    <a:pt x="35" y="23"/>
                  </a:lnTo>
                  <a:lnTo>
                    <a:pt x="42" y="37"/>
                  </a:lnTo>
                  <a:lnTo>
                    <a:pt x="25" y="45"/>
                  </a:lnTo>
                  <a:lnTo>
                    <a:pt x="8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298"/>
            <p:cNvSpPr>
              <a:spLocks/>
            </p:cNvSpPr>
            <p:nvPr/>
          </p:nvSpPr>
          <p:spPr bwMode="auto">
            <a:xfrm>
              <a:off x="4841779" y="3252609"/>
              <a:ext cx="63326" cy="18710"/>
            </a:xfrm>
            <a:custGeom>
              <a:avLst/>
              <a:gdLst>
                <a:gd name="T0" fmla="*/ 22 w 44"/>
                <a:gd name="T1" fmla="*/ 13 h 13"/>
                <a:gd name="T2" fmla="*/ 12 w 44"/>
                <a:gd name="T3" fmla="*/ 10 h 13"/>
                <a:gd name="T4" fmla="*/ 2 w 44"/>
                <a:gd name="T5" fmla="*/ 8 h 13"/>
                <a:gd name="T6" fmla="*/ 0 w 44"/>
                <a:gd name="T7" fmla="*/ 8 h 13"/>
                <a:gd name="T8" fmla="*/ 2 w 44"/>
                <a:gd name="T9" fmla="*/ 5 h 13"/>
                <a:gd name="T10" fmla="*/ 7 w 44"/>
                <a:gd name="T11" fmla="*/ 5 h 13"/>
                <a:gd name="T12" fmla="*/ 19 w 44"/>
                <a:gd name="T13" fmla="*/ 3 h 13"/>
                <a:gd name="T14" fmla="*/ 29 w 44"/>
                <a:gd name="T15" fmla="*/ 3 h 13"/>
                <a:gd name="T16" fmla="*/ 37 w 44"/>
                <a:gd name="T17" fmla="*/ 0 h 13"/>
                <a:gd name="T18" fmla="*/ 39 w 44"/>
                <a:gd name="T19" fmla="*/ 0 h 13"/>
                <a:gd name="T20" fmla="*/ 42 w 44"/>
                <a:gd name="T21" fmla="*/ 3 h 13"/>
                <a:gd name="T22" fmla="*/ 44 w 44"/>
                <a:gd name="T23" fmla="*/ 8 h 13"/>
                <a:gd name="T24" fmla="*/ 42 w 44"/>
                <a:gd name="T25" fmla="*/ 10 h 13"/>
                <a:gd name="T26" fmla="*/ 37 w 44"/>
                <a:gd name="T27" fmla="*/ 13 h 13"/>
                <a:gd name="T28" fmla="*/ 24 w 44"/>
                <a:gd name="T29" fmla="*/ 13 h 13"/>
                <a:gd name="T30" fmla="*/ 22 w 44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13">
                  <a:moveTo>
                    <a:pt x="22" y="13"/>
                  </a:moveTo>
                  <a:lnTo>
                    <a:pt x="12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5"/>
                  </a:lnTo>
                  <a:lnTo>
                    <a:pt x="19" y="3"/>
                  </a:lnTo>
                  <a:lnTo>
                    <a:pt x="29" y="3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3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37" y="13"/>
                  </a:lnTo>
                  <a:lnTo>
                    <a:pt x="24" y="13"/>
                  </a:lnTo>
                  <a:lnTo>
                    <a:pt x="22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300"/>
            <p:cNvSpPr>
              <a:spLocks/>
            </p:cNvSpPr>
            <p:nvPr/>
          </p:nvSpPr>
          <p:spPr bwMode="auto">
            <a:xfrm>
              <a:off x="4905105" y="1675207"/>
              <a:ext cx="3688760" cy="1388862"/>
            </a:xfrm>
            <a:custGeom>
              <a:avLst/>
              <a:gdLst>
                <a:gd name="T0" fmla="*/ 435 w 2563"/>
                <a:gd name="T1" fmla="*/ 704 h 965"/>
                <a:gd name="T2" fmla="*/ 599 w 2563"/>
                <a:gd name="T3" fmla="*/ 756 h 965"/>
                <a:gd name="T4" fmla="*/ 706 w 2563"/>
                <a:gd name="T5" fmla="*/ 701 h 965"/>
                <a:gd name="T6" fmla="*/ 883 w 2563"/>
                <a:gd name="T7" fmla="*/ 726 h 965"/>
                <a:gd name="T8" fmla="*/ 1044 w 2563"/>
                <a:gd name="T9" fmla="*/ 826 h 965"/>
                <a:gd name="T10" fmla="*/ 1171 w 2563"/>
                <a:gd name="T11" fmla="*/ 798 h 965"/>
                <a:gd name="T12" fmla="*/ 1291 w 2563"/>
                <a:gd name="T13" fmla="*/ 781 h 965"/>
                <a:gd name="T14" fmla="*/ 1462 w 2563"/>
                <a:gd name="T15" fmla="*/ 786 h 965"/>
                <a:gd name="T16" fmla="*/ 1547 w 2563"/>
                <a:gd name="T17" fmla="*/ 714 h 965"/>
                <a:gd name="T18" fmla="*/ 1733 w 2563"/>
                <a:gd name="T19" fmla="*/ 823 h 965"/>
                <a:gd name="T20" fmla="*/ 1798 w 2563"/>
                <a:gd name="T21" fmla="*/ 918 h 965"/>
                <a:gd name="T22" fmla="*/ 1885 w 2563"/>
                <a:gd name="T23" fmla="*/ 863 h 965"/>
                <a:gd name="T24" fmla="*/ 1823 w 2563"/>
                <a:gd name="T25" fmla="*/ 706 h 965"/>
                <a:gd name="T26" fmla="*/ 1890 w 2563"/>
                <a:gd name="T27" fmla="*/ 557 h 965"/>
                <a:gd name="T28" fmla="*/ 2069 w 2563"/>
                <a:gd name="T29" fmla="*/ 505 h 965"/>
                <a:gd name="T30" fmla="*/ 2180 w 2563"/>
                <a:gd name="T31" fmla="*/ 520 h 965"/>
                <a:gd name="T32" fmla="*/ 2153 w 2563"/>
                <a:gd name="T33" fmla="*/ 746 h 965"/>
                <a:gd name="T34" fmla="*/ 2230 w 2563"/>
                <a:gd name="T35" fmla="*/ 629 h 965"/>
                <a:gd name="T36" fmla="*/ 2210 w 2563"/>
                <a:gd name="T37" fmla="*/ 542 h 965"/>
                <a:gd name="T38" fmla="*/ 2330 w 2563"/>
                <a:gd name="T39" fmla="*/ 500 h 965"/>
                <a:gd name="T40" fmla="*/ 2372 w 2563"/>
                <a:gd name="T41" fmla="*/ 410 h 965"/>
                <a:gd name="T42" fmla="*/ 2466 w 2563"/>
                <a:gd name="T43" fmla="*/ 388 h 965"/>
                <a:gd name="T44" fmla="*/ 2546 w 2563"/>
                <a:gd name="T45" fmla="*/ 378 h 965"/>
                <a:gd name="T46" fmla="*/ 2456 w 2563"/>
                <a:gd name="T47" fmla="*/ 321 h 965"/>
                <a:gd name="T48" fmla="*/ 2295 w 2563"/>
                <a:gd name="T49" fmla="*/ 249 h 965"/>
                <a:gd name="T50" fmla="*/ 2118 w 2563"/>
                <a:gd name="T51" fmla="*/ 246 h 965"/>
                <a:gd name="T52" fmla="*/ 1932 w 2563"/>
                <a:gd name="T53" fmla="*/ 222 h 965"/>
                <a:gd name="T54" fmla="*/ 1733 w 2563"/>
                <a:gd name="T55" fmla="*/ 169 h 965"/>
                <a:gd name="T56" fmla="*/ 1614 w 2563"/>
                <a:gd name="T57" fmla="*/ 204 h 965"/>
                <a:gd name="T58" fmla="*/ 1517 w 2563"/>
                <a:gd name="T59" fmla="*/ 169 h 965"/>
                <a:gd name="T60" fmla="*/ 1256 w 2563"/>
                <a:gd name="T61" fmla="*/ 135 h 965"/>
                <a:gd name="T62" fmla="*/ 1258 w 2563"/>
                <a:gd name="T63" fmla="*/ 65 h 965"/>
                <a:gd name="T64" fmla="*/ 1097 w 2563"/>
                <a:gd name="T65" fmla="*/ 0 h 965"/>
                <a:gd name="T66" fmla="*/ 990 w 2563"/>
                <a:gd name="T67" fmla="*/ 67 h 965"/>
                <a:gd name="T68" fmla="*/ 848 w 2563"/>
                <a:gd name="T69" fmla="*/ 95 h 965"/>
                <a:gd name="T70" fmla="*/ 788 w 2563"/>
                <a:gd name="T71" fmla="*/ 177 h 965"/>
                <a:gd name="T72" fmla="*/ 746 w 2563"/>
                <a:gd name="T73" fmla="*/ 179 h 965"/>
                <a:gd name="T74" fmla="*/ 681 w 2563"/>
                <a:gd name="T75" fmla="*/ 169 h 965"/>
                <a:gd name="T76" fmla="*/ 726 w 2563"/>
                <a:gd name="T77" fmla="*/ 261 h 965"/>
                <a:gd name="T78" fmla="*/ 771 w 2563"/>
                <a:gd name="T79" fmla="*/ 316 h 965"/>
                <a:gd name="T80" fmla="*/ 674 w 2563"/>
                <a:gd name="T81" fmla="*/ 361 h 965"/>
                <a:gd name="T82" fmla="*/ 681 w 2563"/>
                <a:gd name="T83" fmla="*/ 276 h 965"/>
                <a:gd name="T84" fmla="*/ 612 w 2563"/>
                <a:gd name="T85" fmla="*/ 137 h 965"/>
                <a:gd name="T86" fmla="*/ 619 w 2563"/>
                <a:gd name="T87" fmla="*/ 296 h 965"/>
                <a:gd name="T88" fmla="*/ 490 w 2563"/>
                <a:gd name="T89" fmla="*/ 294 h 965"/>
                <a:gd name="T90" fmla="*/ 373 w 2563"/>
                <a:gd name="T91" fmla="*/ 291 h 965"/>
                <a:gd name="T92" fmla="*/ 229 w 2563"/>
                <a:gd name="T93" fmla="*/ 296 h 965"/>
                <a:gd name="T94" fmla="*/ 182 w 2563"/>
                <a:gd name="T95" fmla="*/ 376 h 965"/>
                <a:gd name="T96" fmla="*/ 137 w 2563"/>
                <a:gd name="T97" fmla="*/ 413 h 965"/>
                <a:gd name="T98" fmla="*/ 90 w 2563"/>
                <a:gd name="T99" fmla="*/ 348 h 965"/>
                <a:gd name="T100" fmla="*/ 82 w 2563"/>
                <a:gd name="T101" fmla="*/ 266 h 965"/>
                <a:gd name="T102" fmla="*/ 33 w 2563"/>
                <a:gd name="T103" fmla="*/ 410 h 965"/>
                <a:gd name="T104" fmla="*/ 10 w 2563"/>
                <a:gd name="T105" fmla="*/ 547 h 965"/>
                <a:gd name="T106" fmla="*/ 130 w 2563"/>
                <a:gd name="T107" fmla="*/ 719 h 965"/>
                <a:gd name="T108" fmla="*/ 192 w 2563"/>
                <a:gd name="T109" fmla="*/ 922 h 965"/>
                <a:gd name="T110" fmla="*/ 341 w 2563"/>
                <a:gd name="T111" fmla="*/ 927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3" h="965">
                  <a:moveTo>
                    <a:pt x="373" y="888"/>
                  </a:moveTo>
                  <a:lnTo>
                    <a:pt x="388" y="873"/>
                  </a:lnTo>
                  <a:lnTo>
                    <a:pt x="396" y="843"/>
                  </a:lnTo>
                  <a:lnTo>
                    <a:pt x="413" y="823"/>
                  </a:lnTo>
                  <a:lnTo>
                    <a:pt x="410" y="801"/>
                  </a:lnTo>
                  <a:lnTo>
                    <a:pt x="388" y="788"/>
                  </a:lnTo>
                  <a:lnTo>
                    <a:pt x="381" y="766"/>
                  </a:lnTo>
                  <a:lnTo>
                    <a:pt x="435" y="704"/>
                  </a:lnTo>
                  <a:lnTo>
                    <a:pt x="455" y="726"/>
                  </a:lnTo>
                  <a:lnTo>
                    <a:pt x="463" y="711"/>
                  </a:lnTo>
                  <a:lnTo>
                    <a:pt x="485" y="704"/>
                  </a:lnTo>
                  <a:lnTo>
                    <a:pt x="505" y="709"/>
                  </a:lnTo>
                  <a:lnTo>
                    <a:pt x="540" y="711"/>
                  </a:lnTo>
                  <a:lnTo>
                    <a:pt x="585" y="739"/>
                  </a:lnTo>
                  <a:lnTo>
                    <a:pt x="582" y="751"/>
                  </a:lnTo>
                  <a:lnTo>
                    <a:pt x="599" y="756"/>
                  </a:lnTo>
                  <a:lnTo>
                    <a:pt x="622" y="753"/>
                  </a:lnTo>
                  <a:lnTo>
                    <a:pt x="654" y="773"/>
                  </a:lnTo>
                  <a:lnTo>
                    <a:pt x="672" y="778"/>
                  </a:lnTo>
                  <a:lnTo>
                    <a:pt x="681" y="768"/>
                  </a:lnTo>
                  <a:lnTo>
                    <a:pt x="672" y="746"/>
                  </a:lnTo>
                  <a:lnTo>
                    <a:pt x="691" y="736"/>
                  </a:lnTo>
                  <a:lnTo>
                    <a:pt x="711" y="726"/>
                  </a:lnTo>
                  <a:lnTo>
                    <a:pt x="706" y="701"/>
                  </a:lnTo>
                  <a:lnTo>
                    <a:pt x="719" y="699"/>
                  </a:lnTo>
                  <a:lnTo>
                    <a:pt x="744" y="704"/>
                  </a:lnTo>
                  <a:lnTo>
                    <a:pt x="786" y="709"/>
                  </a:lnTo>
                  <a:lnTo>
                    <a:pt x="813" y="701"/>
                  </a:lnTo>
                  <a:lnTo>
                    <a:pt x="846" y="696"/>
                  </a:lnTo>
                  <a:lnTo>
                    <a:pt x="863" y="709"/>
                  </a:lnTo>
                  <a:lnTo>
                    <a:pt x="863" y="724"/>
                  </a:lnTo>
                  <a:lnTo>
                    <a:pt x="883" y="726"/>
                  </a:lnTo>
                  <a:lnTo>
                    <a:pt x="910" y="716"/>
                  </a:lnTo>
                  <a:lnTo>
                    <a:pt x="935" y="716"/>
                  </a:lnTo>
                  <a:lnTo>
                    <a:pt x="960" y="766"/>
                  </a:lnTo>
                  <a:lnTo>
                    <a:pt x="977" y="766"/>
                  </a:lnTo>
                  <a:lnTo>
                    <a:pt x="987" y="781"/>
                  </a:lnTo>
                  <a:lnTo>
                    <a:pt x="1017" y="791"/>
                  </a:lnTo>
                  <a:lnTo>
                    <a:pt x="1032" y="835"/>
                  </a:lnTo>
                  <a:lnTo>
                    <a:pt x="1044" y="826"/>
                  </a:lnTo>
                  <a:lnTo>
                    <a:pt x="1067" y="821"/>
                  </a:lnTo>
                  <a:lnTo>
                    <a:pt x="1119" y="816"/>
                  </a:lnTo>
                  <a:lnTo>
                    <a:pt x="1124" y="823"/>
                  </a:lnTo>
                  <a:lnTo>
                    <a:pt x="1144" y="826"/>
                  </a:lnTo>
                  <a:lnTo>
                    <a:pt x="1151" y="833"/>
                  </a:lnTo>
                  <a:lnTo>
                    <a:pt x="1186" y="828"/>
                  </a:lnTo>
                  <a:lnTo>
                    <a:pt x="1179" y="808"/>
                  </a:lnTo>
                  <a:lnTo>
                    <a:pt x="1171" y="798"/>
                  </a:lnTo>
                  <a:lnTo>
                    <a:pt x="1186" y="798"/>
                  </a:lnTo>
                  <a:lnTo>
                    <a:pt x="1186" y="768"/>
                  </a:lnTo>
                  <a:lnTo>
                    <a:pt x="1186" y="736"/>
                  </a:lnTo>
                  <a:lnTo>
                    <a:pt x="1218" y="748"/>
                  </a:lnTo>
                  <a:lnTo>
                    <a:pt x="1241" y="748"/>
                  </a:lnTo>
                  <a:lnTo>
                    <a:pt x="1256" y="766"/>
                  </a:lnTo>
                  <a:lnTo>
                    <a:pt x="1263" y="781"/>
                  </a:lnTo>
                  <a:lnTo>
                    <a:pt x="1291" y="781"/>
                  </a:lnTo>
                  <a:lnTo>
                    <a:pt x="1328" y="783"/>
                  </a:lnTo>
                  <a:lnTo>
                    <a:pt x="1350" y="796"/>
                  </a:lnTo>
                  <a:lnTo>
                    <a:pt x="1368" y="801"/>
                  </a:lnTo>
                  <a:lnTo>
                    <a:pt x="1373" y="816"/>
                  </a:lnTo>
                  <a:lnTo>
                    <a:pt x="1417" y="808"/>
                  </a:lnTo>
                  <a:lnTo>
                    <a:pt x="1425" y="796"/>
                  </a:lnTo>
                  <a:lnTo>
                    <a:pt x="1442" y="806"/>
                  </a:lnTo>
                  <a:lnTo>
                    <a:pt x="1462" y="786"/>
                  </a:lnTo>
                  <a:lnTo>
                    <a:pt x="1479" y="786"/>
                  </a:lnTo>
                  <a:lnTo>
                    <a:pt x="1494" y="793"/>
                  </a:lnTo>
                  <a:lnTo>
                    <a:pt x="1509" y="808"/>
                  </a:lnTo>
                  <a:lnTo>
                    <a:pt x="1532" y="808"/>
                  </a:lnTo>
                  <a:lnTo>
                    <a:pt x="1537" y="773"/>
                  </a:lnTo>
                  <a:lnTo>
                    <a:pt x="1549" y="761"/>
                  </a:lnTo>
                  <a:lnTo>
                    <a:pt x="1537" y="731"/>
                  </a:lnTo>
                  <a:lnTo>
                    <a:pt x="1547" y="714"/>
                  </a:lnTo>
                  <a:lnTo>
                    <a:pt x="1624" y="714"/>
                  </a:lnTo>
                  <a:lnTo>
                    <a:pt x="1641" y="734"/>
                  </a:lnTo>
                  <a:lnTo>
                    <a:pt x="1658" y="748"/>
                  </a:lnTo>
                  <a:lnTo>
                    <a:pt x="1671" y="766"/>
                  </a:lnTo>
                  <a:lnTo>
                    <a:pt x="1673" y="786"/>
                  </a:lnTo>
                  <a:lnTo>
                    <a:pt x="1688" y="803"/>
                  </a:lnTo>
                  <a:lnTo>
                    <a:pt x="1718" y="811"/>
                  </a:lnTo>
                  <a:lnTo>
                    <a:pt x="1733" y="823"/>
                  </a:lnTo>
                  <a:lnTo>
                    <a:pt x="1748" y="833"/>
                  </a:lnTo>
                  <a:lnTo>
                    <a:pt x="1755" y="843"/>
                  </a:lnTo>
                  <a:lnTo>
                    <a:pt x="1773" y="845"/>
                  </a:lnTo>
                  <a:lnTo>
                    <a:pt x="1803" y="838"/>
                  </a:lnTo>
                  <a:lnTo>
                    <a:pt x="1810" y="848"/>
                  </a:lnTo>
                  <a:lnTo>
                    <a:pt x="1813" y="863"/>
                  </a:lnTo>
                  <a:lnTo>
                    <a:pt x="1800" y="873"/>
                  </a:lnTo>
                  <a:lnTo>
                    <a:pt x="1798" y="918"/>
                  </a:lnTo>
                  <a:lnTo>
                    <a:pt x="1783" y="915"/>
                  </a:lnTo>
                  <a:lnTo>
                    <a:pt x="1773" y="932"/>
                  </a:lnTo>
                  <a:lnTo>
                    <a:pt x="1775" y="952"/>
                  </a:lnTo>
                  <a:lnTo>
                    <a:pt x="1790" y="957"/>
                  </a:lnTo>
                  <a:lnTo>
                    <a:pt x="1813" y="965"/>
                  </a:lnTo>
                  <a:lnTo>
                    <a:pt x="1842" y="942"/>
                  </a:lnTo>
                  <a:lnTo>
                    <a:pt x="1865" y="905"/>
                  </a:lnTo>
                  <a:lnTo>
                    <a:pt x="1885" y="863"/>
                  </a:lnTo>
                  <a:lnTo>
                    <a:pt x="1900" y="823"/>
                  </a:lnTo>
                  <a:lnTo>
                    <a:pt x="1890" y="781"/>
                  </a:lnTo>
                  <a:lnTo>
                    <a:pt x="1897" y="771"/>
                  </a:lnTo>
                  <a:lnTo>
                    <a:pt x="1892" y="724"/>
                  </a:lnTo>
                  <a:lnTo>
                    <a:pt x="1872" y="699"/>
                  </a:lnTo>
                  <a:lnTo>
                    <a:pt x="1842" y="689"/>
                  </a:lnTo>
                  <a:lnTo>
                    <a:pt x="1835" y="706"/>
                  </a:lnTo>
                  <a:lnTo>
                    <a:pt x="1823" y="706"/>
                  </a:lnTo>
                  <a:lnTo>
                    <a:pt x="1820" y="691"/>
                  </a:lnTo>
                  <a:lnTo>
                    <a:pt x="1790" y="676"/>
                  </a:lnTo>
                  <a:lnTo>
                    <a:pt x="1788" y="661"/>
                  </a:lnTo>
                  <a:lnTo>
                    <a:pt x="1803" y="644"/>
                  </a:lnTo>
                  <a:lnTo>
                    <a:pt x="1823" y="614"/>
                  </a:lnTo>
                  <a:lnTo>
                    <a:pt x="1835" y="589"/>
                  </a:lnTo>
                  <a:lnTo>
                    <a:pt x="1847" y="567"/>
                  </a:lnTo>
                  <a:lnTo>
                    <a:pt x="1890" y="557"/>
                  </a:lnTo>
                  <a:lnTo>
                    <a:pt x="1924" y="557"/>
                  </a:lnTo>
                  <a:lnTo>
                    <a:pt x="1969" y="560"/>
                  </a:lnTo>
                  <a:lnTo>
                    <a:pt x="1979" y="542"/>
                  </a:lnTo>
                  <a:lnTo>
                    <a:pt x="2014" y="550"/>
                  </a:lnTo>
                  <a:lnTo>
                    <a:pt x="2014" y="562"/>
                  </a:lnTo>
                  <a:lnTo>
                    <a:pt x="2059" y="555"/>
                  </a:lnTo>
                  <a:lnTo>
                    <a:pt x="2061" y="532"/>
                  </a:lnTo>
                  <a:lnTo>
                    <a:pt x="2069" y="505"/>
                  </a:lnTo>
                  <a:lnTo>
                    <a:pt x="2079" y="487"/>
                  </a:lnTo>
                  <a:lnTo>
                    <a:pt x="2126" y="487"/>
                  </a:lnTo>
                  <a:lnTo>
                    <a:pt x="2141" y="505"/>
                  </a:lnTo>
                  <a:lnTo>
                    <a:pt x="2151" y="510"/>
                  </a:lnTo>
                  <a:lnTo>
                    <a:pt x="2166" y="483"/>
                  </a:lnTo>
                  <a:lnTo>
                    <a:pt x="2178" y="478"/>
                  </a:lnTo>
                  <a:lnTo>
                    <a:pt x="2190" y="500"/>
                  </a:lnTo>
                  <a:lnTo>
                    <a:pt x="2180" y="520"/>
                  </a:lnTo>
                  <a:lnTo>
                    <a:pt x="2156" y="540"/>
                  </a:lnTo>
                  <a:lnTo>
                    <a:pt x="2133" y="572"/>
                  </a:lnTo>
                  <a:lnTo>
                    <a:pt x="2116" y="597"/>
                  </a:lnTo>
                  <a:lnTo>
                    <a:pt x="2113" y="632"/>
                  </a:lnTo>
                  <a:lnTo>
                    <a:pt x="2118" y="669"/>
                  </a:lnTo>
                  <a:lnTo>
                    <a:pt x="2133" y="696"/>
                  </a:lnTo>
                  <a:lnTo>
                    <a:pt x="2141" y="726"/>
                  </a:lnTo>
                  <a:lnTo>
                    <a:pt x="2153" y="746"/>
                  </a:lnTo>
                  <a:lnTo>
                    <a:pt x="2168" y="753"/>
                  </a:lnTo>
                  <a:lnTo>
                    <a:pt x="2185" y="726"/>
                  </a:lnTo>
                  <a:lnTo>
                    <a:pt x="2203" y="694"/>
                  </a:lnTo>
                  <a:lnTo>
                    <a:pt x="2203" y="674"/>
                  </a:lnTo>
                  <a:lnTo>
                    <a:pt x="2220" y="674"/>
                  </a:lnTo>
                  <a:lnTo>
                    <a:pt x="2218" y="649"/>
                  </a:lnTo>
                  <a:lnTo>
                    <a:pt x="2220" y="629"/>
                  </a:lnTo>
                  <a:lnTo>
                    <a:pt x="2230" y="629"/>
                  </a:lnTo>
                  <a:lnTo>
                    <a:pt x="2223" y="614"/>
                  </a:lnTo>
                  <a:lnTo>
                    <a:pt x="2203" y="592"/>
                  </a:lnTo>
                  <a:lnTo>
                    <a:pt x="2198" y="592"/>
                  </a:lnTo>
                  <a:lnTo>
                    <a:pt x="2195" y="587"/>
                  </a:lnTo>
                  <a:lnTo>
                    <a:pt x="2193" y="584"/>
                  </a:lnTo>
                  <a:lnTo>
                    <a:pt x="2195" y="567"/>
                  </a:lnTo>
                  <a:lnTo>
                    <a:pt x="2198" y="557"/>
                  </a:lnTo>
                  <a:lnTo>
                    <a:pt x="2210" y="542"/>
                  </a:lnTo>
                  <a:lnTo>
                    <a:pt x="2238" y="527"/>
                  </a:lnTo>
                  <a:lnTo>
                    <a:pt x="2253" y="517"/>
                  </a:lnTo>
                  <a:lnTo>
                    <a:pt x="2275" y="512"/>
                  </a:lnTo>
                  <a:lnTo>
                    <a:pt x="2290" y="517"/>
                  </a:lnTo>
                  <a:lnTo>
                    <a:pt x="2302" y="532"/>
                  </a:lnTo>
                  <a:lnTo>
                    <a:pt x="2312" y="542"/>
                  </a:lnTo>
                  <a:lnTo>
                    <a:pt x="2322" y="510"/>
                  </a:lnTo>
                  <a:lnTo>
                    <a:pt x="2330" y="500"/>
                  </a:lnTo>
                  <a:lnTo>
                    <a:pt x="2335" y="483"/>
                  </a:lnTo>
                  <a:lnTo>
                    <a:pt x="2359" y="483"/>
                  </a:lnTo>
                  <a:lnTo>
                    <a:pt x="2382" y="468"/>
                  </a:lnTo>
                  <a:lnTo>
                    <a:pt x="2394" y="465"/>
                  </a:lnTo>
                  <a:lnTo>
                    <a:pt x="2422" y="475"/>
                  </a:lnTo>
                  <a:lnTo>
                    <a:pt x="2427" y="460"/>
                  </a:lnTo>
                  <a:lnTo>
                    <a:pt x="2404" y="433"/>
                  </a:lnTo>
                  <a:lnTo>
                    <a:pt x="2372" y="410"/>
                  </a:lnTo>
                  <a:lnTo>
                    <a:pt x="2384" y="400"/>
                  </a:lnTo>
                  <a:lnTo>
                    <a:pt x="2407" y="386"/>
                  </a:lnTo>
                  <a:lnTo>
                    <a:pt x="2399" y="373"/>
                  </a:lnTo>
                  <a:lnTo>
                    <a:pt x="2399" y="353"/>
                  </a:lnTo>
                  <a:lnTo>
                    <a:pt x="2419" y="348"/>
                  </a:lnTo>
                  <a:lnTo>
                    <a:pt x="2427" y="368"/>
                  </a:lnTo>
                  <a:lnTo>
                    <a:pt x="2432" y="386"/>
                  </a:lnTo>
                  <a:lnTo>
                    <a:pt x="2466" y="388"/>
                  </a:lnTo>
                  <a:lnTo>
                    <a:pt x="2479" y="400"/>
                  </a:lnTo>
                  <a:lnTo>
                    <a:pt x="2504" y="403"/>
                  </a:lnTo>
                  <a:lnTo>
                    <a:pt x="2516" y="420"/>
                  </a:lnTo>
                  <a:lnTo>
                    <a:pt x="2526" y="425"/>
                  </a:lnTo>
                  <a:lnTo>
                    <a:pt x="2543" y="410"/>
                  </a:lnTo>
                  <a:lnTo>
                    <a:pt x="2526" y="393"/>
                  </a:lnTo>
                  <a:lnTo>
                    <a:pt x="2534" y="378"/>
                  </a:lnTo>
                  <a:lnTo>
                    <a:pt x="2546" y="378"/>
                  </a:lnTo>
                  <a:lnTo>
                    <a:pt x="2558" y="371"/>
                  </a:lnTo>
                  <a:lnTo>
                    <a:pt x="2563" y="348"/>
                  </a:lnTo>
                  <a:lnTo>
                    <a:pt x="2529" y="348"/>
                  </a:lnTo>
                  <a:lnTo>
                    <a:pt x="2509" y="336"/>
                  </a:lnTo>
                  <a:lnTo>
                    <a:pt x="2481" y="338"/>
                  </a:lnTo>
                  <a:lnTo>
                    <a:pt x="2474" y="351"/>
                  </a:lnTo>
                  <a:lnTo>
                    <a:pt x="2464" y="331"/>
                  </a:lnTo>
                  <a:lnTo>
                    <a:pt x="2456" y="321"/>
                  </a:lnTo>
                  <a:lnTo>
                    <a:pt x="2429" y="316"/>
                  </a:lnTo>
                  <a:lnTo>
                    <a:pt x="2427" y="299"/>
                  </a:lnTo>
                  <a:lnTo>
                    <a:pt x="2392" y="299"/>
                  </a:lnTo>
                  <a:lnTo>
                    <a:pt x="2374" y="281"/>
                  </a:lnTo>
                  <a:lnTo>
                    <a:pt x="2352" y="269"/>
                  </a:lnTo>
                  <a:lnTo>
                    <a:pt x="2330" y="266"/>
                  </a:lnTo>
                  <a:lnTo>
                    <a:pt x="2305" y="256"/>
                  </a:lnTo>
                  <a:lnTo>
                    <a:pt x="2295" y="249"/>
                  </a:lnTo>
                  <a:lnTo>
                    <a:pt x="2270" y="241"/>
                  </a:lnTo>
                  <a:lnTo>
                    <a:pt x="2238" y="241"/>
                  </a:lnTo>
                  <a:lnTo>
                    <a:pt x="2198" y="236"/>
                  </a:lnTo>
                  <a:lnTo>
                    <a:pt x="2193" y="261"/>
                  </a:lnTo>
                  <a:lnTo>
                    <a:pt x="2173" y="264"/>
                  </a:lnTo>
                  <a:lnTo>
                    <a:pt x="2163" y="251"/>
                  </a:lnTo>
                  <a:lnTo>
                    <a:pt x="2143" y="256"/>
                  </a:lnTo>
                  <a:lnTo>
                    <a:pt x="2118" y="246"/>
                  </a:lnTo>
                  <a:lnTo>
                    <a:pt x="2074" y="251"/>
                  </a:lnTo>
                  <a:lnTo>
                    <a:pt x="2064" y="266"/>
                  </a:lnTo>
                  <a:lnTo>
                    <a:pt x="2049" y="261"/>
                  </a:lnTo>
                  <a:lnTo>
                    <a:pt x="2029" y="246"/>
                  </a:lnTo>
                  <a:lnTo>
                    <a:pt x="2009" y="224"/>
                  </a:lnTo>
                  <a:lnTo>
                    <a:pt x="1962" y="214"/>
                  </a:lnTo>
                  <a:lnTo>
                    <a:pt x="1944" y="219"/>
                  </a:lnTo>
                  <a:lnTo>
                    <a:pt x="1932" y="222"/>
                  </a:lnTo>
                  <a:lnTo>
                    <a:pt x="1905" y="219"/>
                  </a:lnTo>
                  <a:lnTo>
                    <a:pt x="1872" y="202"/>
                  </a:lnTo>
                  <a:lnTo>
                    <a:pt x="1850" y="189"/>
                  </a:lnTo>
                  <a:lnTo>
                    <a:pt x="1845" y="182"/>
                  </a:lnTo>
                  <a:lnTo>
                    <a:pt x="1793" y="182"/>
                  </a:lnTo>
                  <a:lnTo>
                    <a:pt x="1778" y="187"/>
                  </a:lnTo>
                  <a:lnTo>
                    <a:pt x="1763" y="169"/>
                  </a:lnTo>
                  <a:lnTo>
                    <a:pt x="1733" y="169"/>
                  </a:lnTo>
                  <a:lnTo>
                    <a:pt x="1721" y="152"/>
                  </a:lnTo>
                  <a:lnTo>
                    <a:pt x="1703" y="162"/>
                  </a:lnTo>
                  <a:lnTo>
                    <a:pt x="1688" y="174"/>
                  </a:lnTo>
                  <a:lnTo>
                    <a:pt x="1698" y="199"/>
                  </a:lnTo>
                  <a:lnTo>
                    <a:pt x="1676" y="202"/>
                  </a:lnTo>
                  <a:lnTo>
                    <a:pt x="1648" y="199"/>
                  </a:lnTo>
                  <a:lnTo>
                    <a:pt x="1626" y="197"/>
                  </a:lnTo>
                  <a:lnTo>
                    <a:pt x="1614" y="204"/>
                  </a:lnTo>
                  <a:lnTo>
                    <a:pt x="1594" y="194"/>
                  </a:lnTo>
                  <a:lnTo>
                    <a:pt x="1581" y="182"/>
                  </a:lnTo>
                  <a:lnTo>
                    <a:pt x="1579" y="202"/>
                  </a:lnTo>
                  <a:lnTo>
                    <a:pt x="1552" y="207"/>
                  </a:lnTo>
                  <a:lnTo>
                    <a:pt x="1517" y="194"/>
                  </a:lnTo>
                  <a:lnTo>
                    <a:pt x="1494" y="184"/>
                  </a:lnTo>
                  <a:lnTo>
                    <a:pt x="1502" y="174"/>
                  </a:lnTo>
                  <a:lnTo>
                    <a:pt x="1517" y="169"/>
                  </a:lnTo>
                  <a:lnTo>
                    <a:pt x="1504" y="144"/>
                  </a:lnTo>
                  <a:lnTo>
                    <a:pt x="1474" y="135"/>
                  </a:lnTo>
                  <a:lnTo>
                    <a:pt x="1437" y="137"/>
                  </a:lnTo>
                  <a:lnTo>
                    <a:pt x="1425" y="167"/>
                  </a:lnTo>
                  <a:lnTo>
                    <a:pt x="1395" y="154"/>
                  </a:lnTo>
                  <a:lnTo>
                    <a:pt x="1368" y="142"/>
                  </a:lnTo>
                  <a:lnTo>
                    <a:pt x="1328" y="135"/>
                  </a:lnTo>
                  <a:lnTo>
                    <a:pt x="1256" y="135"/>
                  </a:lnTo>
                  <a:lnTo>
                    <a:pt x="1228" y="135"/>
                  </a:lnTo>
                  <a:lnTo>
                    <a:pt x="1204" y="144"/>
                  </a:lnTo>
                  <a:lnTo>
                    <a:pt x="1166" y="157"/>
                  </a:lnTo>
                  <a:lnTo>
                    <a:pt x="1184" y="135"/>
                  </a:lnTo>
                  <a:lnTo>
                    <a:pt x="1221" y="117"/>
                  </a:lnTo>
                  <a:lnTo>
                    <a:pt x="1236" y="110"/>
                  </a:lnTo>
                  <a:lnTo>
                    <a:pt x="1256" y="90"/>
                  </a:lnTo>
                  <a:lnTo>
                    <a:pt x="1258" y="65"/>
                  </a:lnTo>
                  <a:lnTo>
                    <a:pt x="1233" y="52"/>
                  </a:lnTo>
                  <a:lnTo>
                    <a:pt x="1223" y="38"/>
                  </a:lnTo>
                  <a:lnTo>
                    <a:pt x="1164" y="33"/>
                  </a:lnTo>
                  <a:lnTo>
                    <a:pt x="1154" y="45"/>
                  </a:lnTo>
                  <a:lnTo>
                    <a:pt x="1134" y="35"/>
                  </a:lnTo>
                  <a:lnTo>
                    <a:pt x="1126" y="20"/>
                  </a:lnTo>
                  <a:lnTo>
                    <a:pt x="1109" y="10"/>
                  </a:lnTo>
                  <a:lnTo>
                    <a:pt x="1097" y="0"/>
                  </a:lnTo>
                  <a:lnTo>
                    <a:pt x="1067" y="13"/>
                  </a:lnTo>
                  <a:lnTo>
                    <a:pt x="1062" y="38"/>
                  </a:lnTo>
                  <a:lnTo>
                    <a:pt x="1054" y="45"/>
                  </a:lnTo>
                  <a:lnTo>
                    <a:pt x="1069" y="50"/>
                  </a:lnTo>
                  <a:lnTo>
                    <a:pt x="1049" y="62"/>
                  </a:lnTo>
                  <a:lnTo>
                    <a:pt x="1020" y="55"/>
                  </a:lnTo>
                  <a:lnTo>
                    <a:pt x="1000" y="57"/>
                  </a:lnTo>
                  <a:lnTo>
                    <a:pt x="990" y="67"/>
                  </a:lnTo>
                  <a:lnTo>
                    <a:pt x="977" y="52"/>
                  </a:lnTo>
                  <a:lnTo>
                    <a:pt x="960" y="60"/>
                  </a:lnTo>
                  <a:lnTo>
                    <a:pt x="945" y="55"/>
                  </a:lnTo>
                  <a:lnTo>
                    <a:pt x="945" y="70"/>
                  </a:lnTo>
                  <a:lnTo>
                    <a:pt x="913" y="72"/>
                  </a:lnTo>
                  <a:lnTo>
                    <a:pt x="885" y="75"/>
                  </a:lnTo>
                  <a:lnTo>
                    <a:pt x="868" y="87"/>
                  </a:lnTo>
                  <a:lnTo>
                    <a:pt x="848" y="95"/>
                  </a:lnTo>
                  <a:lnTo>
                    <a:pt x="848" y="110"/>
                  </a:lnTo>
                  <a:lnTo>
                    <a:pt x="863" y="112"/>
                  </a:lnTo>
                  <a:lnTo>
                    <a:pt x="868" y="135"/>
                  </a:lnTo>
                  <a:lnTo>
                    <a:pt x="841" y="130"/>
                  </a:lnTo>
                  <a:lnTo>
                    <a:pt x="803" y="132"/>
                  </a:lnTo>
                  <a:lnTo>
                    <a:pt x="786" y="139"/>
                  </a:lnTo>
                  <a:lnTo>
                    <a:pt x="781" y="159"/>
                  </a:lnTo>
                  <a:lnTo>
                    <a:pt x="788" y="177"/>
                  </a:lnTo>
                  <a:lnTo>
                    <a:pt x="803" y="177"/>
                  </a:lnTo>
                  <a:lnTo>
                    <a:pt x="818" y="194"/>
                  </a:lnTo>
                  <a:lnTo>
                    <a:pt x="828" y="214"/>
                  </a:lnTo>
                  <a:lnTo>
                    <a:pt x="826" y="229"/>
                  </a:lnTo>
                  <a:lnTo>
                    <a:pt x="801" y="202"/>
                  </a:lnTo>
                  <a:lnTo>
                    <a:pt x="773" y="194"/>
                  </a:lnTo>
                  <a:lnTo>
                    <a:pt x="761" y="177"/>
                  </a:lnTo>
                  <a:lnTo>
                    <a:pt x="746" y="179"/>
                  </a:lnTo>
                  <a:lnTo>
                    <a:pt x="739" y="199"/>
                  </a:lnTo>
                  <a:lnTo>
                    <a:pt x="746" y="212"/>
                  </a:lnTo>
                  <a:lnTo>
                    <a:pt x="749" y="222"/>
                  </a:lnTo>
                  <a:lnTo>
                    <a:pt x="726" y="214"/>
                  </a:lnTo>
                  <a:lnTo>
                    <a:pt x="704" y="194"/>
                  </a:lnTo>
                  <a:lnTo>
                    <a:pt x="701" y="172"/>
                  </a:lnTo>
                  <a:lnTo>
                    <a:pt x="691" y="159"/>
                  </a:lnTo>
                  <a:lnTo>
                    <a:pt x="681" y="169"/>
                  </a:lnTo>
                  <a:lnTo>
                    <a:pt x="684" y="189"/>
                  </a:lnTo>
                  <a:lnTo>
                    <a:pt x="681" y="202"/>
                  </a:lnTo>
                  <a:lnTo>
                    <a:pt x="684" y="214"/>
                  </a:lnTo>
                  <a:lnTo>
                    <a:pt x="694" y="217"/>
                  </a:lnTo>
                  <a:lnTo>
                    <a:pt x="696" y="251"/>
                  </a:lnTo>
                  <a:lnTo>
                    <a:pt x="701" y="266"/>
                  </a:lnTo>
                  <a:lnTo>
                    <a:pt x="724" y="271"/>
                  </a:lnTo>
                  <a:lnTo>
                    <a:pt x="726" y="261"/>
                  </a:lnTo>
                  <a:lnTo>
                    <a:pt x="744" y="266"/>
                  </a:lnTo>
                  <a:lnTo>
                    <a:pt x="754" y="271"/>
                  </a:lnTo>
                  <a:lnTo>
                    <a:pt x="761" y="284"/>
                  </a:lnTo>
                  <a:lnTo>
                    <a:pt x="766" y="299"/>
                  </a:lnTo>
                  <a:lnTo>
                    <a:pt x="776" y="309"/>
                  </a:lnTo>
                  <a:lnTo>
                    <a:pt x="786" y="313"/>
                  </a:lnTo>
                  <a:lnTo>
                    <a:pt x="786" y="326"/>
                  </a:lnTo>
                  <a:lnTo>
                    <a:pt x="771" y="316"/>
                  </a:lnTo>
                  <a:lnTo>
                    <a:pt x="759" y="301"/>
                  </a:lnTo>
                  <a:lnTo>
                    <a:pt x="741" y="289"/>
                  </a:lnTo>
                  <a:lnTo>
                    <a:pt x="721" y="289"/>
                  </a:lnTo>
                  <a:lnTo>
                    <a:pt x="719" y="294"/>
                  </a:lnTo>
                  <a:lnTo>
                    <a:pt x="716" y="309"/>
                  </a:lnTo>
                  <a:lnTo>
                    <a:pt x="706" y="328"/>
                  </a:lnTo>
                  <a:lnTo>
                    <a:pt x="694" y="351"/>
                  </a:lnTo>
                  <a:lnTo>
                    <a:pt x="674" y="361"/>
                  </a:lnTo>
                  <a:lnTo>
                    <a:pt x="644" y="351"/>
                  </a:lnTo>
                  <a:lnTo>
                    <a:pt x="649" y="338"/>
                  </a:lnTo>
                  <a:lnTo>
                    <a:pt x="669" y="333"/>
                  </a:lnTo>
                  <a:lnTo>
                    <a:pt x="684" y="323"/>
                  </a:lnTo>
                  <a:lnTo>
                    <a:pt x="689" y="316"/>
                  </a:lnTo>
                  <a:lnTo>
                    <a:pt x="691" y="304"/>
                  </a:lnTo>
                  <a:lnTo>
                    <a:pt x="686" y="289"/>
                  </a:lnTo>
                  <a:lnTo>
                    <a:pt x="681" y="276"/>
                  </a:lnTo>
                  <a:lnTo>
                    <a:pt x="676" y="259"/>
                  </a:lnTo>
                  <a:lnTo>
                    <a:pt x="676" y="246"/>
                  </a:lnTo>
                  <a:lnTo>
                    <a:pt x="669" y="229"/>
                  </a:lnTo>
                  <a:lnTo>
                    <a:pt x="664" y="207"/>
                  </a:lnTo>
                  <a:lnTo>
                    <a:pt x="657" y="177"/>
                  </a:lnTo>
                  <a:lnTo>
                    <a:pt x="652" y="152"/>
                  </a:lnTo>
                  <a:lnTo>
                    <a:pt x="637" y="135"/>
                  </a:lnTo>
                  <a:lnTo>
                    <a:pt x="612" y="137"/>
                  </a:lnTo>
                  <a:lnTo>
                    <a:pt x="599" y="167"/>
                  </a:lnTo>
                  <a:lnTo>
                    <a:pt x="597" y="199"/>
                  </a:lnTo>
                  <a:lnTo>
                    <a:pt x="575" y="212"/>
                  </a:lnTo>
                  <a:lnTo>
                    <a:pt x="577" y="229"/>
                  </a:lnTo>
                  <a:lnTo>
                    <a:pt x="589" y="249"/>
                  </a:lnTo>
                  <a:lnTo>
                    <a:pt x="604" y="269"/>
                  </a:lnTo>
                  <a:lnTo>
                    <a:pt x="614" y="284"/>
                  </a:lnTo>
                  <a:lnTo>
                    <a:pt x="619" y="296"/>
                  </a:lnTo>
                  <a:lnTo>
                    <a:pt x="602" y="301"/>
                  </a:lnTo>
                  <a:lnTo>
                    <a:pt x="585" y="279"/>
                  </a:lnTo>
                  <a:lnTo>
                    <a:pt x="555" y="261"/>
                  </a:lnTo>
                  <a:lnTo>
                    <a:pt x="520" y="254"/>
                  </a:lnTo>
                  <a:lnTo>
                    <a:pt x="490" y="251"/>
                  </a:lnTo>
                  <a:lnTo>
                    <a:pt x="483" y="264"/>
                  </a:lnTo>
                  <a:lnTo>
                    <a:pt x="493" y="271"/>
                  </a:lnTo>
                  <a:lnTo>
                    <a:pt x="490" y="294"/>
                  </a:lnTo>
                  <a:lnTo>
                    <a:pt x="475" y="299"/>
                  </a:lnTo>
                  <a:lnTo>
                    <a:pt x="473" y="279"/>
                  </a:lnTo>
                  <a:lnTo>
                    <a:pt x="458" y="276"/>
                  </a:lnTo>
                  <a:lnTo>
                    <a:pt x="448" y="291"/>
                  </a:lnTo>
                  <a:lnTo>
                    <a:pt x="410" y="291"/>
                  </a:lnTo>
                  <a:lnTo>
                    <a:pt x="396" y="309"/>
                  </a:lnTo>
                  <a:lnTo>
                    <a:pt x="386" y="289"/>
                  </a:lnTo>
                  <a:lnTo>
                    <a:pt x="373" y="291"/>
                  </a:lnTo>
                  <a:lnTo>
                    <a:pt x="353" y="301"/>
                  </a:lnTo>
                  <a:lnTo>
                    <a:pt x="333" y="309"/>
                  </a:lnTo>
                  <a:lnTo>
                    <a:pt x="309" y="331"/>
                  </a:lnTo>
                  <a:lnTo>
                    <a:pt x="284" y="343"/>
                  </a:lnTo>
                  <a:lnTo>
                    <a:pt x="274" y="326"/>
                  </a:lnTo>
                  <a:lnTo>
                    <a:pt x="274" y="311"/>
                  </a:lnTo>
                  <a:lnTo>
                    <a:pt x="256" y="294"/>
                  </a:lnTo>
                  <a:lnTo>
                    <a:pt x="229" y="296"/>
                  </a:lnTo>
                  <a:lnTo>
                    <a:pt x="236" y="311"/>
                  </a:lnTo>
                  <a:lnTo>
                    <a:pt x="241" y="331"/>
                  </a:lnTo>
                  <a:lnTo>
                    <a:pt x="249" y="348"/>
                  </a:lnTo>
                  <a:lnTo>
                    <a:pt x="251" y="368"/>
                  </a:lnTo>
                  <a:lnTo>
                    <a:pt x="231" y="361"/>
                  </a:lnTo>
                  <a:lnTo>
                    <a:pt x="214" y="356"/>
                  </a:lnTo>
                  <a:lnTo>
                    <a:pt x="204" y="368"/>
                  </a:lnTo>
                  <a:lnTo>
                    <a:pt x="182" y="376"/>
                  </a:lnTo>
                  <a:lnTo>
                    <a:pt x="179" y="391"/>
                  </a:lnTo>
                  <a:lnTo>
                    <a:pt x="192" y="398"/>
                  </a:lnTo>
                  <a:lnTo>
                    <a:pt x="187" y="418"/>
                  </a:lnTo>
                  <a:lnTo>
                    <a:pt x="169" y="418"/>
                  </a:lnTo>
                  <a:lnTo>
                    <a:pt x="169" y="398"/>
                  </a:lnTo>
                  <a:lnTo>
                    <a:pt x="152" y="391"/>
                  </a:lnTo>
                  <a:lnTo>
                    <a:pt x="135" y="398"/>
                  </a:lnTo>
                  <a:lnTo>
                    <a:pt x="137" y="413"/>
                  </a:lnTo>
                  <a:lnTo>
                    <a:pt x="149" y="418"/>
                  </a:lnTo>
                  <a:lnTo>
                    <a:pt x="152" y="425"/>
                  </a:lnTo>
                  <a:lnTo>
                    <a:pt x="144" y="435"/>
                  </a:lnTo>
                  <a:lnTo>
                    <a:pt x="125" y="420"/>
                  </a:lnTo>
                  <a:lnTo>
                    <a:pt x="112" y="403"/>
                  </a:lnTo>
                  <a:lnTo>
                    <a:pt x="102" y="386"/>
                  </a:lnTo>
                  <a:lnTo>
                    <a:pt x="97" y="358"/>
                  </a:lnTo>
                  <a:lnTo>
                    <a:pt x="90" y="348"/>
                  </a:lnTo>
                  <a:lnTo>
                    <a:pt x="110" y="353"/>
                  </a:lnTo>
                  <a:lnTo>
                    <a:pt x="142" y="363"/>
                  </a:lnTo>
                  <a:lnTo>
                    <a:pt x="169" y="356"/>
                  </a:lnTo>
                  <a:lnTo>
                    <a:pt x="182" y="343"/>
                  </a:lnTo>
                  <a:lnTo>
                    <a:pt x="189" y="328"/>
                  </a:lnTo>
                  <a:lnTo>
                    <a:pt x="159" y="306"/>
                  </a:lnTo>
                  <a:lnTo>
                    <a:pt x="122" y="289"/>
                  </a:lnTo>
                  <a:lnTo>
                    <a:pt x="82" y="266"/>
                  </a:lnTo>
                  <a:lnTo>
                    <a:pt x="65" y="259"/>
                  </a:lnTo>
                  <a:lnTo>
                    <a:pt x="45" y="271"/>
                  </a:lnTo>
                  <a:lnTo>
                    <a:pt x="25" y="294"/>
                  </a:lnTo>
                  <a:lnTo>
                    <a:pt x="18" y="311"/>
                  </a:lnTo>
                  <a:lnTo>
                    <a:pt x="18" y="331"/>
                  </a:lnTo>
                  <a:lnTo>
                    <a:pt x="23" y="356"/>
                  </a:lnTo>
                  <a:lnTo>
                    <a:pt x="25" y="386"/>
                  </a:lnTo>
                  <a:lnTo>
                    <a:pt x="33" y="410"/>
                  </a:lnTo>
                  <a:lnTo>
                    <a:pt x="40" y="438"/>
                  </a:lnTo>
                  <a:lnTo>
                    <a:pt x="50" y="448"/>
                  </a:lnTo>
                  <a:lnTo>
                    <a:pt x="62" y="458"/>
                  </a:lnTo>
                  <a:lnTo>
                    <a:pt x="50" y="470"/>
                  </a:lnTo>
                  <a:lnTo>
                    <a:pt x="30" y="490"/>
                  </a:lnTo>
                  <a:lnTo>
                    <a:pt x="15" y="510"/>
                  </a:lnTo>
                  <a:lnTo>
                    <a:pt x="8" y="527"/>
                  </a:lnTo>
                  <a:lnTo>
                    <a:pt x="10" y="547"/>
                  </a:lnTo>
                  <a:lnTo>
                    <a:pt x="0" y="552"/>
                  </a:lnTo>
                  <a:lnTo>
                    <a:pt x="20" y="579"/>
                  </a:lnTo>
                  <a:lnTo>
                    <a:pt x="48" y="604"/>
                  </a:lnTo>
                  <a:lnTo>
                    <a:pt x="95" y="624"/>
                  </a:lnTo>
                  <a:lnTo>
                    <a:pt x="100" y="686"/>
                  </a:lnTo>
                  <a:lnTo>
                    <a:pt x="92" y="696"/>
                  </a:lnTo>
                  <a:lnTo>
                    <a:pt x="82" y="721"/>
                  </a:lnTo>
                  <a:lnTo>
                    <a:pt x="130" y="719"/>
                  </a:lnTo>
                  <a:lnTo>
                    <a:pt x="140" y="744"/>
                  </a:lnTo>
                  <a:lnTo>
                    <a:pt x="212" y="803"/>
                  </a:lnTo>
                  <a:lnTo>
                    <a:pt x="199" y="858"/>
                  </a:lnTo>
                  <a:lnTo>
                    <a:pt x="209" y="865"/>
                  </a:lnTo>
                  <a:lnTo>
                    <a:pt x="189" y="883"/>
                  </a:lnTo>
                  <a:lnTo>
                    <a:pt x="174" y="898"/>
                  </a:lnTo>
                  <a:lnTo>
                    <a:pt x="169" y="910"/>
                  </a:lnTo>
                  <a:lnTo>
                    <a:pt x="192" y="922"/>
                  </a:lnTo>
                  <a:lnTo>
                    <a:pt x="207" y="937"/>
                  </a:lnTo>
                  <a:lnTo>
                    <a:pt x="244" y="915"/>
                  </a:lnTo>
                  <a:lnTo>
                    <a:pt x="266" y="927"/>
                  </a:lnTo>
                  <a:lnTo>
                    <a:pt x="281" y="927"/>
                  </a:lnTo>
                  <a:lnTo>
                    <a:pt x="296" y="942"/>
                  </a:lnTo>
                  <a:lnTo>
                    <a:pt x="314" y="962"/>
                  </a:lnTo>
                  <a:lnTo>
                    <a:pt x="348" y="952"/>
                  </a:lnTo>
                  <a:lnTo>
                    <a:pt x="341" y="927"/>
                  </a:lnTo>
                  <a:lnTo>
                    <a:pt x="348" y="910"/>
                  </a:lnTo>
                  <a:lnTo>
                    <a:pt x="373" y="8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301"/>
            <p:cNvSpPr>
              <a:spLocks/>
            </p:cNvSpPr>
            <p:nvPr/>
          </p:nvSpPr>
          <p:spPr bwMode="auto">
            <a:xfrm>
              <a:off x="5424669" y="3478568"/>
              <a:ext cx="35981" cy="46056"/>
            </a:xfrm>
            <a:custGeom>
              <a:avLst/>
              <a:gdLst>
                <a:gd name="T0" fmla="*/ 0 w 25"/>
                <a:gd name="T1" fmla="*/ 30 h 32"/>
                <a:gd name="T2" fmla="*/ 2 w 25"/>
                <a:gd name="T3" fmla="*/ 3 h 32"/>
                <a:gd name="T4" fmla="*/ 12 w 25"/>
                <a:gd name="T5" fmla="*/ 0 h 32"/>
                <a:gd name="T6" fmla="*/ 25 w 25"/>
                <a:gd name="T7" fmla="*/ 32 h 32"/>
                <a:gd name="T8" fmla="*/ 0 w 25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2">
                  <a:moveTo>
                    <a:pt x="0" y="30"/>
                  </a:moveTo>
                  <a:lnTo>
                    <a:pt x="2" y="3"/>
                  </a:lnTo>
                  <a:lnTo>
                    <a:pt x="12" y="0"/>
                  </a:lnTo>
                  <a:lnTo>
                    <a:pt x="25" y="32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302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0 w 59"/>
                <a:gd name="T1" fmla="*/ 3 h 72"/>
                <a:gd name="T2" fmla="*/ 22 w 59"/>
                <a:gd name="T3" fmla="*/ 0 h 72"/>
                <a:gd name="T4" fmla="*/ 37 w 59"/>
                <a:gd name="T5" fmla="*/ 10 h 72"/>
                <a:gd name="T6" fmla="*/ 59 w 59"/>
                <a:gd name="T7" fmla="*/ 43 h 72"/>
                <a:gd name="T8" fmla="*/ 57 w 59"/>
                <a:gd name="T9" fmla="*/ 58 h 72"/>
                <a:gd name="T10" fmla="*/ 50 w 59"/>
                <a:gd name="T11" fmla="*/ 72 h 72"/>
                <a:gd name="T12" fmla="*/ 42 w 59"/>
                <a:gd name="T13" fmla="*/ 60 h 72"/>
                <a:gd name="T14" fmla="*/ 37 w 59"/>
                <a:gd name="T15" fmla="*/ 70 h 72"/>
                <a:gd name="T16" fmla="*/ 27 w 59"/>
                <a:gd name="T17" fmla="*/ 48 h 72"/>
                <a:gd name="T18" fmla="*/ 25 w 59"/>
                <a:gd name="T19" fmla="*/ 25 h 72"/>
                <a:gd name="T20" fmla="*/ 0 w 59"/>
                <a:gd name="T21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0" y="3"/>
                  </a:moveTo>
                  <a:lnTo>
                    <a:pt x="22" y="0"/>
                  </a:lnTo>
                  <a:lnTo>
                    <a:pt x="37" y="10"/>
                  </a:lnTo>
                  <a:lnTo>
                    <a:pt x="59" y="43"/>
                  </a:lnTo>
                  <a:lnTo>
                    <a:pt x="57" y="58"/>
                  </a:lnTo>
                  <a:lnTo>
                    <a:pt x="50" y="72"/>
                  </a:lnTo>
                  <a:lnTo>
                    <a:pt x="42" y="60"/>
                  </a:lnTo>
                  <a:lnTo>
                    <a:pt x="37" y="70"/>
                  </a:lnTo>
                  <a:lnTo>
                    <a:pt x="27" y="48"/>
                  </a:lnTo>
                  <a:lnTo>
                    <a:pt x="25" y="2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303"/>
            <p:cNvSpPr>
              <a:spLocks/>
            </p:cNvSpPr>
            <p:nvPr/>
          </p:nvSpPr>
          <p:spPr bwMode="auto">
            <a:xfrm>
              <a:off x="4543857" y="2773343"/>
              <a:ext cx="182783" cy="103625"/>
            </a:xfrm>
            <a:custGeom>
              <a:avLst/>
              <a:gdLst>
                <a:gd name="T0" fmla="*/ 0 w 127"/>
                <a:gd name="T1" fmla="*/ 20 h 72"/>
                <a:gd name="T2" fmla="*/ 47 w 127"/>
                <a:gd name="T3" fmla="*/ 0 h 72"/>
                <a:gd name="T4" fmla="*/ 65 w 127"/>
                <a:gd name="T5" fmla="*/ 13 h 72"/>
                <a:gd name="T6" fmla="*/ 107 w 127"/>
                <a:gd name="T7" fmla="*/ 25 h 72"/>
                <a:gd name="T8" fmla="*/ 127 w 127"/>
                <a:gd name="T9" fmla="*/ 38 h 72"/>
                <a:gd name="T10" fmla="*/ 92 w 127"/>
                <a:gd name="T11" fmla="*/ 60 h 72"/>
                <a:gd name="T12" fmla="*/ 82 w 127"/>
                <a:gd name="T13" fmla="*/ 72 h 72"/>
                <a:gd name="T14" fmla="*/ 70 w 127"/>
                <a:gd name="T15" fmla="*/ 65 h 72"/>
                <a:gd name="T16" fmla="*/ 72 w 127"/>
                <a:gd name="T17" fmla="*/ 55 h 72"/>
                <a:gd name="T18" fmla="*/ 57 w 127"/>
                <a:gd name="T19" fmla="*/ 53 h 72"/>
                <a:gd name="T20" fmla="*/ 52 w 127"/>
                <a:gd name="T21" fmla="*/ 63 h 72"/>
                <a:gd name="T22" fmla="*/ 40 w 127"/>
                <a:gd name="T23" fmla="*/ 65 h 72"/>
                <a:gd name="T24" fmla="*/ 28 w 127"/>
                <a:gd name="T25" fmla="*/ 53 h 72"/>
                <a:gd name="T26" fmla="*/ 0 w 127"/>
                <a:gd name="T27" fmla="*/ 2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72">
                  <a:moveTo>
                    <a:pt x="0" y="20"/>
                  </a:moveTo>
                  <a:lnTo>
                    <a:pt x="47" y="0"/>
                  </a:lnTo>
                  <a:lnTo>
                    <a:pt x="65" y="13"/>
                  </a:lnTo>
                  <a:lnTo>
                    <a:pt x="107" y="25"/>
                  </a:lnTo>
                  <a:lnTo>
                    <a:pt x="127" y="38"/>
                  </a:lnTo>
                  <a:lnTo>
                    <a:pt x="92" y="60"/>
                  </a:lnTo>
                  <a:lnTo>
                    <a:pt x="82" y="72"/>
                  </a:lnTo>
                  <a:lnTo>
                    <a:pt x="70" y="65"/>
                  </a:lnTo>
                  <a:lnTo>
                    <a:pt x="72" y="55"/>
                  </a:lnTo>
                  <a:lnTo>
                    <a:pt x="57" y="53"/>
                  </a:lnTo>
                  <a:lnTo>
                    <a:pt x="52" y="63"/>
                  </a:lnTo>
                  <a:lnTo>
                    <a:pt x="40" y="65"/>
                  </a:lnTo>
                  <a:lnTo>
                    <a:pt x="28" y="53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 304"/>
            <p:cNvSpPr>
              <a:spLocks/>
            </p:cNvSpPr>
            <p:nvPr/>
          </p:nvSpPr>
          <p:spPr bwMode="auto">
            <a:xfrm>
              <a:off x="4661874" y="2820838"/>
              <a:ext cx="146802" cy="74840"/>
            </a:xfrm>
            <a:custGeom>
              <a:avLst/>
              <a:gdLst>
                <a:gd name="T0" fmla="*/ 45 w 102"/>
                <a:gd name="T1" fmla="*/ 5 h 52"/>
                <a:gd name="T2" fmla="*/ 102 w 102"/>
                <a:gd name="T3" fmla="*/ 0 h 52"/>
                <a:gd name="T4" fmla="*/ 97 w 102"/>
                <a:gd name="T5" fmla="*/ 52 h 52"/>
                <a:gd name="T6" fmla="*/ 82 w 102"/>
                <a:gd name="T7" fmla="*/ 39 h 52"/>
                <a:gd name="T8" fmla="*/ 75 w 102"/>
                <a:gd name="T9" fmla="*/ 37 h 52"/>
                <a:gd name="T10" fmla="*/ 45 w 102"/>
                <a:gd name="T11" fmla="*/ 42 h 52"/>
                <a:gd name="T12" fmla="*/ 25 w 102"/>
                <a:gd name="T13" fmla="*/ 42 h 52"/>
                <a:gd name="T14" fmla="*/ 0 w 102"/>
                <a:gd name="T15" fmla="*/ 39 h 52"/>
                <a:gd name="T16" fmla="*/ 10 w 102"/>
                <a:gd name="T17" fmla="*/ 27 h 52"/>
                <a:gd name="T18" fmla="*/ 45 w 102"/>
                <a:gd name="T19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52">
                  <a:moveTo>
                    <a:pt x="45" y="5"/>
                  </a:moveTo>
                  <a:lnTo>
                    <a:pt x="102" y="0"/>
                  </a:lnTo>
                  <a:lnTo>
                    <a:pt x="97" y="52"/>
                  </a:lnTo>
                  <a:lnTo>
                    <a:pt x="82" y="39"/>
                  </a:lnTo>
                  <a:lnTo>
                    <a:pt x="75" y="37"/>
                  </a:lnTo>
                  <a:lnTo>
                    <a:pt x="45" y="42"/>
                  </a:lnTo>
                  <a:lnTo>
                    <a:pt x="25" y="42"/>
                  </a:lnTo>
                  <a:lnTo>
                    <a:pt x="0" y="39"/>
                  </a:lnTo>
                  <a:lnTo>
                    <a:pt x="10" y="27"/>
                  </a:lnTo>
                  <a:lnTo>
                    <a:pt x="4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 305"/>
            <p:cNvSpPr>
              <a:spLocks/>
            </p:cNvSpPr>
            <p:nvPr/>
          </p:nvSpPr>
          <p:spPr bwMode="auto">
            <a:xfrm>
              <a:off x="5123869" y="3406606"/>
              <a:ext cx="536834" cy="512368"/>
            </a:xfrm>
            <a:custGeom>
              <a:avLst/>
              <a:gdLst>
                <a:gd name="T0" fmla="*/ 196 w 373"/>
                <a:gd name="T1" fmla="*/ 90 h 356"/>
                <a:gd name="T2" fmla="*/ 209 w 373"/>
                <a:gd name="T3" fmla="*/ 80 h 356"/>
                <a:gd name="T4" fmla="*/ 234 w 373"/>
                <a:gd name="T5" fmla="*/ 82 h 356"/>
                <a:gd name="T6" fmla="*/ 254 w 373"/>
                <a:gd name="T7" fmla="*/ 102 h 356"/>
                <a:gd name="T8" fmla="*/ 278 w 373"/>
                <a:gd name="T9" fmla="*/ 127 h 356"/>
                <a:gd name="T10" fmla="*/ 281 w 373"/>
                <a:gd name="T11" fmla="*/ 150 h 356"/>
                <a:gd name="T12" fmla="*/ 291 w 373"/>
                <a:gd name="T13" fmla="*/ 159 h 356"/>
                <a:gd name="T14" fmla="*/ 303 w 373"/>
                <a:gd name="T15" fmla="*/ 199 h 356"/>
                <a:gd name="T16" fmla="*/ 358 w 373"/>
                <a:gd name="T17" fmla="*/ 202 h 356"/>
                <a:gd name="T18" fmla="*/ 373 w 373"/>
                <a:gd name="T19" fmla="*/ 224 h 356"/>
                <a:gd name="T20" fmla="*/ 360 w 373"/>
                <a:gd name="T21" fmla="*/ 274 h 356"/>
                <a:gd name="T22" fmla="*/ 311 w 373"/>
                <a:gd name="T23" fmla="*/ 284 h 356"/>
                <a:gd name="T24" fmla="*/ 258 w 373"/>
                <a:gd name="T25" fmla="*/ 294 h 356"/>
                <a:gd name="T26" fmla="*/ 244 w 373"/>
                <a:gd name="T27" fmla="*/ 311 h 356"/>
                <a:gd name="T28" fmla="*/ 236 w 373"/>
                <a:gd name="T29" fmla="*/ 338 h 356"/>
                <a:gd name="T30" fmla="*/ 214 w 373"/>
                <a:gd name="T31" fmla="*/ 356 h 356"/>
                <a:gd name="T32" fmla="*/ 214 w 373"/>
                <a:gd name="T33" fmla="*/ 341 h 356"/>
                <a:gd name="T34" fmla="*/ 214 w 373"/>
                <a:gd name="T35" fmla="*/ 329 h 356"/>
                <a:gd name="T36" fmla="*/ 206 w 373"/>
                <a:gd name="T37" fmla="*/ 326 h 356"/>
                <a:gd name="T38" fmla="*/ 184 w 373"/>
                <a:gd name="T39" fmla="*/ 324 h 356"/>
                <a:gd name="T40" fmla="*/ 164 w 373"/>
                <a:gd name="T41" fmla="*/ 326 h 356"/>
                <a:gd name="T42" fmla="*/ 149 w 373"/>
                <a:gd name="T43" fmla="*/ 333 h 356"/>
                <a:gd name="T44" fmla="*/ 132 w 373"/>
                <a:gd name="T45" fmla="*/ 311 h 356"/>
                <a:gd name="T46" fmla="*/ 124 w 373"/>
                <a:gd name="T47" fmla="*/ 289 h 356"/>
                <a:gd name="T48" fmla="*/ 112 w 373"/>
                <a:gd name="T49" fmla="*/ 271 h 356"/>
                <a:gd name="T50" fmla="*/ 89 w 373"/>
                <a:gd name="T51" fmla="*/ 242 h 356"/>
                <a:gd name="T52" fmla="*/ 79 w 373"/>
                <a:gd name="T53" fmla="*/ 224 h 356"/>
                <a:gd name="T54" fmla="*/ 67 w 373"/>
                <a:gd name="T55" fmla="*/ 184 h 356"/>
                <a:gd name="T56" fmla="*/ 47 w 373"/>
                <a:gd name="T57" fmla="*/ 152 h 356"/>
                <a:gd name="T58" fmla="*/ 22 w 373"/>
                <a:gd name="T59" fmla="*/ 130 h 356"/>
                <a:gd name="T60" fmla="*/ 20 w 373"/>
                <a:gd name="T61" fmla="*/ 102 h 356"/>
                <a:gd name="T62" fmla="*/ 5 w 373"/>
                <a:gd name="T63" fmla="*/ 92 h 356"/>
                <a:gd name="T64" fmla="*/ 0 w 373"/>
                <a:gd name="T65" fmla="*/ 72 h 356"/>
                <a:gd name="T66" fmla="*/ 22 w 373"/>
                <a:gd name="T67" fmla="*/ 72 h 356"/>
                <a:gd name="T68" fmla="*/ 37 w 373"/>
                <a:gd name="T69" fmla="*/ 58 h 356"/>
                <a:gd name="T70" fmla="*/ 55 w 373"/>
                <a:gd name="T71" fmla="*/ 45 h 356"/>
                <a:gd name="T72" fmla="*/ 55 w 373"/>
                <a:gd name="T73" fmla="*/ 20 h 356"/>
                <a:gd name="T74" fmla="*/ 72 w 373"/>
                <a:gd name="T75" fmla="*/ 3 h 356"/>
                <a:gd name="T76" fmla="*/ 79 w 373"/>
                <a:gd name="T77" fmla="*/ 0 h 356"/>
                <a:gd name="T78" fmla="*/ 92 w 373"/>
                <a:gd name="T79" fmla="*/ 10 h 356"/>
                <a:gd name="T80" fmla="*/ 104 w 373"/>
                <a:gd name="T81" fmla="*/ 20 h 356"/>
                <a:gd name="T82" fmla="*/ 124 w 373"/>
                <a:gd name="T83" fmla="*/ 18 h 356"/>
                <a:gd name="T84" fmla="*/ 137 w 373"/>
                <a:gd name="T85" fmla="*/ 38 h 356"/>
                <a:gd name="T86" fmla="*/ 149 w 373"/>
                <a:gd name="T87" fmla="*/ 43 h 356"/>
                <a:gd name="T88" fmla="*/ 167 w 373"/>
                <a:gd name="T89" fmla="*/ 70 h 356"/>
                <a:gd name="T90" fmla="*/ 196 w 373"/>
                <a:gd name="T91" fmla="*/ 9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3" h="356">
                  <a:moveTo>
                    <a:pt x="196" y="90"/>
                  </a:moveTo>
                  <a:lnTo>
                    <a:pt x="209" y="80"/>
                  </a:lnTo>
                  <a:lnTo>
                    <a:pt x="234" y="82"/>
                  </a:lnTo>
                  <a:lnTo>
                    <a:pt x="254" y="102"/>
                  </a:lnTo>
                  <a:lnTo>
                    <a:pt x="278" y="127"/>
                  </a:lnTo>
                  <a:lnTo>
                    <a:pt x="281" y="150"/>
                  </a:lnTo>
                  <a:lnTo>
                    <a:pt x="291" y="159"/>
                  </a:lnTo>
                  <a:lnTo>
                    <a:pt x="303" y="199"/>
                  </a:lnTo>
                  <a:lnTo>
                    <a:pt x="358" y="202"/>
                  </a:lnTo>
                  <a:lnTo>
                    <a:pt x="373" y="224"/>
                  </a:lnTo>
                  <a:lnTo>
                    <a:pt x="360" y="274"/>
                  </a:lnTo>
                  <a:lnTo>
                    <a:pt x="311" y="284"/>
                  </a:lnTo>
                  <a:lnTo>
                    <a:pt x="258" y="294"/>
                  </a:lnTo>
                  <a:lnTo>
                    <a:pt x="244" y="311"/>
                  </a:lnTo>
                  <a:lnTo>
                    <a:pt x="236" y="338"/>
                  </a:lnTo>
                  <a:lnTo>
                    <a:pt x="214" y="356"/>
                  </a:lnTo>
                  <a:lnTo>
                    <a:pt x="214" y="341"/>
                  </a:lnTo>
                  <a:lnTo>
                    <a:pt x="214" y="329"/>
                  </a:lnTo>
                  <a:lnTo>
                    <a:pt x="206" y="326"/>
                  </a:lnTo>
                  <a:lnTo>
                    <a:pt x="184" y="324"/>
                  </a:lnTo>
                  <a:lnTo>
                    <a:pt x="164" y="326"/>
                  </a:lnTo>
                  <a:lnTo>
                    <a:pt x="149" y="333"/>
                  </a:lnTo>
                  <a:lnTo>
                    <a:pt x="132" y="311"/>
                  </a:lnTo>
                  <a:lnTo>
                    <a:pt x="124" y="289"/>
                  </a:lnTo>
                  <a:lnTo>
                    <a:pt x="112" y="271"/>
                  </a:lnTo>
                  <a:lnTo>
                    <a:pt x="89" y="242"/>
                  </a:lnTo>
                  <a:lnTo>
                    <a:pt x="79" y="224"/>
                  </a:lnTo>
                  <a:lnTo>
                    <a:pt x="67" y="184"/>
                  </a:lnTo>
                  <a:lnTo>
                    <a:pt x="47" y="152"/>
                  </a:lnTo>
                  <a:lnTo>
                    <a:pt x="22" y="130"/>
                  </a:lnTo>
                  <a:lnTo>
                    <a:pt x="20" y="102"/>
                  </a:lnTo>
                  <a:lnTo>
                    <a:pt x="5" y="92"/>
                  </a:lnTo>
                  <a:lnTo>
                    <a:pt x="0" y="72"/>
                  </a:lnTo>
                  <a:lnTo>
                    <a:pt x="22" y="72"/>
                  </a:lnTo>
                  <a:lnTo>
                    <a:pt x="37" y="58"/>
                  </a:lnTo>
                  <a:lnTo>
                    <a:pt x="55" y="45"/>
                  </a:lnTo>
                  <a:lnTo>
                    <a:pt x="55" y="20"/>
                  </a:lnTo>
                  <a:lnTo>
                    <a:pt x="72" y="3"/>
                  </a:lnTo>
                  <a:lnTo>
                    <a:pt x="79" y="0"/>
                  </a:lnTo>
                  <a:lnTo>
                    <a:pt x="92" y="10"/>
                  </a:lnTo>
                  <a:lnTo>
                    <a:pt x="104" y="20"/>
                  </a:lnTo>
                  <a:lnTo>
                    <a:pt x="124" y="18"/>
                  </a:lnTo>
                  <a:lnTo>
                    <a:pt x="137" y="38"/>
                  </a:lnTo>
                  <a:lnTo>
                    <a:pt x="149" y="43"/>
                  </a:lnTo>
                  <a:lnTo>
                    <a:pt x="167" y="70"/>
                  </a:lnTo>
                  <a:lnTo>
                    <a:pt x="196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 306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37 w 59"/>
                <a:gd name="T1" fmla="*/ 10 h 72"/>
                <a:gd name="T2" fmla="*/ 22 w 59"/>
                <a:gd name="T3" fmla="*/ 0 h 72"/>
                <a:gd name="T4" fmla="*/ 0 w 59"/>
                <a:gd name="T5" fmla="*/ 3 h 72"/>
                <a:gd name="T6" fmla="*/ 25 w 59"/>
                <a:gd name="T7" fmla="*/ 25 h 72"/>
                <a:gd name="T8" fmla="*/ 27 w 59"/>
                <a:gd name="T9" fmla="*/ 48 h 72"/>
                <a:gd name="T10" fmla="*/ 37 w 59"/>
                <a:gd name="T11" fmla="*/ 70 h 72"/>
                <a:gd name="T12" fmla="*/ 42 w 59"/>
                <a:gd name="T13" fmla="*/ 60 h 72"/>
                <a:gd name="T14" fmla="*/ 50 w 59"/>
                <a:gd name="T15" fmla="*/ 72 h 72"/>
                <a:gd name="T16" fmla="*/ 57 w 59"/>
                <a:gd name="T17" fmla="*/ 58 h 72"/>
                <a:gd name="T18" fmla="*/ 59 w 59"/>
                <a:gd name="T19" fmla="*/ 43 h 72"/>
                <a:gd name="T20" fmla="*/ 37 w 59"/>
                <a:gd name="T21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37" y="10"/>
                  </a:moveTo>
                  <a:lnTo>
                    <a:pt x="22" y="0"/>
                  </a:lnTo>
                  <a:lnTo>
                    <a:pt x="0" y="3"/>
                  </a:lnTo>
                  <a:lnTo>
                    <a:pt x="25" y="25"/>
                  </a:lnTo>
                  <a:lnTo>
                    <a:pt x="27" y="48"/>
                  </a:lnTo>
                  <a:lnTo>
                    <a:pt x="37" y="70"/>
                  </a:lnTo>
                  <a:lnTo>
                    <a:pt x="42" y="60"/>
                  </a:lnTo>
                  <a:lnTo>
                    <a:pt x="50" y="72"/>
                  </a:lnTo>
                  <a:lnTo>
                    <a:pt x="57" y="58"/>
                  </a:lnTo>
                  <a:lnTo>
                    <a:pt x="59" y="43"/>
                  </a:lnTo>
                  <a:lnTo>
                    <a:pt x="3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307"/>
            <p:cNvSpPr>
              <a:spLocks/>
            </p:cNvSpPr>
            <p:nvPr/>
          </p:nvSpPr>
          <p:spPr bwMode="auto">
            <a:xfrm>
              <a:off x="4743911" y="2544505"/>
              <a:ext cx="172708" cy="151119"/>
            </a:xfrm>
            <a:custGeom>
              <a:avLst/>
              <a:gdLst>
                <a:gd name="T0" fmla="*/ 0 w 120"/>
                <a:gd name="T1" fmla="*/ 62 h 105"/>
                <a:gd name="T2" fmla="*/ 13 w 120"/>
                <a:gd name="T3" fmla="*/ 72 h 105"/>
                <a:gd name="T4" fmla="*/ 13 w 120"/>
                <a:gd name="T5" fmla="*/ 80 h 105"/>
                <a:gd name="T6" fmla="*/ 23 w 120"/>
                <a:gd name="T7" fmla="*/ 85 h 105"/>
                <a:gd name="T8" fmla="*/ 45 w 120"/>
                <a:gd name="T9" fmla="*/ 105 h 105"/>
                <a:gd name="T10" fmla="*/ 45 w 120"/>
                <a:gd name="T11" fmla="*/ 90 h 105"/>
                <a:gd name="T12" fmla="*/ 63 w 120"/>
                <a:gd name="T13" fmla="*/ 82 h 105"/>
                <a:gd name="T14" fmla="*/ 85 w 120"/>
                <a:gd name="T15" fmla="*/ 85 h 105"/>
                <a:gd name="T16" fmla="*/ 90 w 120"/>
                <a:gd name="T17" fmla="*/ 70 h 105"/>
                <a:gd name="T18" fmla="*/ 112 w 120"/>
                <a:gd name="T19" fmla="*/ 62 h 105"/>
                <a:gd name="T20" fmla="*/ 105 w 120"/>
                <a:gd name="T21" fmla="*/ 48 h 105"/>
                <a:gd name="T22" fmla="*/ 117 w 120"/>
                <a:gd name="T23" fmla="*/ 25 h 105"/>
                <a:gd name="T24" fmla="*/ 120 w 120"/>
                <a:gd name="T25" fmla="*/ 28 h 105"/>
                <a:gd name="T26" fmla="*/ 120 w 120"/>
                <a:gd name="T27" fmla="*/ 15 h 105"/>
                <a:gd name="T28" fmla="*/ 82 w 120"/>
                <a:gd name="T29" fmla="*/ 0 h 105"/>
                <a:gd name="T30" fmla="*/ 48 w 120"/>
                <a:gd name="T31" fmla="*/ 23 h 105"/>
                <a:gd name="T32" fmla="*/ 18 w 120"/>
                <a:gd name="T33" fmla="*/ 25 h 105"/>
                <a:gd name="T34" fmla="*/ 8 w 120"/>
                <a:gd name="T35" fmla="*/ 45 h 105"/>
                <a:gd name="T36" fmla="*/ 0 w 120"/>
                <a:gd name="T37" fmla="*/ 6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05">
                  <a:moveTo>
                    <a:pt x="0" y="62"/>
                  </a:moveTo>
                  <a:lnTo>
                    <a:pt x="13" y="72"/>
                  </a:lnTo>
                  <a:lnTo>
                    <a:pt x="13" y="80"/>
                  </a:lnTo>
                  <a:lnTo>
                    <a:pt x="23" y="85"/>
                  </a:lnTo>
                  <a:lnTo>
                    <a:pt x="45" y="105"/>
                  </a:lnTo>
                  <a:lnTo>
                    <a:pt x="45" y="90"/>
                  </a:lnTo>
                  <a:lnTo>
                    <a:pt x="63" y="82"/>
                  </a:lnTo>
                  <a:lnTo>
                    <a:pt x="85" y="85"/>
                  </a:lnTo>
                  <a:lnTo>
                    <a:pt x="90" y="70"/>
                  </a:lnTo>
                  <a:lnTo>
                    <a:pt x="112" y="62"/>
                  </a:lnTo>
                  <a:lnTo>
                    <a:pt x="105" y="48"/>
                  </a:lnTo>
                  <a:lnTo>
                    <a:pt x="117" y="25"/>
                  </a:lnTo>
                  <a:lnTo>
                    <a:pt x="120" y="28"/>
                  </a:lnTo>
                  <a:lnTo>
                    <a:pt x="120" y="15"/>
                  </a:lnTo>
                  <a:lnTo>
                    <a:pt x="82" y="0"/>
                  </a:lnTo>
                  <a:lnTo>
                    <a:pt x="48" y="23"/>
                  </a:lnTo>
                  <a:lnTo>
                    <a:pt x="18" y="25"/>
                  </a:lnTo>
                  <a:lnTo>
                    <a:pt x="8" y="45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308"/>
            <p:cNvSpPr>
              <a:spLocks/>
            </p:cNvSpPr>
            <p:nvPr/>
          </p:nvSpPr>
          <p:spPr bwMode="auto">
            <a:xfrm>
              <a:off x="4765499" y="2488374"/>
              <a:ext cx="208690" cy="96429"/>
            </a:xfrm>
            <a:custGeom>
              <a:avLst/>
              <a:gdLst>
                <a:gd name="T0" fmla="*/ 105 w 145"/>
                <a:gd name="T1" fmla="*/ 67 h 67"/>
                <a:gd name="T2" fmla="*/ 105 w 145"/>
                <a:gd name="T3" fmla="*/ 54 h 67"/>
                <a:gd name="T4" fmla="*/ 67 w 145"/>
                <a:gd name="T5" fmla="*/ 39 h 67"/>
                <a:gd name="T6" fmla="*/ 33 w 145"/>
                <a:gd name="T7" fmla="*/ 62 h 67"/>
                <a:gd name="T8" fmla="*/ 3 w 145"/>
                <a:gd name="T9" fmla="*/ 64 h 67"/>
                <a:gd name="T10" fmla="*/ 0 w 145"/>
                <a:gd name="T11" fmla="*/ 32 h 67"/>
                <a:gd name="T12" fmla="*/ 13 w 145"/>
                <a:gd name="T13" fmla="*/ 19 h 67"/>
                <a:gd name="T14" fmla="*/ 28 w 145"/>
                <a:gd name="T15" fmla="*/ 39 h 67"/>
                <a:gd name="T16" fmla="*/ 45 w 145"/>
                <a:gd name="T17" fmla="*/ 39 h 67"/>
                <a:gd name="T18" fmla="*/ 50 w 145"/>
                <a:gd name="T19" fmla="*/ 22 h 67"/>
                <a:gd name="T20" fmla="*/ 38 w 145"/>
                <a:gd name="T21" fmla="*/ 17 h 67"/>
                <a:gd name="T22" fmla="*/ 30 w 145"/>
                <a:gd name="T23" fmla="*/ 2 h 67"/>
                <a:gd name="T24" fmla="*/ 65 w 145"/>
                <a:gd name="T25" fmla="*/ 0 h 67"/>
                <a:gd name="T26" fmla="*/ 82 w 145"/>
                <a:gd name="T27" fmla="*/ 14 h 67"/>
                <a:gd name="T28" fmla="*/ 117 w 145"/>
                <a:gd name="T29" fmla="*/ 14 h 67"/>
                <a:gd name="T30" fmla="*/ 145 w 145"/>
                <a:gd name="T31" fmla="*/ 39 h 67"/>
                <a:gd name="T32" fmla="*/ 130 w 145"/>
                <a:gd name="T33" fmla="*/ 49 h 67"/>
                <a:gd name="T34" fmla="*/ 115 w 145"/>
                <a:gd name="T35" fmla="*/ 42 h 67"/>
                <a:gd name="T36" fmla="*/ 105 w 145"/>
                <a:gd name="T3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5" h="67">
                  <a:moveTo>
                    <a:pt x="105" y="67"/>
                  </a:moveTo>
                  <a:lnTo>
                    <a:pt x="105" y="54"/>
                  </a:lnTo>
                  <a:lnTo>
                    <a:pt x="67" y="39"/>
                  </a:lnTo>
                  <a:lnTo>
                    <a:pt x="33" y="62"/>
                  </a:lnTo>
                  <a:lnTo>
                    <a:pt x="3" y="64"/>
                  </a:lnTo>
                  <a:lnTo>
                    <a:pt x="0" y="32"/>
                  </a:lnTo>
                  <a:lnTo>
                    <a:pt x="13" y="19"/>
                  </a:lnTo>
                  <a:lnTo>
                    <a:pt x="28" y="39"/>
                  </a:lnTo>
                  <a:lnTo>
                    <a:pt x="45" y="39"/>
                  </a:lnTo>
                  <a:lnTo>
                    <a:pt x="50" y="22"/>
                  </a:lnTo>
                  <a:lnTo>
                    <a:pt x="38" y="17"/>
                  </a:lnTo>
                  <a:lnTo>
                    <a:pt x="30" y="2"/>
                  </a:lnTo>
                  <a:lnTo>
                    <a:pt x="65" y="0"/>
                  </a:lnTo>
                  <a:lnTo>
                    <a:pt x="82" y="14"/>
                  </a:lnTo>
                  <a:lnTo>
                    <a:pt x="117" y="14"/>
                  </a:lnTo>
                  <a:lnTo>
                    <a:pt x="145" y="39"/>
                  </a:lnTo>
                  <a:lnTo>
                    <a:pt x="130" y="49"/>
                  </a:lnTo>
                  <a:lnTo>
                    <a:pt x="115" y="42"/>
                  </a:lnTo>
                  <a:lnTo>
                    <a:pt x="105" y="6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309"/>
            <p:cNvSpPr>
              <a:spLocks/>
            </p:cNvSpPr>
            <p:nvPr/>
          </p:nvSpPr>
          <p:spPr bwMode="auto">
            <a:xfrm>
              <a:off x="4808676" y="2455272"/>
              <a:ext cx="125214" cy="53251"/>
            </a:xfrm>
            <a:custGeom>
              <a:avLst/>
              <a:gdLst>
                <a:gd name="T0" fmla="*/ 87 w 87"/>
                <a:gd name="T1" fmla="*/ 37 h 37"/>
                <a:gd name="T2" fmla="*/ 52 w 87"/>
                <a:gd name="T3" fmla="*/ 37 h 37"/>
                <a:gd name="T4" fmla="*/ 35 w 87"/>
                <a:gd name="T5" fmla="*/ 23 h 37"/>
                <a:gd name="T6" fmla="*/ 0 w 87"/>
                <a:gd name="T7" fmla="*/ 25 h 37"/>
                <a:gd name="T8" fmla="*/ 15 w 87"/>
                <a:gd name="T9" fmla="*/ 13 h 37"/>
                <a:gd name="T10" fmla="*/ 37 w 87"/>
                <a:gd name="T11" fmla="*/ 0 h 37"/>
                <a:gd name="T12" fmla="*/ 67 w 87"/>
                <a:gd name="T13" fmla="*/ 10 h 37"/>
                <a:gd name="T14" fmla="*/ 87 w 8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37">
                  <a:moveTo>
                    <a:pt x="87" y="37"/>
                  </a:moveTo>
                  <a:lnTo>
                    <a:pt x="52" y="37"/>
                  </a:lnTo>
                  <a:lnTo>
                    <a:pt x="35" y="23"/>
                  </a:lnTo>
                  <a:lnTo>
                    <a:pt x="0" y="25"/>
                  </a:lnTo>
                  <a:lnTo>
                    <a:pt x="15" y="13"/>
                  </a:lnTo>
                  <a:lnTo>
                    <a:pt x="37" y="0"/>
                  </a:lnTo>
                  <a:lnTo>
                    <a:pt x="67" y="10"/>
                  </a:lnTo>
                  <a:lnTo>
                    <a:pt x="87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 310"/>
            <p:cNvSpPr>
              <a:spLocks/>
            </p:cNvSpPr>
            <p:nvPr/>
          </p:nvSpPr>
          <p:spPr bwMode="auto">
            <a:xfrm>
              <a:off x="4801480" y="2710016"/>
              <a:ext cx="408743" cy="292165"/>
            </a:xfrm>
            <a:custGeom>
              <a:avLst/>
              <a:gdLst>
                <a:gd name="T0" fmla="*/ 70 w 284"/>
                <a:gd name="T1" fmla="*/ 134 h 203"/>
                <a:gd name="T2" fmla="*/ 92 w 284"/>
                <a:gd name="T3" fmla="*/ 131 h 203"/>
                <a:gd name="T4" fmla="*/ 107 w 284"/>
                <a:gd name="T5" fmla="*/ 141 h 203"/>
                <a:gd name="T6" fmla="*/ 129 w 284"/>
                <a:gd name="T7" fmla="*/ 174 h 203"/>
                <a:gd name="T8" fmla="*/ 127 w 284"/>
                <a:gd name="T9" fmla="*/ 189 h 203"/>
                <a:gd name="T10" fmla="*/ 120 w 284"/>
                <a:gd name="T11" fmla="*/ 203 h 203"/>
                <a:gd name="T12" fmla="*/ 134 w 284"/>
                <a:gd name="T13" fmla="*/ 189 h 203"/>
                <a:gd name="T14" fmla="*/ 144 w 284"/>
                <a:gd name="T15" fmla="*/ 149 h 203"/>
                <a:gd name="T16" fmla="*/ 162 w 284"/>
                <a:gd name="T17" fmla="*/ 146 h 203"/>
                <a:gd name="T18" fmla="*/ 169 w 284"/>
                <a:gd name="T19" fmla="*/ 169 h 203"/>
                <a:gd name="T20" fmla="*/ 214 w 284"/>
                <a:gd name="T21" fmla="*/ 166 h 203"/>
                <a:gd name="T22" fmla="*/ 224 w 284"/>
                <a:gd name="T23" fmla="*/ 151 h 203"/>
                <a:gd name="T24" fmla="*/ 239 w 284"/>
                <a:gd name="T25" fmla="*/ 154 h 203"/>
                <a:gd name="T26" fmla="*/ 271 w 284"/>
                <a:gd name="T27" fmla="*/ 139 h 203"/>
                <a:gd name="T28" fmla="*/ 284 w 284"/>
                <a:gd name="T29" fmla="*/ 84 h 203"/>
                <a:gd name="T30" fmla="*/ 212 w 284"/>
                <a:gd name="T31" fmla="*/ 25 h 203"/>
                <a:gd name="T32" fmla="*/ 202 w 284"/>
                <a:gd name="T33" fmla="*/ 0 h 203"/>
                <a:gd name="T34" fmla="*/ 154 w 284"/>
                <a:gd name="T35" fmla="*/ 2 h 203"/>
                <a:gd name="T36" fmla="*/ 144 w 284"/>
                <a:gd name="T37" fmla="*/ 22 h 203"/>
                <a:gd name="T38" fmla="*/ 18 w 284"/>
                <a:gd name="T39" fmla="*/ 34 h 203"/>
                <a:gd name="T40" fmla="*/ 20 w 284"/>
                <a:gd name="T41" fmla="*/ 67 h 203"/>
                <a:gd name="T42" fmla="*/ 5 w 284"/>
                <a:gd name="T43" fmla="*/ 77 h 203"/>
                <a:gd name="T44" fmla="*/ 0 w 284"/>
                <a:gd name="T45" fmla="*/ 129 h 203"/>
                <a:gd name="T46" fmla="*/ 25 w 284"/>
                <a:gd name="T47" fmla="*/ 129 h 203"/>
                <a:gd name="T48" fmla="*/ 35 w 284"/>
                <a:gd name="T49" fmla="*/ 136 h 203"/>
                <a:gd name="T50" fmla="*/ 60 w 284"/>
                <a:gd name="T51" fmla="*/ 136 h 203"/>
                <a:gd name="T52" fmla="*/ 67 w 284"/>
                <a:gd name="T53" fmla="*/ 134 h 203"/>
                <a:gd name="T54" fmla="*/ 70 w 284"/>
                <a:gd name="T55" fmla="*/ 13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4" h="203">
                  <a:moveTo>
                    <a:pt x="70" y="134"/>
                  </a:moveTo>
                  <a:lnTo>
                    <a:pt x="92" y="131"/>
                  </a:lnTo>
                  <a:lnTo>
                    <a:pt x="107" y="141"/>
                  </a:lnTo>
                  <a:lnTo>
                    <a:pt x="129" y="174"/>
                  </a:lnTo>
                  <a:lnTo>
                    <a:pt x="127" y="189"/>
                  </a:lnTo>
                  <a:lnTo>
                    <a:pt x="120" y="203"/>
                  </a:lnTo>
                  <a:lnTo>
                    <a:pt x="134" y="189"/>
                  </a:lnTo>
                  <a:lnTo>
                    <a:pt x="144" y="149"/>
                  </a:lnTo>
                  <a:lnTo>
                    <a:pt x="162" y="146"/>
                  </a:lnTo>
                  <a:lnTo>
                    <a:pt x="169" y="169"/>
                  </a:lnTo>
                  <a:lnTo>
                    <a:pt x="214" y="166"/>
                  </a:lnTo>
                  <a:lnTo>
                    <a:pt x="224" y="151"/>
                  </a:lnTo>
                  <a:lnTo>
                    <a:pt x="239" y="154"/>
                  </a:lnTo>
                  <a:lnTo>
                    <a:pt x="271" y="139"/>
                  </a:lnTo>
                  <a:lnTo>
                    <a:pt x="284" y="84"/>
                  </a:lnTo>
                  <a:lnTo>
                    <a:pt x="212" y="25"/>
                  </a:lnTo>
                  <a:lnTo>
                    <a:pt x="202" y="0"/>
                  </a:lnTo>
                  <a:lnTo>
                    <a:pt x="154" y="2"/>
                  </a:lnTo>
                  <a:lnTo>
                    <a:pt x="144" y="22"/>
                  </a:lnTo>
                  <a:lnTo>
                    <a:pt x="18" y="34"/>
                  </a:lnTo>
                  <a:lnTo>
                    <a:pt x="20" y="67"/>
                  </a:lnTo>
                  <a:lnTo>
                    <a:pt x="5" y="77"/>
                  </a:lnTo>
                  <a:lnTo>
                    <a:pt x="0" y="129"/>
                  </a:lnTo>
                  <a:lnTo>
                    <a:pt x="25" y="129"/>
                  </a:lnTo>
                  <a:lnTo>
                    <a:pt x="35" y="136"/>
                  </a:lnTo>
                  <a:lnTo>
                    <a:pt x="60" y="136"/>
                  </a:lnTo>
                  <a:lnTo>
                    <a:pt x="67" y="134"/>
                  </a:lnTo>
                  <a:lnTo>
                    <a:pt x="70" y="13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312"/>
            <p:cNvSpPr>
              <a:spLocks/>
            </p:cNvSpPr>
            <p:nvPr/>
          </p:nvSpPr>
          <p:spPr bwMode="auto">
            <a:xfrm>
              <a:off x="4808676" y="2544505"/>
              <a:ext cx="240353" cy="214446"/>
            </a:xfrm>
            <a:custGeom>
              <a:avLst/>
              <a:gdLst>
                <a:gd name="T0" fmla="*/ 13 w 167"/>
                <a:gd name="T1" fmla="*/ 149 h 149"/>
                <a:gd name="T2" fmla="*/ 139 w 167"/>
                <a:gd name="T3" fmla="*/ 137 h 149"/>
                <a:gd name="T4" fmla="*/ 149 w 167"/>
                <a:gd name="T5" fmla="*/ 117 h 149"/>
                <a:gd name="T6" fmla="*/ 159 w 167"/>
                <a:gd name="T7" fmla="*/ 92 h 149"/>
                <a:gd name="T8" fmla="*/ 167 w 167"/>
                <a:gd name="T9" fmla="*/ 82 h 149"/>
                <a:gd name="T10" fmla="*/ 162 w 167"/>
                <a:gd name="T11" fmla="*/ 20 h 149"/>
                <a:gd name="T12" fmla="*/ 115 w 167"/>
                <a:gd name="T13" fmla="*/ 0 h 149"/>
                <a:gd name="T14" fmla="*/ 100 w 167"/>
                <a:gd name="T15" fmla="*/ 10 h 149"/>
                <a:gd name="T16" fmla="*/ 85 w 167"/>
                <a:gd name="T17" fmla="*/ 3 h 149"/>
                <a:gd name="T18" fmla="*/ 75 w 167"/>
                <a:gd name="T19" fmla="*/ 28 h 149"/>
                <a:gd name="T20" fmla="*/ 72 w 167"/>
                <a:gd name="T21" fmla="*/ 25 h 149"/>
                <a:gd name="T22" fmla="*/ 60 w 167"/>
                <a:gd name="T23" fmla="*/ 48 h 149"/>
                <a:gd name="T24" fmla="*/ 67 w 167"/>
                <a:gd name="T25" fmla="*/ 62 h 149"/>
                <a:gd name="T26" fmla="*/ 45 w 167"/>
                <a:gd name="T27" fmla="*/ 70 h 149"/>
                <a:gd name="T28" fmla="*/ 40 w 167"/>
                <a:gd name="T29" fmla="*/ 85 h 149"/>
                <a:gd name="T30" fmla="*/ 18 w 167"/>
                <a:gd name="T31" fmla="*/ 82 h 149"/>
                <a:gd name="T32" fmla="*/ 0 w 167"/>
                <a:gd name="T33" fmla="*/ 90 h 149"/>
                <a:gd name="T34" fmla="*/ 0 w 167"/>
                <a:gd name="T35" fmla="*/ 105 h 149"/>
                <a:gd name="T36" fmla="*/ 0 w 167"/>
                <a:gd name="T37" fmla="*/ 130 h 149"/>
                <a:gd name="T38" fmla="*/ 13 w 167"/>
                <a:gd name="T39" fmla="*/ 130 h 149"/>
                <a:gd name="T40" fmla="*/ 13 w 167"/>
                <a:gd name="T41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49">
                  <a:moveTo>
                    <a:pt x="13" y="149"/>
                  </a:moveTo>
                  <a:lnTo>
                    <a:pt x="139" y="137"/>
                  </a:lnTo>
                  <a:lnTo>
                    <a:pt x="149" y="117"/>
                  </a:lnTo>
                  <a:lnTo>
                    <a:pt x="159" y="92"/>
                  </a:lnTo>
                  <a:lnTo>
                    <a:pt x="167" y="82"/>
                  </a:lnTo>
                  <a:lnTo>
                    <a:pt x="162" y="20"/>
                  </a:lnTo>
                  <a:lnTo>
                    <a:pt x="115" y="0"/>
                  </a:lnTo>
                  <a:lnTo>
                    <a:pt x="100" y="10"/>
                  </a:lnTo>
                  <a:lnTo>
                    <a:pt x="85" y="3"/>
                  </a:lnTo>
                  <a:lnTo>
                    <a:pt x="75" y="28"/>
                  </a:lnTo>
                  <a:lnTo>
                    <a:pt x="72" y="25"/>
                  </a:lnTo>
                  <a:lnTo>
                    <a:pt x="60" y="48"/>
                  </a:lnTo>
                  <a:lnTo>
                    <a:pt x="67" y="62"/>
                  </a:lnTo>
                  <a:lnTo>
                    <a:pt x="45" y="70"/>
                  </a:lnTo>
                  <a:lnTo>
                    <a:pt x="40" y="85"/>
                  </a:lnTo>
                  <a:lnTo>
                    <a:pt x="18" y="82"/>
                  </a:lnTo>
                  <a:lnTo>
                    <a:pt x="0" y="90"/>
                  </a:lnTo>
                  <a:lnTo>
                    <a:pt x="0" y="105"/>
                  </a:lnTo>
                  <a:lnTo>
                    <a:pt x="0" y="130"/>
                  </a:lnTo>
                  <a:lnTo>
                    <a:pt x="13" y="130"/>
                  </a:lnTo>
                  <a:lnTo>
                    <a:pt x="13" y="14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 313"/>
            <p:cNvSpPr>
              <a:spLocks/>
            </p:cNvSpPr>
            <p:nvPr/>
          </p:nvSpPr>
          <p:spPr bwMode="auto">
            <a:xfrm>
              <a:off x="4733836" y="2633737"/>
              <a:ext cx="28785" cy="25906"/>
            </a:xfrm>
            <a:custGeom>
              <a:avLst/>
              <a:gdLst>
                <a:gd name="T0" fmla="*/ 0 w 20"/>
                <a:gd name="T1" fmla="*/ 10 h 18"/>
                <a:gd name="T2" fmla="*/ 20 w 20"/>
                <a:gd name="T3" fmla="*/ 18 h 18"/>
                <a:gd name="T4" fmla="*/ 20 w 20"/>
                <a:gd name="T5" fmla="*/ 10 h 18"/>
                <a:gd name="T6" fmla="*/ 7 w 20"/>
                <a:gd name="T7" fmla="*/ 0 h 18"/>
                <a:gd name="T8" fmla="*/ 0 w 20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10"/>
                  </a:moveTo>
                  <a:lnTo>
                    <a:pt x="20" y="18"/>
                  </a:lnTo>
                  <a:lnTo>
                    <a:pt x="20" y="10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314"/>
            <p:cNvSpPr>
              <a:spLocks/>
            </p:cNvSpPr>
            <p:nvPr/>
          </p:nvSpPr>
          <p:spPr bwMode="auto">
            <a:xfrm>
              <a:off x="4762621" y="3066947"/>
              <a:ext cx="53252" cy="60448"/>
            </a:xfrm>
            <a:custGeom>
              <a:avLst/>
              <a:gdLst>
                <a:gd name="T0" fmla="*/ 2 w 37"/>
                <a:gd name="T1" fmla="*/ 20 h 42"/>
                <a:gd name="T2" fmla="*/ 7 w 37"/>
                <a:gd name="T3" fmla="*/ 40 h 42"/>
                <a:gd name="T4" fmla="*/ 20 w 37"/>
                <a:gd name="T5" fmla="*/ 42 h 42"/>
                <a:gd name="T6" fmla="*/ 37 w 37"/>
                <a:gd name="T7" fmla="*/ 30 h 42"/>
                <a:gd name="T8" fmla="*/ 35 w 37"/>
                <a:gd name="T9" fmla="*/ 5 h 42"/>
                <a:gd name="T10" fmla="*/ 32 w 37"/>
                <a:gd name="T11" fmla="*/ 3 h 42"/>
                <a:gd name="T12" fmla="*/ 25 w 37"/>
                <a:gd name="T13" fmla="*/ 0 h 42"/>
                <a:gd name="T14" fmla="*/ 17 w 37"/>
                <a:gd name="T15" fmla="*/ 0 h 42"/>
                <a:gd name="T16" fmla="*/ 10 w 37"/>
                <a:gd name="T17" fmla="*/ 3 h 42"/>
                <a:gd name="T18" fmla="*/ 2 w 37"/>
                <a:gd name="T19" fmla="*/ 8 h 42"/>
                <a:gd name="T20" fmla="*/ 0 w 37"/>
                <a:gd name="T21" fmla="*/ 13 h 42"/>
                <a:gd name="T22" fmla="*/ 0 w 37"/>
                <a:gd name="T23" fmla="*/ 15 h 42"/>
                <a:gd name="T24" fmla="*/ 2 w 37"/>
                <a:gd name="T25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42">
                  <a:moveTo>
                    <a:pt x="2" y="20"/>
                  </a:moveTo>
                  <a:lnTo>
                    <a:pt x="7" y="40"/>
                  </a:lnTo>
                  <a:lnTo>
                    <a:pt x="20" y="42"/>
                  </a:lnTo>
                  <a:lnTo>
                    <a:pt x="37" y="30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2" y="8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 315"/>
            <p:cNvSpPr>
              <a:spLocks/>
            </p:cNvSpPr>
            <p:nvPr/>
          </p:nvSpPr>
          <p:spPr bwMode="auto">
            <a:xfrm>
              <a:off x="4748228" y="3049676"/>
              <a:ext cx="43177" cy="38860"/>
            </a:xfrm>
            <a:custGeom>
              <a:avLst/>
              <a:gdLst>
                <a:gd name="T0" fmla="*/ 10 w 30"/>
                <a:gd name="T1" fmla="*/ 25 h 27"/>
                <a:gd name="T2" fmla="*/ 12 w 30"/>
                <a:gd name="T3" fmla="*/ 20 h 27"/>
                <a:gd name="T4" fmla="*/ 20 w 30"/>
                <a:gd name="T5" fmla="*/ 15 h 27"/>
                <a:gd name="T6" fmla="*/ 25 w 30"/>
                <a:gd name="T7" fmla="*/ 12 h 27"/>
                <a:gd name="T8" fmla="*/ 30 w 30"/>
                <a:gd name="T9" fmla="*/ 12 h 27"/>
                <a:gd name="T10" fmla="*/ 25 w 30"/>
                <a:gd name="T11" fmla="*/ 7 h 27"/>
                <a:gd name="T12" fmla="*/ 20 w 30"/>
                <a:gd name="T13" fmla="*/ 2 h 27"/>
                <a:gd name="T14" fmla="*/ 17 w 30"/>
                <a:gd name="T15" fmla="*/ 0 h 27"/>
                <a:gd name="T16" fmla="*/ 15 w 30"/>
                <a:gd name="T17" fmla="*/ 0 h 27"/>
                <a:gd name="T18" fmla="*/ 5 w 30"/>
                <a:gd name="T19" fmla="*/ 5 h 27"/>
                <a:gd name="T20" fmla="*/ 2 w 30"/>
                <a:gd name="T21" fmla="*/ 7 h 27"/>
                <a:gd name="T22" fmla="*/ 0 w 30"/>
                <a:gd name="T23" fmla="*/ 12 h 27"/>
                <a:gd name="T24" fmla="*/ 5 w 30"/>
                <a:gd name="T25" fmla="*/ 20 h 27"/>
                <a:gd name="T26" fmla="*/ 10 w 30"/>
                <a:gd name="T27" fmla="*/ 27 h 27"/>
                <a:gd name="T28" fmla="*/ 10 w 30"/>
                <a:gd name="T2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10" y="25"/>
                  </a:moveTo>
                  <a:lnTo>
                    <a:pt x="12" y="20"/>
                  </a:lnTo>
                  <a:lnTo>
                    <a:pt x="20" y="15"/>
                  </a:lnTo>
                  <a:lnTo>
                    <a:pt x="25" y="12"/>
                  </a:lnTo>
                  <a:lnTo>
                    <a:pt x="30" y="12"/>
                  </a:lnTo>
                  <a:lnTo>
                    <a:pt x="25" y="7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12"/>
                  </a:lnTo>
                  <a:lnTo>
                    <a:pt x="5" y="20"/>
                  </a:lnTo>
                  <a:lnTo>
                    <a:pt x="10" y="27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316"/>
            <p:cNvSpPr>
              <a:spLocks/>
            </p:cNvSpPr>
            <p:nvPr/>
          </p:nvSpPr>
          <p:spPr bwMode="auto">
            <a:xfrm>
              <a:off x="4726640" y="3074143"/>
              <a:ext cx="46056" cy="71962"/>
            </a:xfrm>
            <a:custGeom>
              <a:avLst/>
              <a:gdLst>
                <a:gd name="T0" fmla="*/ 25 w 32"/>
                <a:gd name="T1" fmla="*/ 10 h 50"/>
                <a:gd name="T2" fmla="*/ 17 w 32"/>
                <a:gd name="T3" fmla="*/ 0 h 50"/>
                <a:gd name="T4" fmla="*/ 7 w 32"/>
                <a:gd name="T5" fmla="*/ 3 h 50"/>
                <a:gd name="T6" fmla="*/ 10 w 32"/>
                <a:gd name="T7" fmla="*/ 18 h 50"/>
                <a:gd name="T8" fmla="*/ 0 w 32"/>
                <a:gd name="T9" fmla="*/ 37 h 50"/>
                <a:gd name="T10" fmla="*/ 7 w 32"/>
                <a:gd name="T11" fmla="*/ 42 h 50"/>
                <a:gd name="T12" fmla="*/ 15 w 32"/>
                <a:gd name="T13" fmla="*/ 50 h 50"/>
                <a:gd name="T14" fmla="*/ 32 w 32"/>
                <a:gd name="T15" fmla="*/ 35 h 50"/>
                <a:gd name="T16" fmla="*/ 27 w 32"/>
                <a:gd name="T17" fmla="*/ 15 h 50"/>
                <a:gd name="T18" fmla="*/ 25 w 32"/>
                <a:gd name="T19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0">
                  <a:moveTo>
                    <a:pt x="25" y="10"/>
                  </a:moveTo>
                  <a:lnTo>
                    <a:pt x="17" y="0"/>
                  </a:lnTo>
                  <a:lnTo>
                    <a:pt x="7" y="3"/>
                  </a:lnTo>
                  <a:lnTo>
                    <a:pt x="10" y="18"/>
                  </a:lnTo>
                  <a:lnTo>
                    <a:pt x="0" y="37"/>
                  </a:lnTo>
                  <a:lnTo>
                    <a:pt x="7" y="42"/>
                  </a:lnTo>
                  <a:lnTo>
                    <a:pt x="15" y="50"/>
                  </a:lnTo>
                  <a:lnTo>
                    <a:pt x="32" y="35"/>
                  </a:lnTo>
                  <a:lnTo>
                    <a:pt x="27" y="15"/>
                  </a:lnTo>
                  <a:lnTo>
                    <a:pt x="2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 317"/>
            <p:cNvSpPr>
              <a:spLocks/>
            </p:cNvSpPr>
            <p:nvPr/>
          </p:nvSpPr>
          <p:spPr bwMode="auto">
            <a:xfrm>
              <a:off x="4726640" y="3059751"/>
              <a:ext cx="24467" cy="35980"/>
            </a:xfrm>
            <a:custGeom>
              <a:avLst/>
              <a:gdLst>
                <a:gd name="T0" fmla="*/ 10 w 17"/>
                <a:gd name="T1" fmla="*/ 25 h 25"/>
                <a:gd name="T2" fmla="*/ 7 w 17"/>
                <a:gd name="T3" fmla="*/ 13 h 25"/>
                <a:gd name="T4" fmla="*/ 17 w 17"/>
                <a:gd name="T5" fmla="*/ 10 h 25"/>
                <a:gd name="T6" fmla="*/ 15 w 17"/>
                <a:gd name="T7" fmla="*/ 5 h 25"/>
                <a:gd name="T8" fmla="*/ 12 w 17"/>
                <a:gd name="T9" fmla="*/ 3 h 25"/>
                <a:gd name="T10" fmla="*/ 7 w 17"/>
                <a:gd name="T11" fmla="*/ 3 h 25"/>
                <a:gd name="T12" fmla="*/ 2 w 17"/>
                <a:gd name="T13" fmla="*/ 0 h 25"/>
                <a:gd name="T14" fmla="*/ 0 w 17"/>
                <a:gd name="T15" fmla="*/ 10 h 25"/>
                <a:gd name="T16" fmla="*/ 0 w 17"/>
                <a:gd name="T17" fmla="*/ 25 h 25"/>
                <a:gd name="T18" fmla="*/ 5 w 17"/>
                <a:gd name="T19" fmla="*/ 25 h 25"/>
                <a:gd name="T20" fmla="*/ 7 w 17"/>
                <a:gd name="T21" fmla="*/ 25 h 25"/>
                <a:gd name="T22" fmla="*/ 10 w 17"/>
                <a:gd name="T2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5">
                  <a:moveTo>
                    <a:pt x="10" y="25"/>
                  </a:moveTo>
                  <a:lnTo>
                    <a:pt x="7" y="13"/>
                  </a:lnTo>
                  <a:lnTo>
                    <a:pt x="17" y="10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7" y="3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 319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48 w 65"/>
                <a:gd name="T83" fmla="*/ 44 h 62"/>
                <a:gd name="T84" fmla="*/ 50 w 65"/>
                <a:gd name="T85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48" y="44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 320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50 w 65"/>
                <a:gd name="T83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 321"/>
            <p:cNvSpPr>
              <a:spLocks/>
            </p:cNvSpPr>
            <p:nvPr/>
          </p:nvSpPr>
          <p:spPr bwMode="auto">
            <a:xfrm>
              <a:off x="4579838" y="2934537"/>
              <a:ext cx="143924" cy="151120"/>
            </a:xfrm>
            <a:custGeom>
              <a:avLst/>
              <a:gdLst>
                <a:gd name="T0" fmla="*/ 85 w 100"/>
                <a:gd name="T1" fmla="*/ 90 h 105"/>
                <a:gd name="T2" fmla="*/ 82 w 100"/>
                <a:gd name="T3" fmla="*/ 85 h 105"/>
                <a:gd name="T4" fmla="*/ 80 w 100"/>
                <a:gd name="T5" fmla="*/ 85 h 105"/>
                <a:gd name="T6" fmla="*/ 77 w 100"/>
                <a:gd name="T7" fmla="*/ 85 h 105"/>
                <a:gd name="T8" fmla="*/ 75 w 100"/>
                <a:gd name="T9" fmla="*/ 85 h 105"/>
                <a:gd name="T10" fmla="*/ 75 w 100"/>
                <a:gd name="T11" fmla="*/ 82 h 105"/>
                <a:gd name="T12" fmla="*/ 72 w 100"/>
                <a:gd name="T13" fmla="*/ 77 h 105"/>
                <a:gd name="T14" fmla="*/ 70 w 100"/>
                <a:gd name="T15" fmla="*/ 75 h 105"/>
                <a:gd name="T16" fmla="*/ 67 w 100"/>
                <a:gd name="T17" fmla="*/ 72 h 105"/>
                <a:gd name="T18" fmla="*/ 67 w 100"/>
                <a:gd name="T19" fmla="*/ 67 h 105"/>
                <a:gd name="T20" fmla="*/ 65 w 100"/>
                <a:gd name="T21" fmla="*/ 65 h 105"/>
                <a:gd name="T22" fmla="*/ 60 w 100"/>
                <a:gd name="T23" fmla="*/ 62 h 105"/>
                <a:gd name="T24" fmla="*/ 52 w 100"/>
                <a:gd name="T25" fmla="*/ 55 h 105"/>
                <a:gd name="T26" fmla="*/ 47 w 100"/>
                <a:gd name="T27" fmla="*/ 52 h 105"/>
                <a:gd name="T28" fmla="*/ 47 w 100"/>
                <a:gd name="T29" fmla="*/ 50 h 105"/>
                <a:gd name="T30" fmla="*/ 47 w 100"/>
                <a:gd name="T31" fmla="*/ 45 h 105"/>
                <a:gd name="T32" fmla="*/ 42 w 100"/>
                <a:gd name="T33" fmla="*/ 43 h 105"/>
                <a:gd name="T34" fmla="*/ 37 w 100"/>
                <a:gd name="T35" fmla="*/ 33 h 105"/>
                <a:gd name="T36" fmla="*/ 40 w 100"/>
                <a:gd name="T37" fmla="*/ 30 h 105"/>
                <a:gd name="T38" fmla="*/ 42 w 100"/>
                <a:gd name="T39" fmla="*/ 30 h 105"/>
                <a:gd name="T40" fmla="*/ 42 w 100"/>
                <a:gd name="T41" fmla="*/ 33 h 105"/>
                <a:gd name="T42" fmla="*/ 45 w 100"/>
                <a:gd name="T43" fmla="*/ 35 h 105"/>
                <a:gd name="T44" fmla="*/ 47 w 100"/>
                <a:gd name="T45" fmla="*/ 35 h 105"/>
                <a:gd name="T46" fmla="*/ 55 w 100"/>
                <a:gd name="T47" fmla="*/ 30 h 105"/>
                <a:gd name="T48" fmla="*/ 57 w 100"/>
                <a:gd name="T49" fmla="*/ 28 h 105"/>
                <a:gd name="T50" fmla="*/ 67 w 100"/>
                <a:gd name="T51" fmla="*/ 28 h 105"/>
                <a:gd name="T52" fmla="*/ 75 w 100"/>
                <a:gd name="T53" fmla="*/ 30 h 105"/>
                <a:gd name="T54" fmla="*/ 82 w 100"/>
                <a:gd name="T55" fmla="*/ 30 h 105"/>
                <a:gd name="T56" fmla="*/ 87 w 100"/>
                <a:gd name="T57" fmla="*/ 35 h 105"/>
                <a:gd name="T58" fmla="*/ 92 w 100"/>
                <a:gd name="T59" fmla="*/ 35 h 105"/>
                <a:gd name="T60" fmla="*/ 95 w 100"/>
                <a:gd name="T61" fmla="*/ 38 h 105"/>
                <a:gd name="T62" fmla="*/ 97 w 100"/>
                <a:gd name="T63" fmla="*/ 40 h 105"/>
                <a:gd name="T64" fmla="*/ 97 w 100"/>
                <a:gd name="T65" fmla="*/ 38 h 105"/>
                <a:gd name="T66" fmla="*/ 97 w 100"/>
                <a:gd name="T67" fmla="*/ 33 h 105"/>
                <a:gd name="T68" fmla="*/ 95 w 100"/>
                <a:gd name="T69" fmla="*/ 30 h 105"/>
                <a:gd name="T70" fmla="*/ 100 w 100"/>
                <a:gd name="T71" fmla="*/ 28 h 105"/>
                <a:gd name="T72" fmla="*/ 100 w 100"/>
                <a:gd name="T73" fmla="*/ 25 h 105"/>
                <a:gd name="T74" fmla="*/ 97 w 100"/>
                <a:gd name="T75" fmla="*/ 25 h 105"/>
                <a:gd name="T76" fmla="*/ 95 w 100"/>
                <a:gd name="T77" fmla="*/ 23 h 105"/>
                <a:gd name="T78" fmla="*/ 95 w 100"/>
                <a:gd name="T79" fmla="*/ 20 h 105"/>
                <a:gd name="T80" fmla="*/ 95 w 100"/>
                <a:gd name="T81" fmla="*/ 15 h 105"/>
                <a:gd name="T82" fmla="*/ 92 w 100"/>
                <a:gd name="T83" fmla="*/ 18 h 105"/>
                <a:gd name="T84" fmla="*/ 72 w 100"/>
                <a:gd name="T85" fmla="*/ 13 h 105"/>
                <a:gd name="T86" fmla="*/ 52 w 100"/>
                <a:gd name="T87" fmla="*/ 3 h 105"/>
                <a:gd name="T88" fmla="*/ 45 w 100"/>
                <a:gd name="T89" fmla="*/ 0 h 105"/>
                <a:gd name="T90" fmla="*/ 27 w 100"/>
                <a:gd name="T91" fmla="*/ 8 h 105"/>
                <a:gd name="T92" fmla="*/ 0 w 100"/>
                <a:gd name="T93" fmla="*/ 0 h 105"/>
                <a:gd name="T94" fmla="*/ 3 w 100"/>
                <a:gd name="T95" fmla="*/ 15 h 105"/>
                <a:gd name="T96" fmla="*/ 15 w 100"/>
                <a:gd name="T97" fmla="*/ 23 h 105"/>
                <a:gd name="T98" fmla="*/ 20 w 100"/>
                <a:gd name="T99" fmla="*/ 28 h 105"/>
                <a:gd name="T100" fmla="*/ 25 w 100"/>
                <a:gd name="T101" fmla="*/ 47 h 105"/>
                <a:gd name="T102" fmla="*/ 40 w 100"/>
                <a:gd name="T103" fmla="*/ 57 h 105"/>
                <a:gd name="T104" fmla="*/ 40 w 100"/>
                <a:gd name="T105" fmla="*/ 70 h 105"/>
                <a:gd name="T106" fmla="*/ 60 w 100"/>
                <a:gd name="T107" fmla="*/ 77 h 105"/>
                <a:gd name="T108" fmla="*/ 72 w 100"/>
                <a:gd name="T109" fmla="*/ 85 h 105"/>
                <a:gd name="T110" fmla="*/ 82 w 100"/>
                <a:gd name="T111" fmla="*/ 100 h 105"/>
                <a:gd name="T112" fmla="*/ 87 w 100"/>
                <a:gd name="T113" fmla="*/ 105 h 105"/>
                <a:gd name="T114" fmla="*/ 90 w 100"/>
                <a:gd name="T115" fmla="*/ 102 h 105"/>
                <a:gd name="T116" fmla="*/ 85 w 100"/>
                <a:gd name="T11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0" h="105">
                  <a:moveTo>
                    <a:pt x="85" y="90"/>
                  </a:moveTo>
                  <a:lnTo>
                    <a:pt x="82" y="85"/>
                  </a:lnTo>
                  <a:lnTo>
                    <a:pt x="80" y="85"/>
                  </a:lnTo>
                  <a:lnTo>
                    <a:pt x="77" y="85"/>
                  </a:lnTo>
                  <a:lnTo>
                    <a:pt x="75" y="85"/>
                  </a:lnTo>
                  <a:lnTo>
                    <a:pt x="75" y="82"/>
                  </a:lnTo>
                  <a:lnTo>
                    <a:pt x="72" y="77"/>
                  </a:lnTo>
                  <a:lnTo>
                    <a:pt x="70" y="75"/>
                  </a:lnTo>
                  <a:lnTo>
                    <a:pt x="67" y="72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0" y="62"/>
                  </a:lnTo>
                  <a:lnTo>
                    <a:pt x="52" y="55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45"/>
                  </a:lnTo>
                  <a:lnTo>
                    <a:pt x="42" y="43"/>
                  </a:lnTo>
                  <a:lnTo>
                    <a:pt x="37" y="33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2" y="33"/>
                  </a:lnTo>
                  <a:lnTo>
                    <a:pt x="45" y="35"/>
                  </a:lnTo>
                  <a:lnTo>
                    <a:pt x="47" y="35"/>
                  </a:lnTo>
                  <a:lnTo>
                    <a:pt x="55" y="30"/>
                  </a:lnTo>
                  <a:lnTo>
                    <a:pt x="57" y="28"/>
                  </a:lnTo>
                  <a:lnTo>
                    <a:pt x="67" y="28"/>
                  </a:lnTo>
                  <a:lnTo>
                    <a:pt x="75" y="30"/>
                  </a:lnTo>
                  <a:lnTo>
                    <a:pt x="82" y="30"/>
                  </a:lnTo>
                  <a:lnTo>
                    <a:pt x="87" y="35"/>
                  </a:lnTo>
                  <a:lnTo>
                    <a:pt x="92" y="35"/>
                  </a:lnTo>
                  <a:lnTo>
                    <a:pt x="95" y="38"/>
                  </a:lnTo>
                  <a:lnTo>
                    <a:pt x="97" y="40"/>
                  </a:lnTo>
                  <a:lnTo>
                    <a:pt x="97" y="38"/>
                  </a:lnTo>
                  <a:lnTo>
                    <a:pt x="97" y="33"/>
                  </a:lnTo>
                  <a:lnTo>
                    <a:pt x="95" y="30"/>
                  </a:lnTo>
                  <a:lnTo>
                    <a:pt x="100" y="28"/>
                  </a:lnTo>
                  <a:lnTo>
                    <a:pt x="100" y="25"/>
                  </a:lnTo>
                  <a:lnTo>
                    <a:pt x="97" y="25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5" y="15"/>
                  </a:lnTo>
                  <a:lnTo>
                    <a:pt x="92" y="18"/>
                  </a:lnTo>
                  <a:lnTo>
                    <a:pt x="72" y="13"/>
                  </a:lnTo>
                  <a:lnTo>
                    <a:pt x="52" y="3"/>
                  </a:lnTo>
                  <a:lnTo>
                    <a:pt x="45" y="0"/>
                  </a:lnTo>
                  <a:lnTo>
                    <a:pt x="27" y="8"/>
                  </a:lnTo>
                  <a:lnTo>
                    <a:pt x="0" y="0"/>
                  </a:lnTo>
                  <a:lnTo>
                    <a:pt x="3" y="15"/>
                  </a:lnTo>
                  <a:lnTo>
                    <a:pt x="15" y="23"/>
                  </a:lnTo>
                  <a:lnTo>
                    <a:pt x="20" y="28"/>
                  </a:lnTo>
                  <a:lnTo>
                    <a:pt x="25" y="47"/>
                  </a:lnTo>
                  <a:lnTo>
                    <a:pt x="40" y="57"/>
                  </a:lnTo>
                  <a:lnTo>
                    <a:pt x="40" y="70"/>
                  </a:lnTo>
                  <a:lnTo>
                    <a:pt x="60" y="77"/>
                  </a:lnTo>
                  <a:lnTo>
                    <a:pt x="72" y="85"/>
                  </a:lnTo>
                  <a:lnTo>
                    <a:pt x="82" y="100"/>
                  </a:lnTo>
                  <a:lnTo>
                    <a:pt x="87" y="105"/>
                  </a:lnTo>
                  <a:lnTo>
                    <a:pt x="90" y="102"/>
                  </a:lnTo>
                  <a:lnTo>
                    <a:pt x="85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 322"/>
            <p:cNvSpPr>
              <a:spLocks/>
            </p:cNvSpPr>
            <p:nvPr/>
          </p:nvSpPr>
          <p:spPr bwMode="auto">
            <a:xfrm>
              <a:off x="4702173" y="3030966"/>
              <a:ext cx="53252" cy="64765"/>
            </a:xfrm>
            <a:custGeom>
              <a:avLst/>
              <a:gdLst>
                <a:gd name="T0" fmla="*/ 37 w 37"/>
                <a:gd name="T1" fmla="*/ 18 h 45"/>
                <a:gd name="T2" fmla="*/ 37 w 37"/>
                <a:gd name="T3" fmla="*/ 15 h 45"/>
                <a:gd name="T4" fmla="*/ 29 w 37"/>
                <a:gd name="T5" fmla="*/ 15 h 45"/>
                <a:gd name="T6" fmla="*/ 22 w 37"/>
                <a:gd name="T7" fmla="*/ 10 h 45"/>
                <a:gd name="T8" fmla="*/ 15 w 37"/>
                <a:gd name="T9" fmla="*/ 5 h 45"/>
                <a:gd name="T10" fmla="*/ 10 w 37"/>
                <a:gd name="T11" fmla="*/ 0 h 45"/>
                <a:gd name="T12" fmla="*/ 2 w 37"/>
                <a:gd name="T13" fmla="*/ 5 h 45"/>
                <a:gd name="T14" fmla="*/ 0 w 37"/>
                <a:gd name="T15" fmla="*/ 10 h 45"/>
                <a:gd name="T16" fmla="*/ 0 w 37"/>
                <a:gd name="T17" fmla="*/ 15 h 45"/>
                <a:gd name="T18" fmla="*/ 0 w 37"/>
                <a:gd name="T19" fmla="*/ 23 h 45"/>
                <a:gd name="T20" fmla="*/ 5 w 37"/>
                <a:gd name="T21" fmla="*/ 35 h 45"/>
                <a:gd name="T22" fmla="*/ 2 w 37"/>
                <a:gd name="T23" fmla="*/ 38 h 45"/>
                <a:gd name="T24" fmla="*/ 12 w 37"/>
                <a:gd name="T25" fmla="*/ 43 h 45"/>
                <a:gd name="T26" fmla="*/ 17 w 37"/>
                <a:gd name="T27" fmla="*/ 45 h 45"/>
                <a:gd name="T28" fmla="*/ 17 w 37"/>
                <a:gd name="T29" fmla="*/ 30 h 45"/>
                <a:gd name="T30" fmla="*/ 19 w 37"/>
                <a:gd name="T31" fmla="*/ 20 h 45"/>
                <a:gd name="T32" fmla="*/ 24 w 37"/>
                <a:gd name="T33" fmla="*/ 23 h 45"/>
                <a:gd name="T34" fmla="*/ 29 w 37"/>
                <a:gd name="T35" fmla="*/ 23 h 45"/>
                <a:gd name="T36" fmla="*/ 32 w 37"/>
                <a:gd name="T37" fmla="*/ 25 h 45"/>
                <a:gd name="T38" fmla="*/ 34 w 37"/>
                <a:gd name="T39" fmla="*/ 20 h 45"/>
                <a:gd name="T40" fmla="*/ 34 w 37"/>
                <a:gd name="T41" fmla="*/ 18 h 45"/>
                <a:gd name="T42" fmla="*/ 37 w 37"/>
                <a:gd name="T43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5">
                  <a:moveTo>
                    <a:pt x="37" y="18"/>
                  </a:moveTo>
                  <a:lnTo>
                    <a:pt x="37" y="15"/>
                  </a:lnTo>
                  <a:lnTo>
                    <a:pt x="29" y="15"/>
                  </a:lnTo>
                  <a:lnTo>
                    <a:pt x="22" y="10"/>
                  </a:lnTo>
                  <a:lnTo>
                    <a:pt x="15" y="5"/>
                  </a:lnTo>
                  <a:lnTo>
                    <a:pt x="10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5" y="35"/>
                  </a:lnTo>
                  <a:lnTo>
                    <a:pt x="2" y="38"/>
                  </a:lnTo>
                  <a:lnTo>
                    <a:pt x="12" y="43"/>
                  </a:lnTo>
                  <a:lnTo>
                    <a:pt x="17" y="45"/>
                  </a:lnTo>
                  <a:lnTo>
                    <a:pt x="17" y="30"/>
                  </a:lnTo>
                  <a:lnTo>
                    <a:pt x="19" y="20"/>
                  </a:lnTo>
                  <a:lnTo>
                    <a:pt x="24" y="23"/>
                  </a:lnTo>
                  <a:lnTo>
                    <a:pt x="29" y="23"/>
                  </a:lnTo>
                  <a:lnTo>
                    <a:pt x="32" y="25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7" y="1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 324"/>
            <p:cNvSpPr>
              <a:spLocks/>
            </p:cNvSpPr>
            <p:nvPr/>
          </p:nvSpPr>
          <p:spPr bwMode="auto">
            <a:xfrm>
              <a:off x="4716565" y="2946051"/>
              <a:ext cx="103625" cy="128092"/>
            </a:xfrm>
            <a:custGeom>
              <a:avLst/>
              <a:gdLst>
                <a:gd name="T0" fmla="*/ 52 w 72"/>
                <a:gd name="T1" fmla="*/ 84 h 89"/>
                <a:gd name="T2" fmla="*/ 57 w 72"/>
                <a:gd name="T3" fmla="*/ 84 h 89"/>
                <a:gd name="T4" fmla="*/ 64 w 72"/>
                <a:gd name="T5" fmla="*/ 87 h 89"/>
                <a:gd name="T6" fmla="*/ 67 w 72"/>
                <a:gd name="T7" fmla="*/ 89 h 89"/>
                <a:gd name="T8" fmla="*/ 67 w 72"/>
                <a:gd name="T9" fmla="*/ 87 h 89"/>
                <a:gd name="T10" fmla="*/ 57 w 72"/>
                <a:gd name="T11" fmla="*/ 69 h 89"/>
                <a:gd name="T12" fmla="*/ 57 w 72"/>
                <a:gd name="T13" fmla="*/ 59 h 89"/>
                <a:gd name="T14" fmla="*/ 72 w 72"/>
                <a:gd name="T15" fmla="*/ 47 h 89"/>
                <a:gd name="T16" fmla="*/ 62 w 72"/>
                <a:gd name="T17" fmla="*/ 39 h 89"/>
                <a:gd name="T18" fmla="*/ 44 w 72"/>
                <a:gd name="T19" fmla="*/ 30 h 89"/>
                <a:gd name="T20" fmla="*/ 27 w 72"/>
                <a:gd name="T21" fmla="*/ 17 h 89"/>
                <a:gd name="T22" fmla="*/ 22 w 72"/>
                <a:gd name="T23" fmla="*/ 2 h 89"/>
                <a:gd name="T24" fmla="*/ 7 w 72"/>
                <a:gd name="T25" fmla="*/ 0 h 89"/>
                <a:gd name="T26" fmla="*/ 0 w 72"/>
                <a:gd name="T27" fmla="*/ 7 h 89"/>
                <a:gd name="T28" fmla="*/ 0 w 72"/>
                <a:gd name="T29" fmla="*/ 12 h 89"/>
                <a:gd name="T30" fmla="*/ 0 w 72"/>
                <a:gd name="T31" fmla="*/ 15 h 89"/>
                <a:gd name="T32" fmla="*/ 2 w 72"/>
                <a:gd name="T33" fmla="*/ 17 h 89"/>
                <a:gd name="T34" fmla="*/ 5 w 72"/>
                <a:gd name="T35" fmla="*/ 17 h 89"/>
                <a:gd name="T36" fmla="*/ 5 w 72"/>
                <a:gd name="T37" fmla="*/ 20 h 89"/>
                <a:gd name="T38" fmla="*/ 0 w 72"/>
                <a:gd name="T39" fmla="*/ 22 h 89"/>
                <a:gd name="T40" fmla="*/ 2 w 72"/>
                <a:gd name="T41" fmla="*/ 25 h 89"/>
                <a:gd name="T42" fmla="*/ 2 w 72"/>
                <a:gd name="T43" fmla="*/ 30 h 89"/>
                <a:gd name="T44" fmla="*/ 2 w 72"/>
                <a:gd name="T45" fmla="*/ 32 h 89"/>
                <a:gd name="T46" fmla="*/ 5 w 72"/>
                <a:gd name="T47" fmla="*/ 37 h 89"/>
                <a:gd name="T48" fmla="*/ 5 w 72"/>
                <a:gd name="T49" fmla="*/ 39 h 89"/>
                <a:gd name="T50" fmla="*/ 5 w 72"/>
                <a:gd name="T51" fmla="*/ 49 h 89"/>
                <a:gd name="T52" fmla="*/ 7 w 72"/>
                <a:gd name="T53" fmla="*/ 57 h 89"/>
                <a:gd name="T54" fmla="*/ 7 w 72"/>
                <a:gd name="T55" fmla="*/ 59 h 89"/>
                <a:gd name="T56" fmla="*/ 0 w 72"/>
                <a:gd name="T57" fmla="*/ 59 h 89"/>
                <a:gd name="T58" fmla="*/ 5 w 72"/>
                <a:gd name="T59" fmla="*/ 64 h 89"/>
                <a:gd name="T60" fmla="*/ 12 w 72"/>
                <a:gd name="T61" fmla="*/ 69 h 89"/>
                <a:gd name="T62" fmla="*/ 19 w 72"/>
                <a:gd name="T63" fmla="*/ 74 h 89"/>
                <a:gd name="T64" fmla="*/ 27 w 72"/>
                <a:gd name="T65" fmla="*/ 74 h 89"/>
                <a:gd name="T66" fmla="*/ 27 w 72"/>
                <a:gd name="T67" fmla="*/ 77 h 89"/>
                <a:gd name="T68" fmla="*/ 37 w 72"/>
                <a:gd name="T69" fmla="*/ 72 h 89"/>
                <a:gd name="T70" fmla="*/ 39 w 72"/>
                <a:gd name="T71" fmla="*/ 72 h 89"/>
                <a:gd name="T72" fmla="*/ 42 w 72"/>
                <a:gd name="T73" fmla="*/ 74 h 89"/>
                <a:gd name="T74" fmla="*/ 47 w 72"/>
                <a:gd name="T75" fmla="*/ 79 h 89"/>
                <a:gd name="T76" fmla="*/ 52 w 72"/>
                <a:gd name="T77" fmla="*/ 8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" h="89">
                  <a:moveTo>
                    <a:pt x="52" y="84"/>
                  </a:moveTo>
                  <a:lnTo>
                    <a:pt x="57" y="84"/>
                  </a:lnTo>
                  <a:lnTo>
                    <a:pt x="64" y="87"/>
                  </a:lnTo>
                  <a:lnTo>
                    <a:pt x="67" y="89"/>
                  </a:lnTo>
                  <a:lnTo>
                    <a:pt x="67" y="87"/>
                  </a:lnTo>
                  <a:lnTo>
                    <a:pt x="57" y="69"/>
                  </a:lnTo>
                  <a:lnTo>
                    <a:pt x="57" y="59"/>
                  </a:lnTo>
                  <a:lnTo>
                    <a:pt x="72" y="47"/>
                  </a:lnTo>
                  <a:lnTo>
                    <a:pt x="62" y="39"/>
                  </a:lnTo>
                  <a:lnTo>
                    <a:pt x="44" y="30"/>
                  </a:lnTo>
                  <a:lnTo>
                    <a:pt x="27" y="17"/>
                  </a:lnTo>
                  <a:lnTo>
                    <a:pt x="22" y="2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20"/>
                  </a:lnTo>
                  <a:lnTo>
                    <a:pt x="0" y="22"/>
                  </a:lnTo>
                  <a:lnTo>
                    <a:pt x="2" y="25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5" y="37"/>
                  </a:lnTo>
                  <a:lnTo>
                    <a:pt x="5" y="39"/>
                  </a:lnTo>
                  <a:lnTo>
                    <a:pt x="5" y="49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0" y="59"/>
                  </a:lnTo>
                  <a:lnTo>
                    <a:pt x="5" y="64"/>
                  </a:lnTo>
                  <a:lnTo>
                    <a:pt x="12" y="69"/>
                  </a:lnTo>
                  <a:lnTo>
                    <a:pt x="19" y="74"/>
                  </a:lnTo>
                  <a:lnTo>
                    <a:pt x="27" y="74"/>
                  </a:lnTo>
                  <a:lnTo>
                    <a:pt x="27" y="77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2" y="74"/>
                  </a:lnTo>
                  <a:lnTo>
                    <a:pt x="47" y="79"/>
                  </a:lnTo>
                  <a:lnTo>
                    <a:pt x="52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02" name="Picture 3" descr="Upper Gastrointestinal Bleeding: Evidence-Based Treatme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249" y="2477301"/>
            <a:ext cx="1656524" cy="189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37169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9706726" cy="875204"/>
          </a:xfrm>
        </p:spPr>
        <p:txBody>
          <a:bodyPr/>
          <a:lstStyle/>
          <a:p>
            <a:r>
              <a:rPr lang="pt-PT" sz="1800" dirty="0"/>
              <a:t>         The Supplier will receive a Qualification Questionnaire from Faurecia by mail </a:t>
            </a:r>
            <a:br>
              <a:rPr lang="pt-PT" sz="1800" dirty="0"/>
            </a:br>
            <a:r>
              <a:rPr lang="pt-PT" sz="1800" dirty="0"/>
              <a:t>       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57325" y="215148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C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Espace réservé du contenu 5"/>
          <p:cNvSpPr>
            <a:spLocks noGrp="1"/>
          </p:cNvSpPr>
          <p:nvPr>
            <p:ph idx="1"/>
          </p:nvPr>
        </p:nvSpPr>
        <p:spPr>
          <a:xfrm>
            <a:off x="282575" y="1049338"/>
            <a:ext cx="11630025" cy="530701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   </a:t>
            </a:r>
            <a:endParaRPr lang="en-US" dirty="0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A9B098A0-3436-41C2-827E-E3F5EA97B26B}"/>
              </a:ext>
            </a:extLst>
          </p:cNvPr>
          <p:cNvSpPr txBox="1">
            <a:spLocks/>
          </p:cNvSpPr>
          <p:nvPr/>
        </p:nvSpPr>
        <p:spPr>
          <a:xfrm>
            <a:off x="561257" y="1291802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marR="0" lvl="0" indent="-22860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fr-FR" sz="20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Click on the email notification to fill questionnaire and be able to sell &amp; deliver on the right segments / locations </a:t>
            </a:r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6AF0F1B5-026C-4600-97E1-6ED6D77D00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5023" y="2550358"/>
            <a:ext cx="7608094" cy="34900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ounded Rectangle 2">
            <a:extLst>
              <a:ext uri="{FF2B5EF4-FFF2-40B4-BE49-F238E27FC236}">
                <a16:creationId xmlns:a16="http://schemas.microsoft.com/office/drawing/2014/main" id="{696A11EC-25D4-45CB-A0FB-33CD0911303E}"/>
              </a:ext>
            </a:extLst>
          </p:cNvPr>
          <p:cNvSpPr/>
          <p:nvPr/>
        </p:nvSpPr>
        <p:spPr>
          <a:xfrm>
            <a:off x="1457325" y="5674535"/>
            <a:ext cx="2461773" cy="527739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3287216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9706726" cy="875204"/>
          </a:xfrm>
        </p:spPr>
        <p:txBody>
          <a:bodyPr/>
          <a:lstStyle/>
          <a:p>
            <a:r>
              <a:rPr lang="pt-PT" sz="1800" dirty="0"/>
              <a:t>         The Supplier performs Qualification Questionnaire </a:t>
            </a:r>
            <a:br>
              <a:rPr lang="pt-PT" sz="1800" dirty="0"/>
            </a:br>
            <a:r>
              <a:rPr lang="pt-PT" sz="1800" dirty="0"/>
              <a:t>       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57325" y="215148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C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Espace réservé du contenu 5"/>
          <p:cNvSpPr>
            <a:spLocks noGrp="1"/>
          </p:cNvSpPr>
          <p:nvPr>
            <p:ph idx="1"/>
          </p:nvPr>
        </p:nvSpPr>
        <p:spPr>
          <a:xfrm>
            <a:off x="282575" y="1049338"/>
            <a:ext cx="11630025" cy="2209161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   </a:t>
            </a:r>
            <a:endParaRPr lang="en-US" dirty="0"/>
          </a:p>
        </p:txBody>
      </p:sp>
      <p:sp>
        <p:nvSpPr>
          <p:cNvPr id="10" name="Espace réservé du contenu 2">
            <a:extLst>
              <a:ext uri="{FF2B5EF4-FFF2-40B4-BE49-F238E27FC236}">
                <a16:creationId xmlns:a16="http://schemas.microsoft.com/office/drawing/2014/main" id="{A9B098A0-3436-41C2-827E-E3F5EA97B26B}"/>
              </a:ext>
            </a:extLst>
          </p:cNvPr>
          <p:cNvSpPr txBox="1">
            <a:spLocks/>
          </p:cNvSpPr>
          <p:nvPr/>
        </p:nvSpPr>
        <p:spPr>
          <a:xfrm>
            <a:off x="263525" y="1011614"/>
            <a:ext cx="11630743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600" indent="-228600" algn="l" defTabSz="914400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kumimoji="0" lang="fr-FR" sz="20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4" name="Espace réservé du contenu 2">
            <a:extLst>
              <a:ext uri="{FF2B5EF4-FFF2-40B4-BE49-F238E27FC236}">
                <a16:creationId xmlns:a16="http://schemas.microsoft.com/office/drawing/2014/main" id="{26A9BA23-1A4B-480F-80DA-FEEA7AFDE4AD}"/>
              </a:ext>
            </a:extLst>
          </p:cNvPr>
          <p:cNvSpPr txBox="1">
            <a:spLocks/>
          </p:cNvSpPr>
          <p:nvPr/>
        </p:nvSpPr>
        <p:spPr>
          <a:xfrm>
            <a:off x="754505" y="976978"/>
            <a:ext cx="8723057" cy="3632421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Fill/verify key elements and data such as : </a:t>
            </a:r>
          </a:p>
          <a:p>
            <a:pPr lvl="1"/>
            <a:r>
              <a:rPr lang="fr-FR" sz="1800" dirty="0"/>
              <a:t>Turnover data</a:t>
            </a:r>
          </a:p>
          <a:p>
            <a:pPr lvl="1"/>
            <a:r>
              <a:rPr lang="fr-FR" sz="1800" dirty="0"/>
              <a:t>Staff data (number of employees, quality director name, etc.)</a:t>
            </a:r>
          </a:p>
          <a:p>
            <a:pPr lvl="1"/>
            <a:r>
              <a:rPr lang="fr-FR" sz="1800" dirty="0"/>
              <a:t>Key product/services delivered to Faurecia description, location, volume</a:t>
            </a:r>
          </a:p>
          <a:p>
            <a:pPr lvl="1"/>
            <a:r>
              <a:rPr lang="fr-FR" sz="1800" dirty="0"/>
              <a:t>Etc.</a:t>
            </a:r>
          </a:p>
        </p:txBody>
      </p:sp>
      <p:pic>
        <p:nvPicPr>
          <p:cNvPr id="15" name="Picture 2">
            <a:extLst>
              <a:ext uri="{FF2B5EF4-FFF2-40B4-BE49-F238E27FC236}">
                <a16:creationId xmlns:a16="http://schemas.microsoft.com/office/drawing/2014/main" id="{377A3EDA-E430-44BA-AACA-5F9879D93A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clrChange>
              <a:clrFrom>
                <a:srgbClr val="F5F5F5"/>
              </a:clrFrom>
              <a:clrTo>
                <a:srgbClr val="F5F5F5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29062" y="2613633"/>
            <a:ext cx="6182915" cy="40553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440572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dirty="0"/>
              <a:t> Qualification Process Complete!</a:t>
            </a: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 </a:t>
            </a:r>
            <a:endParaRPr lang="en-US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5996034" y="6431656"/>
            <a:ext cx="259188" cy="211203"/>
          </a:xfrm>
        </p:spPr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2</a:t>
            </a:r>
          </a:p>
        </p:txBody>
      </p:sp>
      <p:grpSp>
        <p:nvGrpSpPr>
          <p:cNvPr id="6" name="Groupe 5"/>
          <p:cNvGrpSpPr/>
          <p:nvPr/>
        </p:nvGrpSpPr>
        <p:grpSpPr>
          <a:xfrm>
            <a:off x="1731298" y="1606378"/>
            <a:ext cx="8710220" cy="4305094"/>
            <a:chOff x="397420" y="1374406"/>
            <a:chExt cx="8279921" cy="4759552"/>
          </a:xfrm>
          <a:solidFill>
            <a:srgbClr val="AEC9E8"/>
          </a:solidFill>
          <a:effectLst>
            <a:outerShdw blurRad="50800" dist="38100" dir="2700000" algn="tl" rotWithShape="0">
              <a:schemeClr val="bg1">
                <a:lumMod val="65000"/>
                <a:alpha val="40000"/>
              </a:schemeClr>
            </a:outerShdw>
          </a:effectLst>
        </p:grpSpPr>
        <p:sp>
          <p:nvSpPr>
            <p:cNvPr id="7" name="Freeform 9"/>
            <p:cNvSpPr>
              <a:spLocks/>
            </p:cNvSpPr>
            <p:nvPr/>
          </p:nvSpPr>
          <p:spPr bwMode="auto">
            <a:xfrm>
              <a:off x="3857342" y="3536138"/>
              <a:ext cx="204371" cy="218764"/>
            </a:xfrm>
            <a:custGeom>
              <a:avLst/>
              <a:gdLst>
                <a:gd name="T0" fmla="*/ 139 w 142"/>
                <a:gd name="T1" fmla="*/ 7 h 152"/>
                <a:gd name="T2" fmla="*/ 142 w 142"/>
                <a:gd name="T3" fmla="*/ 0 h 152"/>
                <a:gd name="T4" fmla="*/ 129 w 142"/>
                <a:gd name="T5" fmla="*/ 0 h 152"/>
                <a:gd name="T6" fmla="*/ 82 w 142"/>
                <a:gd name="T7" fmla="*/ 0 h 152"/>
                <a:gd name="T8" fmla="*/ 77 w 142"/>
                <a:gd name="T9" fmla="*/ 10 h 152"/>
                <a:gd name="T10" fmla="*/ 55 w 142"/>
                <a:gd name="T11" fmla="*/ 7 h 152"/>
                <a:gd name="T12" fmla="*/ 52 w 142"/>
                <a:gd name="T13" fmla="*/ 30 h 152"/>
                <a:gd name="T14" fmla="*/ 45 w 142"/>
                <a:gd name="T15" fmla="*/ 42 h 152"/>
                <a:gd name="T16" fmla="*/ 30 w 142"/>
                <a:gd name="T17" fmla="*/ 50 h 152"/>
                <a:gd name="T18" fmla="*/ 22 w 142"/>
                <a:gd name="T19" fmla="*/ 57 h 152"/>
                <a:gd name="T20" fmla="*/ 22 w 142"/>
                <a:gd name="T21" fmla="*/ 82 h 152"/>
                <a:gd name="T22" fmla="*/ 12 w 142"/>
                <a:gd name="T23" fmla="*/ 84 h 152"/>
                <a:gd name="T24" fmla="*/ 15 w 142"/>
                <a:gd name="T25" fmla="*/ 97 h 152"/>
                <a:gd name="T26" fmla="*/ 7 w 142"/>
                <a:gd name="T27" fmla="*/ 104 h 152"/>
                <a:gd name="T28" fmla="*/ 0 w 142"/>
                <a:gd name="T29" fmla="*/ 122 h 152"/>
                <a:gd name="T30" fmla="*/ 2 w 142"/>
                <a:gd name="T31" fmla="*/ 147 h 152"/>
                <a:gd name="T32" fmla="*/ 10 w 142"/>
                <a:gd name="T33" fmla="*/ 149 h 152"/>
                <a:gd name="T34" fmla="*/ 35 w 142"/>
                <a:gd name="T35" fmla="*/ 152 h 152"/>
                <a:gd name="T36" fmla="*/ 50 w 142"/>
                <a:gd name="T37" fmla="*/ 152 h 152"/>
                <a:gd name="T38" fmla="*/ 52 w 142"/>
                <a:gd name="T39" fmla="*/ 127 h 152"/>
                <a:gd name="T40" fmla="*/ 57 w 142"/>
                <a:gd name="T41" fmla="*/ 112 h 152"/>
                <a:gd name="T42" fmla="*/ 67 w 142"/>
                <a:gd name="T43" fmla="*/ 102 h 152"/>
                <a:gd name="T44" fmla="*/ 82 w 142"/>
                <a:gd name="T45" fmla="*/ 107 h 152"/>
                <a:gd name="T46" fmla="*/ 82 w 142"/>
                <a:gd name="T47" fmla="*/ 47 h 152"/>
                <a:gd name="T48" fmla="*/ 124 w 142"/>
                <a:gd name="T49" fmla="*/ 42 h 152"/>
                <a:gd name="T50" fmla="*/ 134 w 142"/>
                <a:gd name="T51" fmla="*/ 32 h 152"/>
                <a:gd name="T52" fmla="*/ 139 w 142"/>
                <a:gd name="T53" fmla="*/ 7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2" h="152">
                  <a:moveTo>
                    <a:pt x="139" y="7"/>
                  </a:moveTo>
                  <a:lnTo>
                    <a:pt x="142" y="0"/>
                  </a:lnTo>
                  <a:lnTo>
                    <a:pt x="129" y="0"/>
                  </a:lnTo>
                  <a:lnTo>
                    <a:pt x="82" y="0"/>
                  </a:lnTo>
                  <a:lnTo>
                    <a:pt x="77" y="10"/>
                  </a:lnTo>
                  <a:lnTo>
                    <a:pt x="55" y="7"/>
                  </a:lnTo>
                  <a:lnTo>
                    <a:pt x="52" y="30"/>
                  </a:lnTo>
                  <a:lnTo>
                    <a:pt x="45" y="42"/>
                  </a:lnTo>
                  <a:lnTo>
                    <a:pt x="30" y="50"/>
                  </a:lnTo>
                  <a:lnTo>
                    <a:pt x="22" y="57"/>
                  </a:lnTo>
                  <a:lnTo>
                    <a:pt x="22" y="82"/>
                  </a:lnTo>
                  <a:lnTo>
                    <a:pt x="12" y="84"/>
                  </a:lnTo>
                  <a:lnTo>
                    <a:pt x="15" y="97"/>
                  </a:lnTo>
                  <a:lnTo>
                    <a:pt x="7" y="104"/>
                  </a:lnTo>
                  <a:lnTo>
                    <a:pt x="0" y="122"/>
                  </a:lnTo>
                  <a:lnTo>
                    <a:pt x="2" y="147"/>
                  </a:lnTo>
                  <a:lnTo>
                    <a:pt x="10" y="149"/>
                  </a:lnTo>
                  <a:lnTo>
                    <a:pt x="35" y="152"/>
                  </a:lnTo>
                  <a:lnTo>
                    <a:pt x="50" y="152"/>
                  </a:lnTo>
                  <a:lnTo>
                    <a:pt x="52" y="127"/>
                  </a:lnTo>
                  <a:lnTo>
                    <a:pt x="57" y="112"/>
                  </a:lnTo>
                  <a:lnTo>
                    <a:pt x="67" y="102"/>
                  </a:lnTo>
                  <a:lnTo>
                    <a:pt x="82" y="107"/>
                  </a:lnTo>
                  <a:lnTo>
                    <a:pt x="82" y="47"/>
                  </a:lnTo>
                  <a:lnTo>
                    <a:pt x="124" y="42"/>
                  </a:lnTo>
                  <a:lnTo>
                    <a:pt x="134" y="32"/>
                  </a:lnTo>
                  <a:lnTo>
                    <a:pt x="139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Freeform 10"/>
            <p:cNvSpPr>
              <a:spLocks/>
            </p:cNvSpPr>
            <p:nvPr/>
          </p:nvSpPr>
          <p:spPr bwMode="auto">
            <a:xfrm>
              <a:off x="7030856" y="4165084"/>
              <a:ext cx="286408" cy="322389"/>
            </a:xfrm>
            <a:custGeom>
              <a:avLst/>
              <a:gdLst>
                <a:gd name="T0" fmla="*/ 42 w 199"/>
                <a:gd name="T1" fmla="*/ 110 h 224"/>
                <a:gd name="T2" fmla="*/ 5 w 199"/>
                <a:gd name="T3" fmla="*/ 110 h 224"/>
                <a:gd name="T4" fmla="*/ 0 w 199"/>
                <a:gd name="T5" fmla="*/ 137 h 224"/>
                <a:gd name="T6" fmla="*/ 12 w 199"/>
                <a:gd name="T7" fmla="*/ 147 h 224"/>
                <a:gd name="T8" fmla="*/ 12 w 199"/>
                <a:gd name="T9" fmla="*/ 167 h 224"/>
                <a:gd name="T10" fmla="*/ 30 w 199"/>
                <a:gd name="T11" fmla="*/ 169 h 224"/>
                <a:gd name="T12" fmla="*/ 32 w 199"/>
                <a:gd name="T13" fmla="*/ 197 h 224"/>
                <a:gd name="T14" fmla="*/ 40 w 199"/>
                <a:gd name="T15" fmla="*/ 199 h 224"/>
                <a:gd name="T16" fmla="*/ 47 w 199"/>
                <a:gd name="T17" fmla="*/ 209 h 224"/>
                <a:gd name="T18" fmla="*/ 75 w 199"/>
                <a:gd name="T19" fmla="*/ 214 h 224"/>
                <a:gd name="T20" fmla="*/ 84 w 199"/>
                <a:gd name="T21" fmla="*/ 202 h 224"/>
                <a:gd name="T22" fmla="*/ 99 w 199"/>
                <a:gd name="T23" fmla="*/ 207 h 224"/>
                <a:gd name="T24" fmla="*/ 109 w 199"/>
                <a:gd name="T25" fmla="*/ 224 h 224"/>
                <a:gd name="T26" fmla="*/ 132 w 199"/>
                <a:gd name="T27" fmla="*/ 224 h 224"/>
                <a:gd name="T28" fmla="*/ 137 w 199"/>
                <a:gd name="T29" fmla="*/ 207 h 224"/>
                <a:gd name="T30" fmla="*/ 147 w 199"/>
                <a:gd name="T31" fmla="*/ 192 h 224"/>
                <a:gd name="T32" fmla="*/ 147 w 199"/>
                <a:gd name="T33" fmla="*/ 174 h 224"/>
                <a:gd name="T34" fmla="*/ 162 w 199"/>
                <a:gd name="T35" fmla="*/ 162 h 224"/>
                <a:gd name="T36" fmla="*/ 169 w 199"/>
                <a:gd name="T37" fmla="*/ 132 h 224"/>
                <a:gd name="T38" fmla="*/ 184 w 199"/>
                <a:gd name="T39" fmla="*/ 127 h 224"/>
                <a:gd name="T40" fmla="*/ 184 w 199"/>
                <a:gd name="T41" fmla="*/ 107 h 224"/>
                <a:gd name="T42" fmla="*/ 167 w 199"/>
                <a:gd name="T43" fmla="*/ 95 h 224"/>
                <a:gd name="T44" fmla="*/ 167 w 199"/>
                <a:gd name="T45" fmla="*/ 65 h 224"/>
                <a:gd name="T46" fmla="*/ 181 w 199"/>
                <a:gd name="T47" fmla="*/ 53 h 224"/>
                <a:gd name="T48" fmla="*/ 199 w 199"/>
                <a:gd name="T49" fmla="*/ 40 h 224"/>
                <a:gd name="T50" fmla="*/ 194 w 199"/>
                <a:gd name="T51" fmla="*/ 20 h 224"/>
                <a:gd name="T52" fmla="*/ 171 w 199"/>
                <a:gd name="T53" fmla="*/ 15 h 224"/>
                <a:gd name="T54" fmla="*/ 159 w 199"/>
                <a:gd name="T55" fmla="*/ 13 h 224"/>
                <a:gd name="T56" fmla="*/ 137 w 199"/>
                <a:gd name="T57" fmla="*/ 0 h 224"/>
                <a:gd name="T58" fmla="*/ 134 w 199"/>
                <a:gd name="T59" fmla="*/ 18 h 224"/>
                <a:gd name="T60" fmla="*/ 122 w 199"/>
                <a:gd name="T61" fmla="*/ 25 h 224"/>
                <a:gd name="T62" fmla="*/ 117 w 199"/>
                <a:gd name="T63" fmla="*/ 45 h 224"/>
                <a:gd name="T64" fmla="*/ 102 w 199"/>
                <a:gd name="T65" fmla="*/ 53 h 224"/>
                <a:gd name="T66" fmla="*/ 84 w 199"/>
                <a:gd name="T67" fmla="*/ 65 h 224"/>
                <a:gd name="T68" fmla="*/ 75 w 199"/>
                <a:gd name="T69" fmla="*/ 85 h 224"/>
                <a:gd name="T70" fmla="*/ 52 w 199"/>
                <a:gd name="T71" fmla="*/ 82 h 224"/>
                <a:gd name="T72" fmla="*/ 50 w 199"/>
                <a:gd name="T73" fmla="*/ 100 h 224"/>
                <a:gd name="T74" fmla="*/ 42 w 199"/>
                <a:gd name="T75" fmla="*/ 110 h 2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9" h="224">
                  <a:moveTo>
                    <a:pt x="42" y="110"/>
                  </a:moveTo>
                  <a:lnTo>
                    <a:pt x="5" y="110"/>
                  </a:lnTo>
                  <a:lnTo>
                    <a:pt x="0" y="137"/>
                  </a:lnTo>
                  <a:lnTo>
                    <a:pt x="12" y="147"/>
                  </a:lnTo>
                  <a:lnTo>
                    <a:pt x="12" y="167"/>
                  </a:lnTo>
                  <a:lnTo>
                    <a:pt x="30" y="169"/>
                  </a:lnTo>
                  <a:lnTo>
                    <a:pt x="32" y="197"/>
                  </a:lnTo>
                  <a:lnTo>
                    <a:pt x="40" y="199"/>
                  </a:lnTo>
                  <a:lnTo>
                    <a:pt x="47" y="209"/>
                  </a:lnTo>
                  <a:lnTo>
                    <a:pt x="75" y="214"/>
                  </a:lnTo>
                  <a:lnTo>
                    <a:pt x="84" y="202"/>
                  </a:lnTo>
                  <a:lnTo>
                    <a:pt x="99" y="207"/>
                  </a:lnTo>
                  <a:lnTo>
                    <a:pt x="109" y="224"/>
                  </a:lnTo>
                  <a:lnTo>
                    <a:pt x="132" y="224"/>
                  </a:lnTo>
                  <a:lnTo>
                    <a:pt x="137" y="207"/>
                  </a:lnTo>
                  <a:lnTo>
                    <a:pt x="147" y="192"/>
                  </a:lnTo>
                  <a:lnTo>
                    <a:pt x="147" y="174"/>
                  </a:lnTo>
                  <a:lnTo>
                    <a:pt x="162" y="162"/>
                  </a:lnTo>
                  <a:lnTo>
                    <a:pt x="169" y="132"/>
                  </a:lnTo>
                  <a:lnTo>
                    <a:pt x="184" y="127"/>
                  </a:lnTo>
                  <a:lnTo>
                    <a:pt x="184" y="107"/>
                  </a:lnTo>
                  <a:lnTo>
                    <a:pt x="167" y="95"/>
                  </a:lnTo>
                  <a:lnTo>
                    <a:pt x="167" y="65"/>
                  </a:lnTo>
                  <a:lnTo>
                    <a:pt x="181" y="53"/>
                  </a:lnTo>
                  <a:lnTo>
                    <a:pt x="199" y="40"/>
                  </a:lnTo>
                  <a:lnTo>
                    <a:pt x="194" y="20"/>
                  </a:lnTo>
                  <a:lnTo>
                    <a:pt x="171" y="15"/>
                  </a:lnTo>
                  <a:lnTo>
                    <a:pt x="159" y="13"/>
                  </a:lnTo>
                  <a:lnTo>
                    <a:pt x="137" y="0"/>
                  </a:lnTo>
                  <a:lnTo>
                    <a:pt x="134" y="18"/>
                  </a:lnTo>
                  <a:lnTo>
                    <a:pt x="122" y="25"/>
                  </a:lnTo>
                  <a:lnTo>
                    <a:pt x="117" y="45"/>
                  </a:lnTo>
                  <a:lnTo>
                    <a:pt x="102" y="53"/>
                  </a:lnTo>
                  <a:lnTo>
                    <a:pt x="84" y="65"/>
                  </a:lnTo>
                  <a:lnTo>
                    <a:pt x="75" y="85"/>
                  </a:lnTo>
                  <a:lnTo>
                    <a:pt x="52" y="82"/>
                  </a:lnTo>
                  <a:lnTo>
                    <a:pt x="50" y="100"/>
                  </a:lnTo>
                  <a:lnTo>
                    <a:pt x="42" y="1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" name="Freeform 11"/>
            <p:cNvSpPr>
              <a:spLocks/>
            </p:cNvSpPr>
            <p:nvPr/>
          </p:nvSpPr>
          <p:spPr bwMode="auto">
            <a:xfrm>
              <a:off x="2015121" y="3972226"/>
              <a:ext cx="48934" cy="33102"/>
            </a:xfrm>
            <a:custGeom>
              <a:avLst/>
              <a:gdLst>
                <a:gd name="T0" fmla="*/ 34 w 34"/>
                <a:gd name="T1" fmla="*/ 23 h 23"/>
                <a:gd name="T2" fmla="*/ 32 w 34"/>
                <a:gd name="T3" fmla="*/ 0 h 23"/>
                <a:gd name="T4" fmla="*/ 12 w 34"/>
                <a:gd name="T5" fmla="*/ 0 h 23"/>
                <a:gd name="T6" fmla="*/ 0 w 34"/>
                <a:gd name="T7" fmla="*/ 5 h 23"/>
                <a:gd name="T8" fmla="*/ 34 w 34"/>
                <a:gd name="T9" fmla="*/ 23 h 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23">
                  <a:moveTo>
                    <a:pt x="34" y="23"/>
                  </a:moveTo>
                  <a:lnTo>
                    <a:pt x="32" y="0"/>
                  </a:lnTo>
                  <a:lnTo>
                    <a:pt x="12" y="0"/>
                  </a:lnTo>
                  <a:lnTo>
                    <a:pt x="0" y="5"/>
                  </a:lnTo>
                  <a:lnTo>
                    <a:pt x="34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Freeform 12"/>
            <p:cNvSpPr>
              <a:spLocks/>
            </p:cNvSpPr>
            <p:nvPr/>
          </p:nvSpPr>
          <p:spPr bwMode="auto">
            <a:xfrm>
              <a:off x="2412350" y="3793761"/>
              <a:ext cx="70522" cy="71962"/>
            </a:xfrm>
            <a:custGeom>
              <a:avLst/>
              <a:gdLst>
                <a:gd name="T0" fmla="*/ 37 w 49"/>
                <a:gd name="T1" fmla="*/ 2 h 50"/>
                <a:gd name="T2" fmla="*/ 29 w 49"/>
                <a:gd name="T3" fmla="*/ 17 h 50"/>
                <a:gd name="T4" fmla="*/ 37 w 49"/>
                <a:gd name="T5" fmla="*/ 27 h 50"/>
                <a:gd name="T6" fmla="*/ 27 w 49"/>
                <a:gd name="T7" fmla="*/ 32 h 50"/>
                <a:gd name="T8" fmla="*/ 0 w 49"/>
                <a:gd name="T9" fmla="*/ 32 h 50"/>
                <a:gd name="T10" fmla="*/ 5 w 49"/>
                <a:gd name="T11" fmla="*/ 45 h 50"/>
                <a:gd name="T12" fmla="*/ 24 w 49"/>
                <a:gd name="T13" fmla="*/ 47 h 50"/>
                <a:gd name="T14" fmla="*/ 44 w 49"/>
                <a:gd name="T15" fmla="*/ 50 h 50"/>
                <a:gd name="T16" fmla="*/ 49 w 49"/>
                <a:gd name="T17" fmla="*/ 35 h 50"/>
                <a:gd name="T18" fmla="*/ 49 w 49"/>
                <a:gd name="T19" fmla="*/ 10 h 50"/>
                <a:gd name="T20" fmla="*/ 49 w 49"/>
                <a:gd name="T21" fmla="*/ 0 h 50"/>
                <a:gd name="T22" fmla="*/ 37 w 49"/>
                <a:gd name="T23" fmla="*/ 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9" h="50">
                  <a:moveTo>
                    <a:pt x="37" y="2"/>
                  </a:moveTo>
                  <a:lnTo>
                    <a:pt x="29" y="17"/>
                  </a:lnTo>
                  <a:lnTo>
                    <a:pt x="37" y="27"/>
                  </a:lnTo>
                  <a:lnTo>
                    <a:pt x="27" y="32"/>
                  </a:lnTo>
                  <a:lnTo>
                    <a:pt x="0" y="32"/>
                  </a:lnTo>
                  <a:lnTo>
                    <a:pt x="5" y="45"/>
                  </a:lnTo>
                  <a:lnTo>
                    <a:pt x="24" y="47"/>
                  </a:lnTo>
                  <a:lnTo>
                    <a:pt x="44" y="50"/>
                  </a:lnTo>
                  <a:lnTo>
                    <a:pt x="49" y="35"/>
                  </a:lnTo>
                  <a:lnTo>
                    <a:pt x="49" y="10"/>
                  </a:lnTo>
                  <a:lnTo>
                    <a:pt x="49" y="0"/>
                  </a:lnTo>
                  <a:lnTo>
                    <a:pt x="37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" name="Freeform 13"/>
            <p:cNvSpPr>
              <a:spLocks/>
            </p:cNvSpPr>
            <p:nvPr/>
          </p:nvSpPr>
          <p:spPr bwMode="auto">
            <a:xfrm>
              <a:off x="4271842" y="4015403"/>
              <a:ext cx="82036" cy="182782"/>
            </a:xfrm>
            <a:custGeom>
              <a:avLst/>
              <a:gdLst>
                <a:gd name="T0" fmla="*/ 0 w 57"/>
                <a:gd name="T1" fmla="*/ 45 h 127"/>
                <a:gd name="T2" fmla="*/ 8 w 57"/>
                <a:gd name="T3" fmla="*/ 57 h 127"/>
                <a:gd name="T4" fmla="*/ 13 w 57"/>
                <a:gd name="T5" fmla="*/ 80 h 127"/>
                <a:gd name="T6" fmla="*/ 13 w 57"/>
                <a:gd name="T7" fmla="*/ 104 h 127"/>
                <a:gd name="T8" fmla="*/ 20 w 57"/>
                <a:gd name="T9" fmla="*/ 127 h 127"/>
                <a:gd name="T10" fmla="*/ 43 w 57"/>
                <a:gd name="T11" fmla="*/ 117 h 127"/>
                <a:gd name="T12" fmla="*/ 38 w 57"/>
                <a:gd name="T13" fmla="*/ 77 h 127"/>
                <a:gd name="T14" fmla="*/ 50 w 57"/>
                <a:gd name="T15" fmla="*/ 62 h 127"/>
                <a:gd name="T16" fmla="*/ 57 w 57"/>
                <a:gd name="T17" fmla="*/ 22 h 127"/>
                <a:gd name="T18" fmla="*/ 55 w 57"/>
                <a:gd name="T19" fmla="*/ 0 h 127"/>
                <a:gd name="T20" fmla="*/ 38 w 57"/>
                <a:gd name="T21" fmla="*/ 0 h 127"/>
                <a:gd name="T22" fmla="*/ 33 w 57"/>
                <a:gd name="T23" fmla="*/ 20 h 127"/>
                <a:gd name="T24" fmla="*/ 13 w 57"/>
                <a:gd name="T25" fmla="*/ 25 h 127"/>
                <a:gd name="T26" fmla="*/ 0 w 57"/>
                <a:gd name="T27" fmla="*/ 45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127">
                  <a:moveTo>
                    <a:pt x="0" y="45"/>
                  </a:moveTo>
                  <a:lnTo>
                    <a:pt x="8" y="57"/>
                  </a:lnTo>
                  <a:lnTo>
                    <a:pt x="13" y="80"/>
                  </a:lnTo>
                  <a:lnTo>
                    <a:pt x="13" y="104"/>
                  </a:lnTo>
                  <a:lnTo>
                    <a:pt x="20" y="127"/>
                  </a:lnTo>
                  <a:lnTo>
                    <a:pt x="43" y="117"/>
                  </a:lnTo>
                  <a:lnTo>
                    <a:pt x="38" y="77"/>
                  </a:lnTo>
                  <a:lnTo>
                    <a:pt x="50" y="62"/>
                  </a:lnTo>
                  <a:lnTo>
                    <a:pt x="57" y="22"/>
                  </a:lnTo>
                  <a:lnTo>
                    <a:pt x="55" y="0"/>
                  </a:lnTo>
                  <a:lnTo>
                    <a:pt x="38" y="0"/>
                  </a:lnTo>
                  <a:lnTo>
                    <a:pt x="33" y="20"/>
                  </a:lnTo>
                  <a:lnTo>
                    <a:pt x="13" y="25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Freeform 14"/>
            <p:cNvSpPr>
              <a:spLocks/>
            </p:cNvSpPr>
            <p:nvPr/>
          </p:nvSpPr>
          <p:spPr bwMode="auto">
            <a:xfrm>
              <a:off x="4558249" y="4867431"/>
              <a:ext cx="247548" cy="371323"/>
            </a:xfrm>
            <a:custGeom>
              <a:avLst/>
              <a:gdLst>
                <a:gd name="T0" fmla="*/ 0 w 172"/>
                <a:gd name="T1" fmla="*/ 5 h 258"/>
                <a:gd name="T2" fmla="*/ 18 w 172"/>
                <a:gd name="T3" fmla="*/ 0 h 258"/>
                <a:gd name="T4" fmla="*/ 37 w 172"/>
                <a:gd name="T5" fmla="*/ 7 h 258"/>
                <a:gd name="T6" fmla="*/ 67 w 172"/>
                <a:gd name="T7" fmla="*/ 10 h 258"/>
                <a:gd name="T8" fmla="*/ 115 w 172"/>
                <a:gd name="T9" fmla="*/ 7 h 258"/>
                <a:gd name="T10" fmla="*/ 119 w 172"/>
                <a:gd name="T11" fmla="*/ 17 h 258"/>
                <a:gd name="T12" fmla="*/ 157 w 172"/>
                <a:gd name="T13" fmla="*/ 22 h 258"/>
                <a:gd name="T14" fmla="*/ 172 w 172"/>
                <a:gd name="T15" fmla="*/ 24 h 258"/>
                <a:gd name="T16" fmla="*/ 162 w 172"/>
                <a:gd name="T17" fmla="*/ 42 h 258"/>
                <a:gd name="T18" fmla="*/ 162 w 172"/>
                <a:gd name="T19" fmla="*/ 104 h 258"/>
                <a:gd name="T20" fmla="*/ 152 w 172"/>
                <a:gd name="T21" fmla="*/ 111 h 258"/>
                <a:gd name="T22" fmla="*/ 144 w 172"/>
                <a:gd name="T23" fmla="*/ 116 h 258"/>
                <a:gd name="T24" fmla="*/ 144 w 172"/>
                <a:gd name="T25" fmla="*/ 179 h 258"/>
                <a:gd name="T26" fmla="*/ 139 w 172"/>
                <a:gd name="T27" fmla="*/ 248 h 258"/>
                <a:gd name="T28" fmla="*/ 129 w 172"/>
                <a:gd name="T29" fmla="*/ 258 h 258"/>
                <a:gd name="T30" fmla="*/ 107 w 172"/>
                <a:gd name="T31" fmla="*/ 256 h 258"/>
                <a:gd name="T32" fmla="*/ 97 w 172"/>
                <a:gd name="T33" fmla="*/ 241 h 258"/>
                <a:gd name="T34" fmla="*/ 95 w 172"/>
                <a:gd name="T35" fmla="*/ 248 h 258"/>
                <a:gd name="T36" fmla="*/ 82 w 172"/>
                <a:gd name="T37" fmla="*/ 248 h 258"/>
                <a:gd name="T38" fmla="*/ 77 w 172"/>
                <a:gd name="T39" fmla="*/ 233 h 258"/>
                <a:gd name="T40" fmla="*/ 67 w 172"/>
                <a:gd name="T41" fmla="*/ 221 h 258"/>
                <a:gd name="T42" fmla="*/ 55 w 172"/>
                <a:gd name="T43" fmla="*/ 218 h 258"/>
                <a:gd name="T44" fmla="*/ 55 w 172"/>
                <a:gd name="T45" fmla="*/ 196 h 258"/>
                <a:gd name="T46" fmla="*/ 50 w 172"/>
                <a:gd name="T47" fmla="*/ 169 h 258"/>
                <a:gd name="T48" fmla="*/ 50 w 172"/>
                <a:gd name="T49" fmla="*/ 151 h 258"/>
                <a:gd name="T50" fmla="*/ 47 w 172"/>
                <a:gd name="T51" fmla="*/ 126 h 258"/>
                <a:gd name="T52" fmla="*/ 42 w 172"/>
                <a:gd name="T53" fmla="*/ 106 h 258"/>
                <a:gd name="T54" fmla="*/ 35 w 172"/>
                <a:gd name="T55" fmla="*/ 94 h 258"/>
                <a:gd name="T56" fmla="*/ 30 w 172"/>
                <a:gd name="T57" fmla="*/ 82 h 258"/>
                <a:gd name="T58" fmla="*/ 18 w 172"/>
                <a:gd name="T59" fmla="*/ 59 h 258"/>
                <a:gd name="T60" fmla="*/ 13 w 172"/>
                <a:gd name="T61" fmla="*/ 47 h 258"/>
                <a:gd name="T62" fmla="*/ 0 w 172"/>
                <a:gd name="T63" fmla="*/ 29 h 258"/>
                <a:gd name="T64" fmla="*/ 0 w 172"/>
                <a:gd name="T65" fmla="*/ 5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72" h="258">
                  <a:moveTo>
                    <a:pt x="0" y="5"/>
                  </a:moveTo>
                  <a:lnTo>
                    <a:pt x="18" y="0"/>
                  </a:lnTo>
                  <a:lnTo>
                    <a:pt x="37" y="7"/>
                  </a:lnTo>
                  <a:lnTo>
                    <a:pt x="67" y="10"/>
                  </a:lnTo>
                  <a:lnTo>
                    <a:pt x="115" y="7"/>
                  </a:lnTo>
                  <a:lnTo>
                    <a:pt x="119" y="17"/>
                  </a:lnTo>
                  <a:lnTo>
                    <a:pt x="157" y="22"/>
                  </a:lnTo>
                  <a:lnTo>
                    <a:pt x="172" y="24"/>
                  </a:lnTo>
                  <a:lnTo>
                    <a:pt x="162" y="42"/>
                  </a:lnTo>
                  <a:lnTo>
                    <a:pt x="162" y="104"/>
                  </a:lnTo>
                  <a:lnTo>
                    <a:pt x="152" y="111"/>
                  </a:lnTo>
                  <a:lnTo>
                    <a:pt x="144" y="116"/>
                  </a:lnTo>
                  <a:lnTo>
                    <a:pt x="144" y="179"/>
                  </a:lnTo>
                  <a:lnTo>
                    <a:pt x="139" y="248"/>
                  </a:lnTo>
                  <a:lnTo>
                    <a:pt x="129" y="258"/>
                  </a:lnTo>
                  <a:lnTo>
                    <a:pt x="107" y="256"/>
                  </a:lnTo>
                  <a:lnTo>
                    <a:pt x="97" y="241"/>
                  </a:lnTo>
                  <a:lnTo>
                    <a:pt x="95" y="248"/>
                  </a:lnTo>
                  <a:lnTo>
                    <a:pt x="82" y="248"/>
                  </a:lnTo>
                  <a:lnTo>
                    <a:pt x="77" y="233"/>
                  </a:lnTo>
                  <a:lnTo>
                    <a:pt x="67" y="221"/>
                  </a:lnTo>
                  <a:lnTo>
                    <a:pt x="55" y="218"/>
                  </a:lnTo>
                  <a:lnTo>
                    <a:pt x="55" y="196"/>
                  </a:lnTo>
                  <a:lnTo>
                    <a:pt x="50" y="169"/>
                  </a:lnTo>
                  <a:lnTo>
                    <a:pt x="50" y="151"/>
                  </a:lnTo>
                  <a:lnTo>
                    <a:pt x="47" y="126"/>
                  </a:lnTo>
                  <a:lnTo>
                    <a:pt x="42" y="106"/>
                  </a:lnTo>
                  <a:lnTo>
                    <a:pt x="35" y="94"/>
                  </a:lnTo>
                  <a:lnTo>
                    <a:pt x="30" y="82"/>
                  </a:lnTo>
                  <a:lnTo>
                    <a:pt x="18" y="59"/>
                  </a:lnTo>
                  <a:lnTo>
                    <a:pt x="13" y="47"/>
                  </a:lnTo>
                  <a:lnTo>
                    <a:pt x="0" y="29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Freeform 15"/>
            <p:cNvSpPr>
              <a:spLocks/>
            </p:cNvSpPr>
            <p:nvPr/>
          </p:nvSpPr>
          <p:spPr bwMode="auto">
            <a:xfrm>
              <a:off x="8126114" y="4408314"/>
              <a:ext cx="48934" cy="71962"/>
            </a:xfrm>
            <a:custGeom>
              <a:avLst/>
              <a:gdLst>
                <a:gd name="T0" fmla="*/ 0 w 34"/>
                <a:gd name="T1" fmla="*/ 0 h 50"/>
                <a:gd name="T2" fmla="*/ 12 w 34"/>
                <a:gd name="T3" fmla="*/ 25 h 50"/>
                <a:gd name="T4" fmla="*/ 30 w 34"/>
                <a:gd name="T5" fmla="*/ 50 h 50"/>
                <a:gd name="T6" fmla="*/ 34 w 34"/>
                <a:gd name="T7" fmla="*/ 20 h 50"/>
                <a:gd name="T8" fmla="*/ 0 w 34"/>
                <a:gd name="T9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50">
                  <a:moveTo>
                    <a:pt x="0" y="0"/>
                  </a:moveTo>
                  <a:lnTo>
                    <a:pt x="12" y="25"/>
                  </a:lnTo>
                  <a:lnTo>
                    <a:pt x="30" y="50"/>
                  </a:lnTo>
                  <a:lnTo>
                    <a:pt x="34" y="2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Freeform 16"/>
            <p:cNvSpPr>
              <a:spLocks/>
            </p:cNvSpPr>
            <p:nvPr/>
          </p:nvSpPr>
          <p:spPr bwMode="auto">
            <a:xfrm>
              <a:off x="1374660" y="3406606"/>
              <a:ext cx="725375" cy="551228"/>
            </a:xfrm>
            <a:custGeom>
              <a:avLst/>
              <a:gdLst>
                <a:gd name="T0" fmla="*/ 300 w 504"/>
                <a:gd name="T1" fmla="*/ 147 h 383"/>
                <a:gd name="T2" fmla="*/ 281 w 504"/>
                <a:gd name="T3" fmla="*/ 115 h 383"/>
                <a:gd name="T4" fmla="*/ 266 w 504"/>
                <a:gd name="T5" fmla="*/ 75 h 383"/>
                <a:gd name="T6" fmla="*/ 241 w 504"/>
                <a:gd name="T7" fmla="*/ 85 h 383"/>
                <a:gd name="T8" fmla="*/ 213 w 504"/>
                <a:gd name="T9" fmla="*/ 55 h 383"/>
                <a:gd name="T10" fmla="*/ 201 w 504"/>
                <a:gd name="T11" fmla="*/ 38 h 383"/>
                <a:gd name="T12" fmla="*/ 181 w 504"/>
                <a:gd name="T13" fmla="*/ 15 h 383"/>
                <a:gd name="T14" fmla="*/ 154 w 504"/>
                <a:gd name="T15" fmla="*/ 25 h 383"/>
                <a:gd name="T16" fmla="*/ 124 w 504"/>
                <a:gd name="T17" fmla="*/ 38 h 383"/>
                <a:gd name="T18" fmla="*/ 77 w 504"/>
                <a:gd name="T19" fmla="*/ 38 h 383"/>
                <a:gd name="T20" fmla="*/ 42 w 504"/>
                <a:gd name="T21" fmla="*/ 13 h 383"/>
                <a:gd name="T22" fmla="*/ 0 w 504"/>
                <a:gd name="T23" fmla="*/ 0 h 383"/>
                <a:gd name="T24" fmla="*/ 20 w 504"/>
                <a:gd name="T25" fmla="*/ 65 h 383"/>
                <a:gd name="T26" fmla="*/ 29 w 504"/>
                <a:gd name="T27" fmla="*/ 107 h 383"/>
                <a:gd name="T28" fmla="*/ 49 w 504"/>
                <a:gd name="T29" fmla="*/ 137 h 383"/>
                <a:gd name="T30" fmla="*/ 74 w 504"/>
                <a:gd name="T31" fmla="*/ 182 h 383"/>
                <a:gd name="T32" fmla="*/ 121 w 504"/>
                <a:gd name="T33" fmla="*/ 219 h 383"/>
                <a:gd name="T34" fmla="*/ 97 w 504"/>
                <a:gd name="T35" fmla="*/ 159 h 383"/>
                <a:gd name="T36" fmla="*/ 62 w 504"/>
                <a:gd name="T37" fmla="*/ 102 h 383"/>
                <a:gd name="T38" fmla="*/ 37 w 504"/>
                <a:gd name="T39" fmla="*/ 55 h 383"/>
                <a:gd name="T40" fmla="*/ 49 w 504"/>
                <a:gd name="T41" fmla="*/ 35 h 383"/>
                <a:gd name="T42" fmla="*/ 79 w 504"/>
                <a:gd name="T43" fmla="*/ 63 h 383"/>
                <a:gd name="T44" fmla="*/ 94 w 504"/>
                <a:gd name="T45" fmla="*/ 110 h 383"/>
                <a:gd name="T46" fmla="*/ 119 w 504"/>
                <a:gd name="T47" fmla="*/ 140 h 383"/>
                <a:gd name="T48" fmla="*/ 134 w 504"/>
                <a:gd name="T49" fmla="*/ 162 h 383"/>
                <a:gd name="T50" fmla="*/ 159 w 504"/>
                <a:gd name="T51" fmla="*/ 194 h 383"/>
                <a:gd name="T52" fmla="*/ 171 w 504"/>
                <a:gd name="T53" fmla="*/ 212 h 383"/>
                <a:gd name="T54" fmla="*/ 181 w 504"/>
                <a:gd name="T55" fmla="*/ 256 h 383"/>
                <a:gd name="T56" fmla="*/ 191 w 504"/>
                <a:gd name="T57" fmla="*/ 284 h 383"/>
                <a:gd name="T58" fmla="*/ 338 w 504"/>
                <a:gd name="T59" fmla="*/ 363 h 383"/>
                <a:gd name="T60" fmla="*/ 368 w 504"/>
                <a:gd name="T61" fmla="*/ 358 h 383"/>
                <a:gd name="T62" fmla="*/ 402 w 504"/>
                <a:gd name="T63" fmla="*/ 383 h 383"/>
                <a:gd name="T64" fmla="*/ 425 w 504"/>
                <a:gd name="T65" fmla="*/ 356 h 383"/>
                <a:gd name="T66" fmla="*/ 455 w 504"/>
                <a:gd name="T67" fmla="*/ 324 h 383"/>
                <a:gd name="T68" fmla="*/ 487 w 504"/>
                <a:gd name="T69" fmla="*/ 309 h 383"/>
                <a:gd name="T70" fmla="*/ 497 w 504"/>
                <a:gd name="T71" fmla="*/ 269 h 383"/>
                <a:gd name="T72" fmla="*/ 502 w 504"/>
                <a:gd name="T73" fmla="*/ 246 h 383"/>
                <a:gd name="T74" fmla="*/ 445 w 504"/>
                <a:gd name="T75" fmla="*/ 256 h 383"/>
                <a:gd name="T76" fmla="*/ 400 w 504"/>
                <a:gd name="T77" fmla="*/ 301 h 383"/>
                <a:gd name="T78" fmla="*/ 333 w 504"/>
                <a:gd name="T79" fmla="*/ 281 h 383"/>
                <a:gd name="T80" fmla="*/ 313 w 504"/>
                <a:gd name="T81" fmla="*/ 197 h 383"/>
                <a:gd name="T82" fmla="*/ 325 w 504"/>
                <a:gd name="T83" fmla="*/ 147 h 3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504" h="383">
                  <a:moveTo>
                    <a:pt x="325" y="147"/>
                  </a:moveTo>
                  <a:lnTo>
                    <a:pt x="300" y="147"/>
                  </a:lnTo>
                  <a:lnTo>
                    <a:pt x="295" y="122"/>
                  </a:lnTo>
                  <a:lnTo>
                    <a:pt x="281" y="115"/>
                  </a:lnTo>
                  <a:lnTo>
                    <a:pt x="276" y="90"/>
                  </a:lnTo>
                  <a:lnTo>
                    <a:pt x="266" y="75"/>
                  </a:lnTo>
                  <a:lnTo>
                    <a:pt x="246" y="63"/>
                  </a:lnTo>
                  <a:lnTo>
                    <a:pt x="241" y="85"/>
                  </a:lnTo>
                  <a:lnTo>
                    <a:pt x="223" y="85"/>
                  </a:lnTo>
                  <a:lnTo>
                    <a:pt x="213" y="55"/>
                  </a:lnTo>
                  <a:lnTo>
                    <a:pt x="203" y="53"/>
                  </a:lnTo>
                  <a:lnTo>
                    <a:pt x="201" y="38"/>
                  </a:lnTo>
                  <a:lnTo>
                    <a:pt x="186" y="33"/>
                  </a:lnTo>
                  <a:lnTo>
                    <a:pt x="181" y="15"/>
                  </a:lnTo>
                  <a:lnTo>
                    <a:pt x="169" y="25"/>
                  </a:lnTo>
                  <a:lnTo>
                    <a:pt x="154" y="25"/>
                  </a:lnTo>
                  <a:lnTo>
                    <a:pt x="151" y="38"/>
                  </a:lnTo>
                  <a:lnTo>
                    <a:pt x="124" y="38"/>
                  </a:lnTo>
                  <a:lnTo>
                    <a:pt x="104" y="45"/>
                  </a:lnTo>
                  <a:lnTo>
                    <a:pt x="77" y="38"/>
                  </a:lnTo>
                  <a:lnTo>
                    <a:pt x="57" y="20"/>
                  </a:lnTo>
                  <a:lnTo>
                    <a:pt x="42" y="13"/>
                  </a:lnTo>
                  <a:lnTo>
                    <a:pt x="37" y="3"/>
                  </a:lnTo>
                  <a:lnTo>
                    <a:pt x="0" y="0"/>
                  </a:lnTo>
                  <a:lnTo>
                    <a:pt x="2" y="45"/>
                  </a:lnTo>
                  <a:lnTo>
                    <a:pt x="20" y="65"/>
                  </a:lnTo>
                  <a:lnTo>
                    <a:pt x="34" y="90"/>
                  </a:lnTo>
                  <a:lnTo>
                    <a:pt x="29" y="107"/>
                  </a:lnTo>
                  <a:lnTo>
                    <a:pt x="20" y="115"/>
                  </a:lnTo>
                  <a:lnTo>
                    <a:pt x="49" y="137"/>
                  </a:lnTo>
                  <a:lnTo>
                    <a:pt x="69" y="152"/>
                  </a:lnTo>
                  <a:lnTo>
                    <a:pt x="74" y="182"/>
                  </a:lnTo>
                  <a:lnTo>
                    <a:pt x="107" y="219"/>
                  </a:lnTo>
                  <a:lnTo>
                    <a:pt x="121" y="219"/>
                  </a:lnTo>
                  <a:lnTo>
                    <a:pt x="112" y="189"/>
                  </a:lnTo>
                  <a:lnTo>
                    <a:pt x="97" y="159"/>
                  </a:lnTo>
                  <a:lnTo>
                    <a:pt x="84" y="130"/>
                  </a:lnTo>
                  <a:lnTo>
                    <a:pt x="62" y="102"/>
                  </a:lnTo>
                  <a:lnTo>
                    <a:pt x="49" y="77"/>
                  </a:lnTo>
                  <a:lnTo>
                    <a:pt x="37" y="55"/>
                  </a:lnTo>
                  <a:lnTo>
                    <a:pt x="37" y="28"/>
                  </a:lnTo>
                  <a:lnTo>
                    <a:pt x="49" y="35"/>
                  </a:lnTo>
                  <a:lnTo>
                    <a:pt x="64" y="50"/>
                  </a:lnTo>
                  <a:lnTo>
                    <a:pt x="79" y="63"/>
                  </a:lnTo>
                  <a:lnTo>
                    <a:pt x="82" y="95"/>
                  </a:lnTo>
                  <a:lnTo>
                    <a:pt x="94" y="110"/>
                  </a:lnTo>
                  <a:lnTo>
                    <a:pt x="109" y="132"/>
                  </a:lnTo>
                  <a:lnTo>
                    <a:pt x="119" y="140"/>
                  </a:lnTo>
                  <a:lnTo>
                    <a:pt x="119" y="157"/>
                  </a:lnTo>
                  <a:lnTo>
                    <a:pt x="134" y="162"/>
                  </a:lnTo>
                  <a:lnTo>
                    <a:pt x="136" y="184"/>
                  </a:lnTo>
                  <a:lnTo>
                    <a:pt x="159" y="194"/>
                  </a:lnTo>
                  <a:lnTo>
                    <a:pt x="159" y="209"/>
                  </a:lnTo>
                  <a:lnTo>
                    <a:pt x="171" y="212"/>
                  </a:lnTo>
                  <a:lnTo>
                    <a:pt x="174" y="234"/>
                  </a:lnTo>
                  <a:lnTo>
                    <a:pt x="181" y="256"/>
                  </a:lnTo>
                  <a:lnTo>
                    <a:pt x="176" y="274"/>
                  </a:lnTo>
                  <a:lnTo>
                    <a:pt x="191" y="284"/>
                  </a:lnTo>
                  <a:lnTo>
                    <a:pt x="288" y="346"/>
                  </a:lnTo>
                  <a:lnTo>
                    <a:pt x="338" y="363"/>
                  </a:lnTo>
                  <a:lnTo>
                    <a:pt x="355" y="351"/>
                  </a:lnTo>
                  <a:lnTo>
                    <a:pt x="368" y="358"/>
                  </a:lnTo>
                  <a:lnTo>
                    <a:pt x="387" y="366"/>
                  </a:lnTo>
                  <a:lnTo>
                    <a:pt x="402" y="383"/>
                  </a:lnTo>
                  <a:lnTo>
                    <a:pt x="410" y="361"/>
                  </a:lnTo>
                  <a:lnTo>
                    <a:pt x="425" y="356"/>
                  </a:lnTo>
                  <a:lnTo>
                    <a:pt x="427" y="336"/>
                  </a:lnTo>
                  <a:lnTo>
                    <a:pt x="455" y="324"/>
                  </a:lnTo>
                  <a:lnTo>
                    <a:pt x="465" y="319"/>
                  </a:lnTo>
                  <a:lnTo>
                    <a:pt x="487" y="309"/>
                  </a:lnTo>
                  <a:lnTo>
                    <a:pt x="499" y="291"/>
                  </a:lnTo>
                  <a:lnTo>
                    <a:pt x="497" y="269"/>
                  </a:lnTo>
                  <a:lnTo>
                    <a:pt x="504" y="264"/>
                  </a:lnTo>
                  <a:lnTo>
                    <a:pt x="502" y="246"/>
                  </a:lnTo>
                  <a:lnTo>
                    <a:pt x="462" y="242"/>
                  </a:lnTo>
                  <a:lnTo>
                    <a:pt x="445" y="256"/>
                  </a:lnTo>
                  <a:lnTo>
                    <a:pt x="427" y="294"/>
                  </a:lnTo>
                  <a:lnTo>
                    <a:pt x="400" y="301"/>
                  </a:lnTo>
                  <a:lnTo>
                    <a:pt x="360" y="304"/>
                  </a:lnTo>
                  <a:lnTo>
                    <a:pt x="333" y="281"/>
                  </a:lnTo>
                  <a:lnTo>
                    <a:pt x="323" y="232"/>
                  </a:lnTo>
                  <a:lnTo>
                    <a:pt x="313" y="197"/>
                  </a:lnTo>
                  <a:lnTo>
                    <a:pt x="320" y="169"/>
                  </a:lnTo>
                  <a:lnTo>
                    <a:pt x="325" y="1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" name="Freeform 17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17 w 119"/>
                <a:gd name="T37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Freeform 18"/>
            <p:cNvSpPr>
              <a:spLocks/>
            </p:cNvSpPr>
            <p:nvPr/>
          </p:nvSpPr>
          <p:spPr bwMode="auto">
            <a:xfrm>
              <a:off x="2015121" y="3918974"/>
              <a:ext cx="171269" cy="86354"/>
            </a:xfrm>
            <a:custGeom>
              <a:avLst/>
              <a:gdLst>
                <a:gd name="T0" fmla="*/ 17 w 119"/>
                <a:gd name="T1" fmla="*/ 10 h 60"/>
                <a:gd name="T2" fmla="*/ 15 w 119"/>
                <a:gd name="T3" fmla="*/ 25 h 60"/>
                <a:gd name="T4" fmla="*/ 2 w 119"/>
                <a:gd name="T5" fmla="*/ 25 h 60"/>
                <a:gd name="T6" fmla="*/ 0 w 119"/>
                <a:gd name="T7" fmla="*/ 42 h 60"/>
                <a:gd name="T8" fmla="*/ 12 w 119"/>
                <a:gd name="T9" fmla="*/ 37 h 60"/>
                <a:gd name="T10" fmla="*/ 32 w 119"/>
                <a:gd name="T11" fmla="*/ 37 h 60"/>
                <a:gd name="T12" fmla="*/ 34 w 119"/>
                <a:gd name="T13" fmla="*/ 60 h 60"/>
                <a:gd name="T14" fmla="*/ 52 w 119"/>
                <a:gd name="T15" fmla="*/ 52 h 60"/>
                <a:gd name="T16" fmla="*/ 74 w 119"/>
                <a:gd name="T17" fmla="*/ 50 h 60"/>
                <a:gd name="T18" fmla="*/ 82 w 119"/>
                <a:gd name="T19" fmla="*/ 32 h 60"/>
                <a:gd name="T20" fmla="*/ 107 w 119"/>
                <a:gd name="T21" fmla="*/ 32 h 60"/>
                <a:gd name="T22" fmla="*/ 119 w 119"/>
                <a:gd name="T23" fmla="*/ 20 h 60"/>
                <a:gd name="T24" fmla="*/ 99 w 119"/>
                <a:gd name="T25" fmla="*/ 12 h 60"/>
                <a:gd name="T26" fmla="*/ 89 w 119"/>
                <a:gd name="T27" fmla="*/ 2 h 60"/>
                <a:gd name="T28" fmla="*/ 59 w 119"/>
                <a:gd name="T29" fmla="*/ 2 h 60"/>
                <a:gd name="T30" fmla="*/ 49 w 119"/>
                <a:gd name="T31" fmla="*/ 12 h 60"/>
                <a:gd name="T32" fmla="*/ 42 w 119"/>
                <a:gd name="T33" fmla="*/ 0 h 60"/>
                <a:gd name="T34" fmla="*/ 29 w 119"/>
                <a:gd name="T35" fmla="*/ 10 h 60"/>
                <a:gd name="T36" fmla="*/ 20 w 119"/>
                <a:gd name="T37" fmla="*/ 10 h 60"/>
                <a:gd name="T38" fmla="*/ 17 w 119"/>
                <a:gd name="T39" fmla="*/ 1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9" h="60">
                  <a:moveTo>
                    <a:pt x="17" y="10"/>
                  </a:moveTo>
                  <a:lnTo>
                    <a:pt x="15" y="25"/>
                  </a:lnTo>
                  <a:lnTo>
                    <a:pt x="2" y="25"/>
                  </a:lnTo>
                  <a:lnTo>
                    <a:pt x="0" y="42"/>
                  </a:lnTo>
                  <a:lnTo>
                    <a:pt x="12" y="37"/>
                  </a:lnTo>
                  <a:lnTo>
                    <a:pt x="32" y="37"/>
                  </a:lnTo>
                  <a:lnTo>
                    <a:pt x="34" y="60"/>
                  </a:lnTo>
                  <a:lnTo>
                    <a:pt x="52" y="52"/>
                  </a:lnTo>
                  <a:lnTo>
                    <a:pt x="74" y="50"/>
                  </a:lnTo>
                  <a:lnTo>
                    <a:pt x="82" y="32"/>
                  </a:lnTo>
                  <a:lnTo>
                    <a:pt x="107" y="32"/>
                  </a:lnTo>
                  <a:lnTo>
                    <a:pt x="119" y="20"/>
                  </a:lnTo>
                  <a:lnTo>
                    <a:pt x="99" y="12"/>
                  </a:lnTo>
                  <a:lnTo>
                    <a:pt x="89" y="2"/>
                  </a:lnTo>
                  <a:lnTo>
                    <a:pt x="59" y="2"/>
                  </a:lnTo>
                  <a:lnTo>
                    <a:pt x="49" y="12"/>
                  </a:lnTo>
                  <a:lnTo>
                    <a:pt x="42" y="0"/>
                  </a:lnTo>
                  <a:lnTo>
                    <a:pt x="29" y="10"/>
                  </a:lnTo>
                  <a:lnTo>
                    <a:pt x="20" y="10"/>
                  </a:lnTo>
                  <a:lnTo>
                    <a:pt x="17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" name="Freeform 20"/>
            <p:cNvSpPr>
              <a:spLocks/>
            </p:cNvSpPr>
            <p:nvPr/>
          </p:nvSpPr>
          <p:spPr bwMode="auto">
            <a:xfrm>
              <a:off x="2064055" y="3965030"/>
              <a:ext cx="115139" cy="107943"/>
            </a:xfrm>
            <a:custGeom>
              <a:avLst/>
              <a:gdLst>
                <a:gd name="T0" fmla="*/ 73 w 80"/>
                <a:gd name="T1" fmla="*/ 0 h 75"/>
                <a:gd name="T2" fmla="*/ 48 w 80"/>
                <a:gd name="T3" fmla="*/ 0 h 75"/>
                <a:gd name="T4" fmla="*/ 40 w 80"/>
                <a:gd name="T5" fmla="*/ 18 h 75"/>
                <a:gd name="T6" fmla="*/ 18 w 80"/>
                <a:gd name="T7" fmla="*/ 20 h 75"/>
                <a:gd name="T8" fmla="*/ 0 w 80"/>
                <a:gd name="T9" fmla="*/ 28 h 75"/>
                <a:gd name="T10" fmla="*/ 10 w 80"/>
                <a:gd name="T11" fmla="*/ 37 h 75"/>
                <a:gd name="T12" fmla="*/ 18 w 80"/>
                <a:gd name="T13" fmla="*/ 60 h 75"/>
                <a:gd name="T14" fmla="*/ 30 w 80"/>
                <a:gd name="T15" fmla="*/ 75 h 75"/>
                <a:gd name="T16" fmla="*/ 70 w 80"/>
                <a:gd name="T17" fmla="*/ 75 h 75"/>
                <a:gd name="T18" fmla="*/ 73 w 80"/>
                <a:gd name="T19" fmla="*/ 23 h 75"/>
                <a:gd name="T20" fmla="*/ 80 w 80"/>
                <a:gd name="T21" fmla="*/ 8 h 75"/>
                <a:gd name="T22" fmla="*/ 73 w 80"/>
                <a:gd name="T23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75">
                  <a:moveTo>
                    <a:pt x="73" y="0"/>
                  </a:moveTo>
                  <a:lnTo>
                    <a:pt x="48" y="0"/>
                  </a:lnTo>
                  <a:lnTo>
                    <a:pt x="40" y="18"/>
                  </a:lnTo>
                  <a:lnTo>
                    <a:pt x="18" y="20"/>
                  </a:lnTo>
                  <a:lnTo>
                    <a:pt x="0" y="28"/>
                  </a:lnTo>
                  <a:lnTo>
                    <a:pt x="10" y="37"/>
                  </a:lnTo>
                  <a:lnTo>
                    <a:pt x="18" y="60"/>
                  </a:lnTo>
                  <a:lnTo>
                    <a:pt x="30" y="75"/>
                  </a:lnTo>
                  <a:lnTo>
                    <a:pt x="70" y="75"/>
                  </a:lnTo>
                  <a:lnTo>
                    <a:pt x="73" y="23"/>
                  </a:lnTo>
                  <a:lnTo>
                    <a:pt x="80" y="8"/>
                  </a:lnTo>
                  <a:lnTo>
                    <a:pt x="7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Freeform 21"/>
            <p:cNvSpPr>
              <a:spLocks/>
            </p:cNvSpPr>
            <p:nvPr/>
          </p:nvSpPr>
          <p:spPr bwMode="auto">
            <a:xfrm>
              <a:off x="2684365" y="6064875"/>
              <a:ext cx="70523" cy="69083"/>
            </a:xfrm>
            <a:custGeom>
              <a:avLst/>
              <a:gdLst>
                <a:gd name="T0" fmla="*/ 0 w 49"/>
                <a:gd name="T1" fmla="*/ 38 h 48"/>
                <a:gd name="T2" fmla="*/ 12 w 49"/>
                <a:gd name="T3" fmla="*/ 0 h 48"/>
                <a:gd name="T4" fmla="*/ 14 w 49"/>
                <a:gd name="T5" fmla="*/ 0 h 48"/>
                <a:gd name="T6" fmla="*/ 27 w 49"/>
                <a:gd name="T7" fmla="*/ 15 h 48"/>
                <a:gd name="T8" fmla="*/ 49 w 49"/>
                <a:gd name="T9" fmla="*/ 33 h 48"/>
                <a:gd name="T10" fmla="*/ 22 w 49"/>
                <a:gd name="T11" fmla="*/ 30 h 48"/>
                <a:gd name="T12" fmla="*/ 17 w 49"/>
                <a:gd name="T13" fmla="*/ 48 h 48"/>
                <a:gd name="T14" fmla="*/ 0 w 49"/>
                <a:gd name="T15" fmla="*/ 3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9" h="48">
                  <a:moveTo>
                    <a:pt x="0" y="38"/>
                  </a:moveTo>
                  <a:lnTo>
                    <a:pt x="12" y="0"/>
                  </a:lnTo>
                  <a:lnTo>
                    <a:pt x="14" y="0"/>
                  </a:lnTo>
                  <a:lnTo>
                    <a:pt x="27" y="15"/>
                  </a:lnTo>
                  <a:lnTo>
                    <a:pt x="49" y="33"/>
                  </a:lnTo>
                  <a:lnTo>
                    <a:pt x="22" y="30"/>
                  </a:lnTo>
                  <a:lnTo>
                    <a:pt x="17" y="4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Freeform 22"/>
            <p:cNvSpPr>
              <a:spLocks/>
            </p:cNvSpPr>
            <p:nvPr/>
          </p:nvSpPr>
          <p:spPr bwMode="auto">
            <a:xfrm>
              <a:off x="2523170" y="5038699"/>
              <a:ext cx="428892" cy="972923"/>
            </a:xfrm>
            <a:custGeom>
              <a:avLst/>
              <a:gdLst>
                <a:gd name="T0" fmla="*/ 67 w 298"/>
                <a:gd name="T1" fmla="*/ 0 h 676"/>
                <a:gd name="T2" fmla="*/ 104 w 298"/>
                <a:gd name="T3" fmla="*/ 20 h 676"/>
                <a:gd name="T4" fmla="*/ 136 w 298"/>
                <a:gd name="T5" fmla="*/ 15 h 676"/>
                <a:gd name="T6" fmla="*/ 159 w 298"/>
                <a:gd name="T7" fmla="*/ 32 h 676"/>
                <a:gd name="T8" fmla="*/ 179 w 298"/>
                <a:gd name="T9" fmla="*/ 45 h 676"/>
                <a:gd name="T10" fmla="*/ 208 w 298"/>
                <a:gd name="T11" fmla="*/ 60 h 676"/>
                <a:gd name="T12" fmla="*/ 221 w 298"/>
                <a:gd name="T13" fmla="*/ 69 h 676"/>
                <a:gd name="T14" fmla="*/ 208 w 298"/>
                <a:gd name="T15" fmla="*/ 112 h 676"/>
                <a:gd name="T16" fmla="*/ 266 w 298"/>
                <a:gd name="T17" fmla="*/ 104 h 676"/>
                <a:gd name="T18" fmla="*/ 286 w 298"/>
                <a:gd name="T19" fmla="*/ 82 h 676"/>
                <a:gd name="T20" fmla="*/ 298 w 298"/>
                <a:gd name="T21" fmla="*/ 99 h 676"/>
                <a:gd name="T22" fmla="*/ 286 w 298"/>
                <a:gd name="T23" fmla="*/ 117 h 676"/>
                <a:gd name="T24" fmla="*/ 268 w 298"/>
                <a:gd name="T25" fmla="*/ 132 h 676"/>
                <a:gd name="T26" fmla="*/ 248 w 298"/>
                <a:gd name="T27" fmla="*/ 156 h 676"/>
                <a:gd name="T28" fmla="*/ 231 w 298"/>
                <a:gd name="T29" fmla="*/ 181 h 676"/>
                <a:gd name="T30" fmla="*/ 218 w 298"/>
                <a:gd name="T31" fmla="*/ 219 h 676"/>
                <a:gd name="T32" fmla="*/ 226 w 298"/>
                <a:gd name="T33" fmla="*/ 268 h 676"/>
                <a:gd name="T34" fmla="*/ 233 w 298"/>
                <a:gd name="T35" fmla="*/ 273 h 676"/>
                <a:gd name="T36" fmla="*/ 251 w 298"/>
                <a:gd name="T37" fmla="*/ 281 h 676"/>
                <a:gd name="T38" fmla="*/ 261 w 298"/>
                <a:gd name="T39" fmla="*/ 311 h 676"/>
                <a:gd name="T40" fmla="*/ 248 w 298"/>
                <a:gd name="T41" fmla="*/ 340 h 676"/>
                <a:gd name="T42" fmla="*/ 228 w 298"/>
                <a:gd name="T43" fmla="*/ 355 h 676"/>
                <a:gd name="T44" fmla="*/ 186 w 298"/>
                <a:gd name="T45" fmla="*/ 363 h 676"/>
                <a:gd name="T46" fmla="*/ 169 w 298"/>
                <a:gd name="T47" fmla="*/ 370 h 676"/>
                <a:gd name="T48" fmla="*/ 174 w 298"/>
                <a:gd name="T49" fmla="*/ 413 h 676"/>
                <a:gd name="T50" fmla="*/ 129 w 298"/>
                <a:gd name="T51" fmla="*/ 403 h 676"/>
                <a:gd name="T52" fmla="*/ 139 w 298"/>
                <a:gd name="T53" fmla="*/ 432 h 676"/>
                <a:gd name="T54" fmla="*/ 146 w 298"/>
                <a:gd name="T55" fmla="*/ 460 h 676"/>
                <a:gd name="T56" fmla="*/ 131 w 298"/>
                <a:gd name="T57" fmla="*/ 477 h 676"/>
                <a:gd name="T58" fmla="*/ 114 w 298"/>
                <a:gd name="T59" fmla="*/ 504 h 676"/>
                <a:gd name="T60" fmla="*/ 99 w 298"/>
                <a:gd name="T61" fmla="*/ 517 h 676"/>
                <a:gd name="T62" fmla="*/ 124 w 298"/>
                <a:gd name="T63" fmla="*/ 554 h 676"/>
                <a:gd name="T64" fmla="*/ 124 w 298"/>
                <a:gd name="T65" fmla="*/ 577 h 676"/>
                <a:gd name="T66" fmla="*/ 109 w 298"/>
                <a:gd name="T67" fmla="*/ 594 h 676"/>
                <a:gd name="T68" fmla="*/ 94 w 298"/>
                <a:gd name="T69" fmla="*/ 626 h 676"/>
                <a:gd name="T70" fmla="*/ 87 w 298"/>
                <a:gd name="T71" fmla="*/ 651 h 676"/>
                <a:gd name="T72" fmla="*/ 32 w 298"/>
                <a:gd name="T73" fmla="*/ 676 h 676"/>
                <a:gd name="T74" fmla="*/ 12 w 298"/>
                <a:gd name="T75" fmla="*/ 641 h 676"/>
                <a:gd name="T76" fmla="*/ 20 w 298"/>
                <a:gd name="T77" fmla="*/ 584 h 676"/>
                <a:gd name="T78" fmla="*/ 22 w 298"/>
                <a:gd name="T79" fmla="*/ 495 h 676"/>
                <a:gd name="T80" fmla="*/ 15 w 298"/>
                <a:gd name="T81" fmla="*/ 445 h 676"/>
                <a:gd name="T82" fmla="*/ 2 w 298"/>
                <a:gd name="T83" fmla="*/ 395 h 676"/>
                <a:gd name="T84" fmla="*/ 17 w 298"/>
                <a:gd name="T85" fmla="*/ 363 h 676"/>
                <a:gd name="T86" fmla="*/ 12 w 298"/>
                <a:gd name="T87" fmla="*/ 308 h 676"/>
                <a:gd name="T88" fmla="*/ 12 w 298"/>
                <a:gd name="T89" fmla="*/ 286 h 676"/>
                <a:gd name="T90" fmla="*/ 22 w 298"/>
                <a:gd name="T91" fmla="*/ 256 h 676"/>
                <a:gd name="T92" fmla="*/ 12 w 298"/>
                <a:gd name="T93" fmla="*/ 234 h 676"/>
                <a:gd name="T94" fmla="*/ 20 w 298"/>
                <a:gd name="T95" fmla="*/ 196 h 676"/>
                <a:gd name="T96" fmla="*/ 15 w 298"/>
                <a:gd name="T97" fmla="*/ 152 h 676"/>
                <a:gd name="T98" fmla="*/ 22 w 298"/>
                <a:gd name="T99" fmla="*/ 122 h 676"/>
                <a:gd name="T100" fmla="*/ 39 w 298"/>
                <a:gd name="T101" fmla="*/ 97 h 676"/>
                <a:gd name="T102" fmla="*/ 42 w 298"/>
                <a:gd name="T103" fmla="*/ 72 h 676"/>
                <a:gd name="T104" fmla="*/ 52 w 298"/>
                <a:gd name="T105" fmla="*/ 45 h 6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98" h="676">
                  <a:moveTo>
                    <a:pt x="54" y="22"/>
                  </a:moveTo>
                  <a:lnTo>
                    <a:pt x="67" y="0"/>
                  </a:lnTo>
                  <a:lnTo>
                    <a:pt x="82" y="12"/>
                  </a:lnTo>
                  <a:lnTo>
                    <a:pt x="104" y="20"/>
                  </a:lnTo>
                  <a:lnTo>
                    <a:pt x="124" y="2"/>
                  </a:lnTo>
                  <a:lnTo>
                    <a:pt x="136" y="15"/>
                  </a:lnTo>
                  <a:lnTo>
                    <a:pt x="154" y="22"/>
                  </a:lnTo>
                  <a:lnTo>
                    <a:pt x="159" y="32"/>
                  </a:lnTo>
                  <a:lnTo>
                    <a:pt x="169" y="35"/>
                  </a:lnTo>
                  <a:lnTo>
                    <a:pt x="179" y="45"/>
                  </a:lnTo>
                  <a:lnTo>
                    <a:pt x="184" y="57"/>
                  </a:lnTo>
                  <a:lnTo>
                    <a:pt x="208" y="60"/>
                  </a:lnTo>
                  <a:lnTo>
                    <a:pt x="213" y="62"/>
                  </a:lnTo>
                  <a:lnTo>
                    <a:pt x="221" y="69"/>
                  </a:lnTo>
                  <a:lnTo>
                    <a:pt x="213" y="94"/>
                  </a:lnTo>
                  <a:lnTo>
                    <a:pt x="208" y="112"/>
                  </a:lnTo>
                  <a:lnTo>
                    <a:pt x="266" y="114"/>
                  </a:lnTo>
                  <a:lnTo>
                    <a:pt x="266" y="104"/>
                  </a:lnTo>
                  <a:lnTo>
                    <a:pt x="278" y="97"/>
                  </a:lnTo>
                  <a:lnTo>
                    <a:pt x="286" y="82"/>
                  </a:lnTo>
                  <a:lnTo>
                    <a:pt x="288" y="99"/>
                  </a:lnTo>
                  <a:lnTo>
                    <a:pt x="298" y="99"/>
                  </a:lnTo>
                  <a:lnTo>
                    <a:pt x="298" y="114"/>
                  </a:lnTo>
                  <a:lnTo>
                    <a:pt x="286" y="117"/>
                  </a:lnTo>
                  <a:lnTo>
                    <a:pt x="276" y="129"/>
                  </a:lnTo>
                  <a:lnTo>
                    <a:pt x="268" y="132"/>
                  </a:lnTo>
                  <a:lnTo>
                    <a:pt x="258" y="147"/>
                  </a:lnTo>
                  <a:lnTo>
                    <a:pt x="248" y="156"/>
                  </a:lnTo>
                  <a:lnTo>
                    <a:pt x="241" y="169"/>
                  </a:lnTo>
                  <a:lnTo>
                    <a:pt x="231" y="181"/>
                  </a:lnTo>
                  <a:lnTo>
                    <a:pt x="221" y="199"/>
                  </a:lnTo>
                  <a:lnTo>
                    <a:pt x="218" y="219"/>
                  </a:lnTo>
                  <a:lnTo>
                    <a:pt x="221" y="246"/>
                  </a:lnTo>
                  <a:lnTo>
                    <a:pt x="226" y="268"/>
                  </a:lnTo>
                  <a:lnTo>
                    <a:pt x="233" y="266"/>
                  </a:lnTo>
                  <a:lnTo>
                    <a:pt x="233" y="273"/>
                  </a:lnTo>
                  <a:lnTo>
                    <a:pt x="241" y="278"/>
                  </a:lnTo>
                  <a:lnTo>
                    <a:pt x="251" y="281"/>
                  </a:lnTo>
                  <a:lnTo>
                    <a:pt x="251" y="306"/>
                  </a:lnTo>
                  <a:lnTo>
                    <a:pt x="261" y="311"/>
                  </a:lnTo>
                  <a:lnTo>
                    <a:pt x="258" y="333"/>
                  </a:lnTo>
                  <a:lnTo>
                    <a:pt x="248" y="340"/>
                  </a:lnTo>
                  <a:lnTo>
                    <a:pt x="233" y="343"/>
                  </a:lnTo>
                  <a:lnTo>
                    <a:pt x="228" y="355"/>
                  </a:lnTo>
                  <a:lnTo>
                    <a:pt x="218" y="355"/>
                  </a:lnTo>
                  <a:lnTo>
                    <a:pt x="186" y="363"/>
                  </a:lnTo>
                  <a:lnTo>
                    <a:pt x="174" y="363"/>
                  </a:lnTo>
                  <a:lnTo>
                    <a:pt x="169" y="370"/>
                  </a:lnTo>
                  <a:lnTo>
                    <a:pt x="174" y="388"/>
                  </a:lnTo>
                  <a:lnTo>
                    <a:pt x="174" y="413"/>
                  </a:lnTo>
                  <a:lnTo>
                    <a:pt x="156" y="420"/>
                  </a:lnTo>
                  <a:lnTo>
                    <a:pt x="129" y="403"/>
                  </a:lnTo>
                  <a:lnTo>
                    <a:pt x="124" y="422"/>
                  </a:lnTo>
                  <a:lnTo>
                    <a:pt x="139" y="432"/>
                  </a:lnTo>
                  <a:lnTo>
                    <a:pt x="144" y="445"/>
                  </a:lnTo>
                  <a:lnTo>
                    <a:pt x="146" y="460"/>
                  </a:lnTo>
                  <a:lnTo>
                    <a:pt x="139" y="467"/>
                  </a:lnTo>
                  <a:lnTo>
                    <a:pt x="131" y="477"/>
                  </a:lnTo>
                  <a:lnTo>
                    <a:pt x="124" y="500"/>
                  </a:lnTo>
                  <a:lnTo>
                    <a:pt x="114" y="504"/>
                  </a:lnTo>
                  <a:lnTo>
                    <a:pt x="112" y="514"/>
                  </a:lnTo>
                  <a:lnTo>
                    <a:pt x="99" y="517"/>
                  </a:lnTo>
                  <a:lnTo>
                    <a:pt x="97" y="542"/>
                  </a:lnTo>
                  <a:lnTo>
                    <a:pt x="124" y="554"/>
                  </a:lnTo>
                  <a:lnTo>
                    <a:pt x="124" y="567"/>
                  </a:lnTo>
                  <a:lnTo>
                    <a:pt x="124" y="577"/>
                  </a:lnTo>
                  <a:lnTo>
                    <a:pt x="114" y="584"/>
                  </a:lnTo>
                  <a:lnTo>
                    <a:pt x="109" y="594"/>
                  </a:lnTo>
                  <a:lnTo>
                    <a:pt x="109" y="624"/>
                  </a:lnTo>
                  <a:lnTo>
                    <a:pt x="94" y="626"/>
                  </a:lnTo>
                  <a:lnTo>
                    <a:pt x="87" y="634"/>
                  </a:lnTo>
                  <a:lnTo>
                    <a:pt x="87" y="651"/>
                  </a:lnTo>
                  <a:lnTo>
                    <a:pt x="84" y="674"/>
                  </a:lnTo>
                  <a:lnTo>
                    <a:pt x="32" y="676"/>
                  </a:lnTo>
                  <a:lnTo>
                    <a:pt x="27" y="651"/>
                  </a:lnTo>
                  <a:lnTo>
                    <a:pt x="12" y="641"/>
                  </a:lnTo>
                  <a:lnTo>
                    <a:pt x="10" y="587"/>
                  </a:lnTo>
                  <a:lnTo>
                    <a:pt x="20" y="584"/>
                  </a:lnTo>
                  <a:lnTo>
                    <a:pt x="22" y="569"/>
                  </a:lnTo>
                  <a:lnTo>
                    <a:pt x="22" y="495"/>
                  </a:lnTo>
                  <a:lnTo>
                    <a:pt x="15" y="475"/>
                  </a:lnTo>
                  <a:lnTo>
                    <a:pt x="15" y="445"/>
                  </a:lnTo>
                  <a:lnTo>
                    <a:pt x="10" y="413"/>
                  </a:lnTo>
                  <a:lnTo>
                    <a:pt x="2" y="395"/>
                  </a:lnTo>
                  <a:lnTo>
                    <a:pt x="5" y="380"/>
                  </a:lnTo>
                  <a:lnTo>
                    <a:pt x="17" y="363"/>
                  </a:lnTo>
                  <a:lnTo>
                    <a:pt x="0" y="328"/>
                  </a:lnTo>
                  <a:lnTo>
                    <a:pt x="12" y="308"/>
                  </a:lnTo>
                  <a:lnTo>
                    <a:pt x="20" y="296"/>
                  </a:lnTo>
                  <a:lnTo>
                    <a:pt x="12" y="286"/>
                  </a:lnTo>
                  <a:lnTo>
                    <a:pt x="12" y="258"/>
                  </a:lnTo>
                  <a:lnTo>
                    <a:pt x="22" y="256"/>
                  </a:lnTo>
                  <a:lnTo>
                    <a:pt x="22" y="236"/>
                  </a:lnTo>
                  <a:lnTo>
                    <a:pt x="12" y="234"/>
                  </a:lnTo>
                  <a:lnTo>
                    <a:pt x="12" y="204"/>
                  </a:lnTo>
                  <a:lnTo>
                    <a:pt x="20" y="196"/>
                  </a:lnTo>
                  <a:lnTo>
                    <a:pt x="17" y="181"/>
                  </a:lnTo>
                  <a:lnTo>
                    <a:pt x="15" y="152"/>
                  </a:lnTo>
                  <a:lnTo>
                    <a:pt x="20" y="139"/>
                  </a:lnTo>
                  <a:lnTo>
                    <a:pt x="22" y="122"/>
                  </a:lnTo>
                  <a:lnTo>
                    <a:pt x="34" y="114"/>
                  </a:lnTo>
                  <a:lnTo>
                    <a:pt x="39" y="97"/>
                  </a:lnTo>
                  <a:lnTo>
                    <a:pt x="32" y="84"/>
                  </a:lnTo>
                  <a:lnTo>
                    <a:pt x="42" y="72"/>
                  </a:lnTo>
                  <a:lnTo>
                    <a:pt x="42" y="47"/>
                  </a:lnTo>
                  <a:lnTo>
                    <a:pt x="52" y="45"/>
                  </a:lnTo>
                  <a:lnTo>
                    <a:pt x="54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Freeform 23"/>
            <p:cNvSpPr>
              <a:spLocks/>
            </p:cNvSpPr>
            <p:nvPr/>
          </p:nvSpPr>
          <p:spPr bwMode="auto">
            <a:xfrm>
              <a:off x="2701635" y="4949467"/>
              <a:ext cx="233156" cy="253305"/>
            </a:xfrm>
            <a:custGeom>
              <a:avLst/>
              <a:gdLst>
                <a:gd name="T0" fmla="*/ 30 w 162"/>
                <a:gd name="T1" fmla="*/ 84 h 176"/>
                <a:gd name="T2" fmla="*/ 35 w 162"/>
                <a:gd name="T3" fmla="*/ 94 h 176"/>
                <a:gd name="T4" fmla="*/ 45 w 162"/>
                <a:gd name="T5" fmla="*/ 97 h 176"/>
                <a:gd name="T6" fmla="*/ 55 w 162"/>
                <a:gd name="T7" fmla="*/ 107 h 176"/>
                <a:gd name="T8" fmla="*/ 60 w 162"/>
                <a:gd name="T9" fmla="*/ 119 h 176"/>
                <a:gd name="T10" fmla="*/ 84 w 162"/>
                <a:gd name="T11" fmla="*/ 122 h 176"/>
                <a:gd name="T12" fmla="*/ 89 w 162"/>
                <a:gd name="T13" fmla="*/ 124 h 176"/>
                <a:gd name="T14" fmla="*/ 97 w 162"/>
                <a:gd name="T15" fmla="*/ 131 h 176"/>
                <a:gd name="T16" fmla="*/ 89 w 162"/>
                <a:gd name="T17" fmla="*/ 156 h 176"/>
                <a:gd name="T18" fmla="*/ 84 w 162"/>
                <a:gd name="T19" fmla="*/ 174 h 176"/>
                <a:gd name="T20" fmla="*/ 142 w 162"/>
                <a:gd name="T21" fmla="*/ 176 h 176"/>
                <a:gd name="T22" fmla="*/ 142 w 162"/>
                <a:gd name="T23" fmla="*/ 166 h 176"/>
                <a:gd name="T24" fmla="*/ 154 w 162"/>
                <a:gd name="T25" fmla="*/ 159 h 176"/>
                <a:gd name="T26" fmla="*/ 162 w 162"/>
                <a:gd name="T27" fmla="*/ 144 h 176"/>
                <a:gd name="T28" fmla="*/ 159 w 162"/>
                <a:gd name="T29" fmla="*/ 139 h 176"/>
                <a:gd name="T30" fmla="*/ 157 w 162"/>
                <a:gd name="T31" fmla="*/ 94 h 176"/>
                <a:gd name="T32" fmla="*/ 142 w 162"/>
                <a:gd name="T33" fmla="*/ 92 h 176"/>
                <a:gd name="T34" fmla="*/ 139 w 162"/>
                <a:gd name="T35" fmla="*/ 72 h 176"/>
                <a:gd name="T36" fmla="*/ 122 w 162"/>
                <a:gd name="T37" fmla="*/ 69 h 176"/>
                <a:gd name="T38" fmla="*/ 112 w 162"/>
                <a:gd name="T39" fmla="*/ 67 h 176"/>
                <a:gd name="T40" fmla="*/ 109 w 162"/>
                <a:gd name="T41" fmla="*/ 57 h 176"/>
                <a:gd name="T42" fmla="*/ 92 w 162"/>
                <a:gd name="T43" fmla="*/ 54 h 176"/>
                <a:gd name="T44" fmla="*/ 89 w 162"/>
                <a:gd name="T45" fmla="*/ 40 h 176"/>
                <a:gd name="T46" fmla="*/ 77 w 162"/>
                <a:gd name="T47" fmla="*/ 35 h 176"/>
                <a:gd name="T48" fmla="*/ 77 w 162"/>
                <a:gd name="T49" fmla="*/ 22 h 176"/>
                <a:gd name="T50" fmla="*/ 70 w 162"/>
                <a:gd name="T51" fmla="*/ 7 h 176"/>
                <a:gd name="T52" fmla="*/ 47 w 162"/>
                <a:gd name="T53" fmla="*/ 0 h 176"/>
                <a:gd name="T54" fmla="*/ 35 w 162"/>
                <a:gd name="T55" fmla="*/ 10 h 176"/>
                <a:gd name="T56" fmla="*/ 12 w 162"/>
                <a:gd name="T57" fmla="*/ 20 h 176"/>
                <a:gd name="T58" fmla="*/ 7 w 162"/>
                <a:gd name="T59" fmla="*/ 35 h 176"/>
                <a:gd name="T60" fmla="*/ 0 w 162"/>
                <a:gd name="T61" fmla="*/ 64 h 176"/>
                <a:gd name="T62" fmla="*/ 12 w 162"/>
                <a:gd name="T63" fmla="*/ 77 h 176"/>
                <a:gd name="T64" fmla="*/ 30 w 162"/>
                <a:gd name="T65" fmla="*/ 8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62" h="176">
                  <a:moveTo>
                    <a:pt x="30" y="84"/>
                  </a:moveTo>
                  <a:lnTo>
                    <a:pt x="35" y="94"/>
                  </a:lnTo>
                  <a:lnTo>
                    <a:pt x="45" y="97"/>
                  </a:lnTo>
                  <a:lnTo>
                    <a:pt x="55" y="107"/>
                  </a:lnTo>
                  <a:lnTo>
                    <a:pt x="60" y="119"/>
                  </a:lnTo>
                  <a:lnTo>
                    <a:pt x="84" y="122"/>
                  </a:lnTo>
                  <a:lnTo>
                    <a:pt x="89" y="124"/>
                  </a:lnTo>
                  <a:lnTo>
                    <a:pt x="97" y="131"/>
                  </a:lnTo>
                  <a:lnTo>
                    <a:pt x="89" y="156"/>
                  </a:lnTo>
                  <a:lnTo>
                    <a:pt x="84" y="174"/>
                  </a:lnTo>
                  <a:lnTo>
                    <a:pt x="142" y="176"/>
                  </a:lnTo>
                  <a:lnTo>
                    <a:pt x="142" y="166"/>
                  </a:lnTo>
                  <a:lnTo>
                    <a:pt x="154" y="159"/>
                  </a:lnTo>
                  <a:lnTo>
                    <a:pt x="162" y="144"/>
                  </a:lnTo>
                  <a:lnTo>
                    <a:pt x="159" y="139"/>
                  </a:lnTo>
                  <a:lnTo>
                    <a:pt x="157" y="94"/>
                  </a:lnTo>
                  <a:lnTo>
                    <a:pt x="142" y="92"/>
                  </a:lnTo>
                  <a:lnTo>
                    <a:pt x="139" y="72"/>
                  </a:lnTo>
                  <a:lnTo>
                    <a:pt x="122" y="69"/>
                  </a:lnTo>
                  <a:lnTo>
                    <a:pt x="112" y="67"/>
                  </a:lnTo>
                  <a:lnTo>
                    <a:pt x="109" y="57"/>
                  </a:lnTo>
                  <a:lnTo>
                    <a:pt x="92" y="54"/>
                  </a:lnTo>
                  <a:lnTo>
                    <a:pt x="89" y="40"/>
                  </a:lnTo>
                  <a:lnTo>
                    <a:pt x="77" y="35"/>
                  </a:lnTo>
                  <a:lnTo>
                    <a:pt x="77" y="22"/>
                  </a:lnTo>
                  <a:lnTo>
                    <a:pt x="70" y="7"/>
                  </a:lnTo>
                  <a:lnTo>
                    <a:pt x="47" y="0"/>
                  </a:lnTo>
                  <a:lnTo>
                    <a:pt x="35" y="10"/>
                  </a:lnTo>
                  <a:lnTo>
                    <a:pt x="12" y="20"/>
                  </a:lnTo>
                  <a:lnTo>
                    <a:pt x="7" y="35"/>
                  </a:lnTo>
                  <a:lnTo>
                    <a:pt x="0" y="64"/>
                  </a:lnTo>
                  <a:lnTo>
                    <a:pt x="12" y="77"/>
                  </a:lnTo>
                  <a:lnTo>
                    <a:pt x="30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" name="Freeform 24"/>
            <p:cNvSpPr>
              <a:spLocks/>
            </p:cNvSpPr>
            <p:nvPr/>
          </p:nvSpPr>
          <p:spPr bwMode="auto">
            <a:xfrm>
              <a:off x="2311603" y="3839817"/>
              <a:ext cx="60448" cy="28785"/>
            </a:xfrm>
            <a:custGeom>
              <a:avLst/>
              <a:gdLst>
                <a:gd name="T0" fmla="*/ 10 w 42"/>
                <a:gd name="T1" fmla="*/ 0 h 20"/>
                <a:gd name="T2" fmla="*/ 25 w 42"/>
                <a:gd name="T3" fmla="*/ 0 h 20"/>
                <a:gd name="T4" fmla="*/ 42 w 42"/>
                <a:gd name="T5" fmla="*/ 8 h 20"/>
                <a:gd name="T6" fmla="*/ 35 w 42"/>
                <a:gd name="T7" fmla="*/ 20 h 20"/>
                <a:gd name="T8" fmla="*/ 15 w 42"/>
                <a:gd name="T9" fmla="*/ 20 h 20"/>
                <a:gd name="T10" fmla="*/ 0 w 42"/>
                <a:gd name="T11" fmla="*/ 13 h 20"/>
                <a:gd name="T12" fmla="*/ 10 w 42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20">
                  <a:moveTo>
                    <a:pt x="10" y="0"/>
                  </a:moveTo>
                  <a:lnTo>
                    <a:pt x="25" y="0"/>
                  </a:lnTo>
                  <a:lnTo>
                    <a:pt x="42" y="8"/>
                  </a:lnTo>
                  <a:lnTo>
                    <a:pt x="35" y="20"/>
                  </a:lnTo>
                  <a:lnTo>
                    <a:pt x="15" y="20"/>
                  </a:lnTo>
                  <a:lnTo>
                    <a:pt x="0" y="13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Freeform 25"/>
            <p:cNvSpPr>
              <a:spLocks/>
            </p:cNvSpPr>
            <p:nvPr/>
          </p:nvSpPr>
          <p:spPr bwMode="auto">
            <a:xfrm>
              <a:off x="2475676" y="3793761"/>
              <a:ext cx="96428" cy="71962"/>
            </a:xfrm>
            <a:custGeom>
              <a:avLst/>
              <a:gdLst>
                <a:gd name="T0" fmla="*/ 0 w 67"/>
                <a:gd name="T1" fmla="*/ 50 h 50"/>
                <a:gd name="T2" fmla="*/ 5 w 67"/>
                <a:gd name="T3" fmla="*/ 35 h 50"/>
                <a:gd name="T4" fmla="*/ 5 w 67"/>
                <a:gd name="T5" fmla="*/ 10 h 50"/>
                <a:gd name="T6" fmla="*/ 5 w 67"/>
                <a:gd name="T7" fmla="*/ 0 h 50"/>
                <a:gd name="T8" fmla="*/ 23 w 67"/>
                <a:gd name="T9" fmla="*/ 2 h 50"/>
                <a:gd name="T10" fmla="*/ 28 w 67"/>
                <a:gd name="T11" fmla="*/ 10 h 50"/>
                <a:gd name="T12" fmla="*/ 35 w 67"/>
                <a:gd name="T13" fmla="*/ 12 h 50"/>
                <a:gd name="T14" fmla="*/ 43 w 67"/>
                <a:gd name="T15" fmla="*/ 12 h 50"/>
                <a:gd name="T16" fmla="*/ 48 w 67"/>
                <a:gd name="T17" fmla="*/ 25 h 50"/>
                <a:gd name="T18" fmla="*/ 55 w 67"/>
                <a:gd name="T19" fmla="*/ 30 h 50"/>
                <a:gd name="T20" fmla="*/ 67 w 67"/>
                <a:gd name="T21" fmla="*/ 37 h 50"/>
                <a:gd name="T22" fmla="*/ 65 w 67"/>
                <a:gd name="T23" fmla="*/ 45 h 50"/>
                <a:gd name="T24" fmla="*/ 48 w 67"/>
                <a:gd name="T25" fmla="*/ 47 h 50"/>
                <a:gd name="T26" fmla="*/ 23 w 67"/>
                <a:gd name="T27" fmla="*/ 45 h 50"/>
                <a:gd name="T28" fmla="*/ 0 w 67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7" h="50">
                  <a:moveTo>
                    <a:pt x="0" y="50"/>
                  </a:moveTo>
                  <a:lnTo>
                    <a:pt x="5" y="35"/>
                  </a:lnTo>
                  <a:lnTo>
                    <a:pt x="5" y="10"/>
                  </a:lnTo>
                  <a:lnTo>
                    <a:pt x="5" y="0"/>
                  </a:lnTo>
                  <a:lnTo>
                    <a:pt x="23" y="2"/>
                  </a:lnTo>
                  <a:lnTo>
                    <a:pt x="28" y="10"/>
                  </a:lnTo>
                  <a:lnTo>
                    <a:pt x="35" y="12"/>
                  </a:lnTo>
                  <a:lnTo>
                    <a:pt x="43" y="12"/>
                  </a:lnTo>
                  <a:lnTo>
                    <a:pt x="48" y="25"/>
                  </a:lnTo>
                  <a:lnTo>
                    <a:pt x="55" y="30"/>
                  </a:lnTo>
                  <a:lnTo>
                    <a:pt x="67" y="37"/>
                  </a:lnTo>
                  <a:lnTo>
                    <a:pt x="65" y="45"/>
                  </a:lnTo>
                  <a:lnTo>
                    <a:pt x="48" y="47"/>
                  </a:lnTo>
                  <a:lnTo>
                    <a:pt x="23" y="45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" name="Freeform 26"/>
            <p:cNvSpPr>
              <a:spLocks/>
            </p:cNvSpPr>
            <p:nvPr/>
          </p:nvSpPr>
          <p:spPr bwMode="auto">
            <a:xfrm>
              <a:off x="2593693" y="3844134"/>
              <a:ext cx="40299" cy="24467"/>
            </a:xfrm>
            <a:custGeom>
              <a:avLst/>
              <a:gdLst>
                <a:gd name="T0" fmla="*/ 10 w 28"/>
                <a:gd name="T1" fmla="*/ 0 h 17"/>
                <a:gd name="T2" fmla="*/ 0 w 28"/>
                <a:gd name="T3" fmla="*/ 7 h 17"/>
                <a:gd name="T4" fmla="*/ 5 w 28"/>
                <a:gd name="T5" fmla="*/ 12 h 17"/>
                <a:gd name="T6" fmla="*/ 18 w 28"/>
                <a:gd name="T7" fmla="*/ 17 h 17"/>
                <a:gd name="T8" fmla="*/ 28 w 28"/>
                <a:gd name="T9" fmla="*/ 12 h 17"/>
                <a:gd name="T10" fmla="*/ 28 w 28"/>
                <a:gd name="T11" fmla="*/ 0 h 17"/>
                <a:gd name="T12" fmla="*/ 10 w 28"/>
                <a:gd name="T13" fmla="*/ 0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" h="17">
                  <a:moveTo>
                    <a:pt x="10" y="0"/>
                  </a:moveTo>
                  <a:lnTo>
                    <a:pt x="0" y="7"/>
                  </a:lnTo>
                  <a:lnTo>
                    <a:pt x="5" y="12"/>
                  </a:lnTo>
                  <a:lnTo>
                    <a:pt x="18" y="17"/>
                  </a:lnTo>
                  <a:lnTo>
                    <a:pt x="28" y="12"/>
                  </a:lnTo>
                  <a:lnTo>
                    <a:pt x="28" y="0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" name="Freeform 27"/>
            <p:cNvSpPr>
              <a:spLocks/>
            </p:cNvSpPr>
            <p:nvPr/>
          </p:nvSpPr>
          <p:spPr bwMode="auto">
            <a:xfrm>
              <a:off x="3818482" y="3890190"/>
              <a:ext cx="171269" cy="146802"/>
            </a:xfrm>
            <a:custGeom>
              <a:avLst/>
              <a:gdLst>
                <a:gd name="T0" fmla="*/ 22 w 119"/>
                <a:gd name="T1" fmla="*/ 80 h 102"/>
                <a:gd name="T2" fmla="*/ 22 w 119"/>
                <a:gd name="T3" fmla="*/ 94 h 102"/>
                <a:gd name="T4" fmla="*/ 37 w 119"/>
                <a:gd name="T5" fmla="*/ 94 h 102"/>
                <a:gd name="T6" fmla="*/ 44 w 119"/>
                <a:gd name="T7" fmla="*/ 102 h 102"/>
                <a:gd name="T8" fmla="*/ 54 w 119"/>
                <a:gd name="T9" fmla="*/ 89 h 102"/>
                <a:gd name="T10" fmla="*/ 74 w 119"/>
                <a:gd name="T11" fmla="*/ 82 h 102"/>
                <a:gd name="T12" fmla="*/ 99 w 119"/>
                <a:gd name="T13" fmla="*/ 87 h 102"/>
                <a:gd name="T14" fmla="*/ 119 w 119"/>
                <a:gd name="T15" fmla="*/ 87 h 102"/>
                <a:gd name="T16" fmla="*/ 109 w 119"/>
                <a:gd name="T17" fmla="*/ 67 h 102"/>
                <a:gd name="T18" fmla="*/ 99 w 119"/>
                <a:gd name="T19" fmla="*/ 57 h 102"/>
                <a:gd name="T20" fmla="*/ 97 w 119"/>
                <a:gd name="T21" fmla="*/ 42 h 102"/>
                <a:gd name="T22" fmla="*/ 84 w 119"/>
                <a:gd name="T23" fmla="*/ 35 h 102"/>
                <a:gd name="T24" fmla="*/ 69 w 119"/>
                <a:gd name="T25" fmla="*/ 15 h 102"/>
                <a:gd name="T26" fmla="*/ 57 w 119"/>
                <a:gd name="T27" fmla="*/ 10 h 102"/>
                <a:gd name="T28" fmla="*/ 49 w 119"/>
                <a:gd name="T29" fmla="*/ 0 h 102"/>
                <a:gd name="T30" fmla="*/ 34 w 119"/>
                <a:gd name="T31" fmla="*/ 2 h 102"/>
                <a:gd name="T32" fmla="*/ 12 w 119"/>
                <a:gd name="T33" fmla="*/ 27 h 102"/>
                <a:gd name="T34" fmla="*/ 0 w 119"/>
                <a:gd name="T35" fmla="*/ 35 h 102"/>
                <a:gd name="T36" fmla="*/ 14 w 119"/>
                <a:gd name="T37" fmla="*/ 37 h 102"/>
                <a:gd name="T38" fmla="*/ 27 w 119"/>
                <a:gd name="T39" fmla="*/ 52 h 102"/>
                <a:gd name="T40" fmla="*/ 34 w 119"/>
                <a:gd name="T41" fmla="*/ 60 h 102"/>
                <a:gd name="T42" fmla="*/ 22 w 119"/>
                <a:gd name="T43" fmla="*/ 67 h 102"/>
                <a:gd name="T44" fmla="*/ 22 w 119"/>
                <a:gd name="T45" fmla="*/ 8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19" h="102">
                  <a:moveTo>
                    <a:pt x="22" y="80"/>
                  </a:moveTo>
                  <a:lnTo>
                    <a:pt x="22" y="94"/>
                  </a:lnTo>
                  <a:lnTo>
                    <a:pt x="37" y="94"/>
                  </a:lnTo>
                  <a:lnTo>
                    <a:pt x="44" y="102"/>
                  </a:lnTo>
                  <a:lnTo>
                    <a:pt x="54" y="89"/>
                  </a:lnTo>
                  <a:lnTo>
                    <a:pt x="74" y="82"/>
                  </a:lnTo>
                  <a:lnTo>
                    <a:pt x="99" y="87"/>
                  </a:lnTo>
                  <a:lnTo>
                    <a:pt x="119" y="87"/>
                  </a:lnTo>
                  <a:lnTo>
                    <a:pt x="109" y="67"/>
                  </a:lnTo>
                  <a:lnTo>
                    <a:pt x="99" y="57"/>
                  </a:lnTo>
                  <a:lnTo>
                    <a:pt x="97" y="42"/>
                  </a:lnTo>
                  <a:lnTo>
                    <a:pt x="84" y="35"/>
                  </a:lnTo>
                  <a:lnTo>
                    <a:pt x="69" y="15"/>
                  </a:lnTo>
                  <a:lnTo>
                    <a:pt x="57" y="10"/>
                  </a:lnTo>
                  <a:lnTo>
                    <a:pt x="49" y="0"/>
                  </a:lnTo>
                  <a:lnTo>
                    <a:pt x="34" y="2"/>
                  </a:lnTo>
                  <a:lnTo>
                    <a:pt x="12" y="27"/>
                  </a:lnTo>
                  <a:lnTo>
                    <a:pt x="0" y="35"/>
                  </a:lnTo>
                  <a:lnTo>
                    <a:pt x="14" y="37"/>
                  </a:lnTo>
                  <a:lnTo>
                    <a:pt x="27" y="52"/>
                  </a:lnTo>
                  <a:lnTo>
                    <a:pt x="34" y="60"/>
                  </a:lnTo>
                  <a:lnTo>
                    <a:pt x="22" y="67"/>
                  </a:lnTo>
                  <a:lnTo>
                    <a:pt x="22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" name="Freeform 30"/>
            <p:cNvSpPr>
              <a:spLocks/>
            </p:cNvSpPr>
            <p:nvPr/>
          </p:nvSpPr>
          <p:spPr bwMode="auto">
            <a:xfrm>
              <a:off x="7897275" y="4451491"/>
              <a:ext cx="207250" cy="218764"/>
            </a:xfrm>
            <a:custGeom>
              <a:avLst/>
              <a:gdLst>
                <a:gd name="T0" fmla="*/ 19 w 144"/>
                <a:gd name="T1" fmla="*/ 90 h 152"/>
                <a:gd name="T2" fmla="*/ 0 w 144"/>
                <a:gd name="T3" fmla="*/ 0 h 152"/>
                <a:gd name="T4" fmla="*/ 17 w 144"/>
                <a:gd name="T5" fmla="*/ 8 h 152"/>
                <a:gd name="T6" fmla="*/ 47 w 144"/>
                <a:gd name="T7" fmla="*/ 5 h 152"/>
                <a:gd name="T8" fmla="*/ 47 w 144"/>
                <a:gd name="T9" fmla="*/ 30 h 152"/>
                <a:gd name="T10" fmla="*/ 64 w 144"/>
                <a:gd name="T11" fmla="*/ 38 h 152"/>
                <a:gd name="T12" fmla="*/ 69 w 144"/>
                <a:gd name="T13" fmla="*/ 50 h 152"/>
                <a:gd name="T14" fmla="*/ 84 w 144"/>
                <a:gd name="T15" fmla="*/ 62 h 152"/>
                <a:gd name="T16" fmla="*/ 94 w 144"/>
                <a:gd name="T17" fmla="*/ 72 h 152"/>
                <a:gd name="T18" fmla="*/ 92 w 144"/>
                <a:gd name="T19" fmla="*/ 92 h 152"/>
                <a:gd name="T20" fmla="*/ 104 w 144"/>
                <a:gd name="T21" fmla="*/ 115 h 152"/>
                <a:gd name="T22" fmla="*/ 129 w 144"/>
                <a:gd name="T23" fmla="*/ 122 h 152"/>
                <a:gd name="T24" fmla="*/ 144 w 144"/>
                <a:gd name="T25" fmla="*/ 147 h 152"/>
                <a:gd name="T26" fmla="*/ 131 w 144"/>
                <a:gd name="T27" fmla="*/ 149 h 152"/>
                <a:gd name="T28" fmla="*/ 121 w 144"/>
                <a:gd name="T29" fmla="*/ 152 h 152"/>
                <a:gd name="T30" fmla="*/ 116 w 144"/>
                <a:gd name="T31" fmla="*/ 152 h 152"/>
                <a:gd name="T32" fmla="*/ 101 w 144"/>
                <a:gd name="T33" fmla="*/ 144 h 152"/>
                <a:gd name="T34" fmla="*/ 89 w 144"/>
                <a:gd name="T35" fmla="*/ 142 h 152"/>
                <a:gd name="T36" fmla="*/ 64 w 144"/>
                <a:gd name="T37" fmla="*/ 117 h 152"/>
                <a:gd name="T38" fmla="*/ 49 w 144"/>
                <a:gd name="T39" fmla="*/ 95 h 152"/>
                <a:gd name="T40" fmla="*/ 19 w 144"/>
                <a:gd name="T41" fmla="*/ 90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152">
                  <a:moveTo>
                    <a:pt x="19" y="90"/>
                  </a:moveTo>
                  <a:lnTo>
                    <a:pt x="0" y="0"/>
                  </a:lnTo>
                  <a:lnTo>
                    <a:pt x="17" y="8"/>
                  </a:lnTo>
                  <a:lnTo>
                    <a:pt x="47" y="5"/>
                  </a:lnTo>
                  <a:lnTo>
                    <a:pt x="47" y="30"/>
                  </a:lnTo>
                  <a:lnTo>
                    <a:pt x="64" y="38"/>
                  </a:lnTo>
                  <a:lnTo>
                    <a:pt x="69" y="50"/>
                  </a:lnTo>
                  <a:lnTo>
                    <a:pt x="84" y="62"/>
                  </a:lnTo>
                  <a:lnTo>
                    <a:pt x="94" y="72"/>
                  </a:lnTo>
                  <a:lnTo>
                    <a:pt x="92" y="92"/>
                  </a:lnTo>
                  <a:lnTo>
                    <a:pt x="104" y="115"/>
                  </a:lnTo>
                  <a:lnTo>
                    <a:pt x="129" y="122"/>
                  </a:lnTo>
                  <a:lnTo>
                    <a:pt x="144" y="147"/>
                  </a:lnTo>
                  <a:lnTo>
                    <a:pt x="131" y="149"/>
                  </a:lnTo>
                  <a:lnTo>
                    <a:pt x="121" y="152"/>
                  </a:lnTo>
                  <a:lnTo>
                    <a:pt x="116" y="152"/>
                  </a:lnTo>
                  <a:lnTo>
                    <a:pt x="101" y="144"/>
                  </a:lnTo>
                  <a:lnTo>
                    <a:pt x="89" y="142"/>
                  </a:lnTo>
                  <a:lnTo>
                    <a:pt x="64" y="117"/>
                  </a:lnTo>
                  <a:lnTo>
                    <a:pt x="49" y="95"/>
                  </a:lnTo>
                  <a:lnTo>
                    <a:pt x="19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" name="Freeform 31"/>
            <p:cNvSpPr>
              <a:spLocks/>
            </p:cNvSpPr>
            <p:nvPr/>
          </p:nvSpPr>
          <p:spPr bwMode="auto">
            <a:xfrm>
              <a:off x="8068545" y="4491790"/>
              <a:ext cx="67644" cy="53252"/>
            </a:xfrm>
            <a:custGeom>
              <a:avLst/>
              <a:gdLst>
                <a:gd name="T0" fmla="*/ 2 w 47"/>
                <a:gd name="T1" fmla="*/ 17 h 37"/>
                <a:gd name="T2" fmla="*/ 0 w 47"/>
                <a:gd name="T3" fmla="*/ 32 h 37"/>
                <a:gd name="T4" fmla="*/ 17 w 47"/>
                <a:gd name="T5" fmla="*/ 37 h 37"/>
                <a:gd name="T6" fmla="*/ 40 w 47"/>
                <a:gd name="T7" fmla="*/ 24 h 37"/>
                <a:gd name="T8" fmla="*/ 47 w 47"/>
                <a:gd name="T9" fmla="*/ 12 h 37"/>
                <a:gd name="T10" fmla="*/ 47 w 47"/>
                <a:gd name="T11" fmla="*/ 0 h 37"/>
                <a:gd name="T12" fmla="*/ 32 w 47"/>
                <a:gd name="T13" fmla="*/ 0 h 37"/>
                <a:gd name="T14" fmla="*/ 27 w 47"/>
                <a:gd name="T15" fmla="*/ 12 h 37"/>
                <a:gd name="T16" fmla="*/ 2 w 47"/>
                <a:gd name="T17" fmla="*/ 1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7" h="37">
                  <a:moveTo>
                    <a:pt x="2" y="17"/>
                  </a:moveTo>
                  <a:lnTo>
                    <a:pt x="0" y="32"/>
                  </a:lnTo>
                  <a:lnTo>
                    <a:pt x="17" y="37"/>
                  </a:lnTo>
                  <a:lnTo>
                    <a:pt x="40" y="24"/>
                  </a:lnTo>
                  <a:lnTo>
                    <a:pt x="47" y="12"/>
                  </a:lnTo>
                  <a:lnTo>
                    <a:pt x="47" y="0"/>
                  </a:lnTo>
                  <a:lnTo>
                    <a:pt x="32" y="0"/>
                  </a:lnTo>
                  <a:lnTo>
                    <a:pt x="27" y="12"/>
                  </a:lnTo>
                  <a:lnTo>
                    <a:pt x="2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Freeform 32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0 w 28"/>
                <a:gd name="T25" fmla="*/ 17 h 17"/>
                <a:gd name="T26" fmla="*/ 13 w 28"/>
                <a:gd name="T27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" name="Freeform 33"/>
            <p:cNvSpPr>
              <a:spLocks/>
            </p:cNvSpPr>
            <p:nvPr/>
          </p:nvSpPr>
          <p:spPr bwMode="auto">
            <a:xfrm>
              <a:off x="8182244" y="4509061"/>
              <a:ext cx="40299" cy="24467"/>
            </a:xfrm>
            <a:custGeom>
              <a:avLst/>
              <a:gdLst>
                <a:gd name="T0" fmla="*/ 13 w 28"/>
                <a:gd name="T1" fmla="*/ 17 h 17"/>
                <a:gd name="T2" fmla="*/ 23 w 28"/>
                <a:gd name="T3" fmla="*/ 15 h 17"/>
                <a:gd name="T4" fmla="*/ 25 w 28"/>
                <a:gd name="T5" fmla="*/ 12 h 17"/>
                <a:gd name="T6" fmla="*/ 28 w 28"/>
                <a:gd name="T7" fmla="*/ 7 h 17"/>
                <a:gd name="T8" fmla="*/ 25 w 28"/>
                <a:gd name="T9" fmla="*/ 5 h 17"/>
                <a:gd name="T10" fmla="*/ 23 w 28"/>
                <a:gd name="T11" fmla="*/ 2 h 17"/>
                <a:gd name="T12" fmla="*/ 13 w 28"/>
                <a:gd name="T13" fmla="*/ 0 h 17"/>
                <a:gd name="T14" fmla="*/ 5 w 28"/>
                <a:gd name="T15" fmla="*/ 2 h 17"/>
                <a:gd name="T16" fmla="*/ 3 w 28"/>
                <a:gd name="T17" fmla="*/ 5 h 17"/>
                <a:gd name="T18" fmla="*/ 0 w 28"/>
                <a:gd name="T19" fmla="*/ 7 h 17"/>
                <a:gd name="T20" fmla="*/ 3 w 28"/>
                <a:gd name="T21" fmla="*/ 12 h 17"/>
                <a:gd name="T22" fmla="*/ 5 w 28"/>
                <a:gd name="T23" fmla="*/ 15 h 17"/>
                <a:gd name="T24" fmla="*/ 13 w 28"/>
                <a:gd name="T2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" h="17">
                  <a:moveTo>
                    <a:pt x="13" y="17"/>
                  </a:moveTo>
                  <a:lnTo>
                    <a:pt x="23" y="15"/>
                  </a:lnTo>
                  <a:lnTo>
                    <a:pt x="25" y="12"/>
                  </a:lnTo>
                  <a:lnTo>
                    <a:pt x="28" y="7"/>
                  </a:lnTo>
                  <a:lnTo>
                    <a:pt x="25" y="5"/>
                  </a:lnTo>
                  <a:lnTo>
                    <a:pt x="23" y="2"/>
                  </a:lnTo>
                  <a:lnTo>
                    <a:pt x="13" y="0"/>
                  </a:lnTo>
                  <a:lnTo>
                    <a:pt x="5" y="2"/>
                  </a:lnTo>
                  <a:lnTo>
                    <a:pt x="3" y="5"/>
                  </a:lnTo>
                  <a:lnTo>
                    <a:pt x="0" y="7"/>
                  </a:lnTo>
                  <a:lnTo>
                    <a:pt x="3" y="12"/>
                  </a:lnTo>
                  <a:lnTo>
                    <a:pt x="5" y="15"/>
                  </a:lnTo>
                  <a:lnTo>
                    <a:pt x="13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" name="Freeform 34"/>
            <p:cNvSpPr>
              <a:spLocks/>
            </p:cNvSpPr>
            <p:nvPr/>
          </p:nvSpPr>
          <p:spPr bwMode="auto">
            <a:xfrm>
              <a:off x="4451746" y="3249730"/>
              <a:ext cx="99308" cy="189979"/>
            </a:xfrm>
            <a:custGeom>
              <a:avLst/>
              <a:gdLst>
                <a:gd name="T0" fmla="*/ 37 w 69"/>
                <a:gd name="T1" fmla="*/ 132 h 132"/>
                <a:gd name="T2" fmla="*/ 27 w 69"/>
                <a:gd name="T3" fmla="*/ 129 h 132"/>
                <a:gd name="T4" fmla="*/ 24 w 69"/>
                <a:gd name="T5" fmla="*/ 109 h 132"/>
                <a:gd name="T6" fmla="*/ 7 w 69"/>
                <a:gd name="T7" fmla="*/ 104 h 132"/>
                <a:gd name="T8" fmla="*/ 0 w 69"/>
                <a:gd name="T9" fmla="*/ 85 h 132"/>
                <a:gd name="T10" fmla="*/ 5 w 69"/>
                <a:gd name="T11" fmla="*/ 65 h 132"/>
                <a:gd name="T12" fmla="*/ 22 w 69"/>
                <a:gd name="T13" fmla="*/ 60 h 132"/>
                <a:gd name="T14" fmla="*/ 12 w 69"/>
                <a:gd name="T15" fmla="*/ 45 h 132"/>
                <a:gd name="T16" fmla="*/ 14 w 69"/>
                <a:gd name="T17" fmla="*/ 32 h 132"/>
                <a:gd name="T18" fmla="*/ 24 w 69"/>
                <a:gd name="T19" fmla="*/ 32 h 132"/>
                <a:gd name="T20" fmla="*/ 19 w 69"/>
                <a:gd name="T21" fmla="*/ 7 h 132"/>
                <a:gd name="T22" fmla="*/ 32 w 69"/>
                <a:gd name="T23" fmla="*/ 0 h 132"/>
                <a:gd name="T24" fmla="*/ 42 w 69"/>
                <a:gd name="T25" fmla="*/ 0 h 132"/>
                <a:gd name="T26" fmla="*/ 49 w 69"/>
                <a:gd name="T27" fmla="*/ 5 h 132"/>
                <a:gd name="T28" fmla="*/ 64 w 69"/>
                <a:gd name="T29" fmla="*/ 12 h 132"/>
                <a:gd name="T30" fmla="*/ 59 w 69"/>
                <a:gd name="T31" fmla="*/ 27 h 132"/>
                <a:gd name="T32" fmla="*/ 67 w 69"/>
                <a:gd name="T33" fmla="*/ 37 h 132"/>
                <a:gd name="T34" fmla="*/ 64 w 69"/>
                <a:gd name="T35" fmla="*/ 60 h 132"/>
                <a:gd name="T36" fmla="*/ 52 w 69"/>
                <a:gd name="T37" fmla="*/ 62 h 132"/>
                <a:gd name="T38" fmla="*/ 49 w 69"/>
                <a:gd name="T39" fmla="*/ 80 h 132"/>
                <a:gd name="T40" fmla="*/ 62 w 69"/>
                <a:gd name="T41" fmla="*/ 82 h 132"/>
                <a:gd name="T42" fmla="*/ 69 w 69"/>
                <a:gd name="T43" fmla="*/ 92 h 132"/>
                <a:gd name="T44" fmla="*/ 64 w 69"/>
                <a:gd name="T45" fmla="*/ 119 h 132"/>
                <a:gd name="T46" fmla="*/ 54 w 69"/>
                <a:gd name="T47" fmla="*/ 122 h 132"/>
                <a:gd name="T48" fmla="*/ 37 w 69"/>
                <a:gd name="T49" fmla="*/ 13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69" h="132">
                  <a:moveTo>
                    <a:pt x="37" y="132"/>
                  </a:moveTo>
                  <a:lnTo>
                    <a:pt x="27" y="129"/>
                  </a:lnTo>
                  <a:lnTo>
                    <a:pt x="24" y="109"/>
                  </a:lnTo>
                  <a:lnTo>
                    <a:pt x="7" y="104"/>
                  </a:lnTo>
                  <a:lnTo>
                    <a:pt x="0" y="85"/>
                  </a:lnTo>
                  <a:lnTo>
                    <a:pt x="5" y="65"/>
                  </a:lnTo>
                  <a:lnTo>
                    <a:pt x="22" y="60"/>
                  </a:lnTo>
                  <a:lnTo>
                    <a:pt x="12" y="45"/>
                  </a:lnTo>
                  <a:lnTo>
                    <a:pt x="14" y="32"/>
                  </a:lnTo>
                  <a:lnTo>
                    <a:pt x="24" y="32"/>
                  </a:lnTo>
                  <a:lnTo>
                    <a:pt x="19" y="7"/>
                  </a:lnTo>
                  <a:lnTo>
                    <a:pt x="32" y="0"/>
                  </a:lnTo>
                  <a:lnTo>
                    <a:pt x="42" y="0"/>
                  </a:lnTo>
                  <a:lnTo>
                    <a:pt x="49" y="5"/>
                  </a:lnTo>
                  <a:lnTo>
                    <a:pt x="64" y="12"/>
                  </a:lnTo>
                  <a:lnTo>
                    <a:pt x="59" y="27"/>
                  </a:lnTo>
                  <a:lnTo>
                    <a:pt x="67" y="37"/>
                  </a:lnTo>
                  <a:lnTo>
                    <a:pt x="64" y="60"/>
                  </a:lnTo>
                  <a:lnTo>
                    <a:pt x="52" y="62"/>
                  </a:lnTo>
                  <a:lnTo>
                    <a:pt x="49" y="80"/>
                  </a:lnTo>
                  <a:lnTo>
                    <a:pt x="62" y="82"/>
                  </a:lnTo>
                  <a:lnTo>
                    <a:pt x="69" y="92"/>
                  </a:lnTo>
                  <a:lnTo>
                    <a:pt x="64" y="119"/>
                  </a:lnTo>
                  <a:lnTo>
                    <a:pt x="54" y="122"/>
                  </a:lnTo>
                  <a:lnTo>
                    <a:pt x="37" y="1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" name="Freeform 35"/>
            <p:cNvSpPr>
              <a:spLocks/>
            </p:cNvSpPr>
            <p:nvPr/>
          </p:nvSpPr>
          <p:spPr bwMode="auto">
            <a:xfrm>
              <a:off x="7288479" y="3628249"/>
              <a:ext cx="43177" cy="86354"/>
            </a:xfrm>
            <a:custGeom>
              <a:avLst/>
              <a:gdLst>
                <a:gd name="T0" fmla="*/ 15 w 30"/>
                <a:gd name="T1" fmla="*/ 0 h 60"/>
                <a:gd name="T2" fmla="*/ 2 w 30"/>
                <a:gd name="T3" fmla="*/ 15 h 60"/>
                <a:gd name="T4" fmla="*/ 0 w 30"/>
                <a:gd name="T5" fmla="*/ 40 h 60"/>
                <a:gd name="T6" fmla="*/ 17 w 30"/>
                <a:gd name="T7" fmla="*/ 60 h 60"/>
                <a:gd name="T8" fmla="*/ 30 w 30"/>
                <a:gd name="T9" fmla="*/ 30 h 60"/>
                <a:gd name="T10" fmla="*/ 15 w 30"/>
                <a:gd name="T11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60">
                  <a:moveTo>
                    <a:pt x="15" y="0"/>
                  </a:moveTo>
                  <a:lnTo>
                    <a:pt x="2" y="15"/>
                  </a:lnTo>
                  <a:lnTo>
                    <a:pt x="0" y="40"/>
                  </a:lnTo>
                  <a:lnTo>
                    <a:pt x="17" y="60"/>
                  </a:lnTo>
                  <a:lnTo>
                    <a:pt x="30" y="30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1" name="Freeform 36"/>
            <p:cNvSpPr>
              <a:spLocks/>
            </p:cNvSpPr>
            <p:nvPr/>
          </p:nvSpPr>
          <p:spPr bwMode="auto">
            <a:xfrm>
              <a:off x="6268061" y="3478568"/>
              <a:ext cx="215885" cy="110822"/>
            </a:xfrm>
            <a:custGeom>
              <a:avLst/>
              <a:gdLst>
                <a:gd name="T0" fmla="*/ 0 w 150"/>
                <a:gd name="T1" fmla="*/ 0 h 77"/>
                <a:gd name="T2" fmla="*/ 20 w 150"/>
                <a:gd name="T3" fmla="*/ 0 h 77"/>
                <a:gd name="T4" fmla="*/ 35 w 150"/>
                <a:gd name="T5" fmla="*/ 15 h 77"/>
                <a:gd name="T6" fmla="*/ 55 w 150"/>
                <a:gd name="T7" fmla="*/ 25 h 77"/>
                <a:gd name="T8" fmla="*/ 60 w 150"/>
                <a:gd name="T9" fmla="*/ 13 h 77"/>
                <a:gd name="T10" fmla="*/ 63 w 150"/>
                <a:gd name="T11" fmla="*/ 32 h 77"/>
                <a:gd name="T12" fmla="*/ 75 w 150"/>
                <a:gd name="T13" fmla="*/ 40 h 77"/>
                <a:gd name="T14" fmla="*/ 92 w 150"/>
                <a:gd name="T15" fmla="*/ 50 h 77"/>
                <a:gd name="T16" fmla="*/ 132 w 150"/>
                <a:gd name="T17" fmla="*/ 52 h 77"/>
                <a:gd name="T18" fmla="*/ 150 w 150"/>
                <a:gd name="T19" fmla="*/ 57 h 77"/>
                <a:gd name="T20" fmla="*/ 140 w 150"/>
                <a:gd name="T21" fmla="*/ 75 h 77"/>
                <a:gd name="T22" fmla="*/ 122 w 150"/>
                <a:gd name="T23" fmla="*/ 75 h 77"/>
                <a:gd name="T24" fmla="*/ 105 w 150"/>
                <a:gd name="T25" fmla="*/ 77 h 77"/>
                <a:gd name="T26" fmla="*/ 87 w 150"/>
                <a:gd name="T27" fmla="*/ 67 h 77"/>
                <a:gd name="T28" fmla="*/ 68 w 150"/>
                <a:gd name="T29" fmla="*/ 65 h 77"/>
                <a:gd name="T30" fmla="*/ 40 w 150"/>
                <a:gd name="T31" fmla="*/ 52 h 77"/>
                <a:gd name="T32" fmla="*/ 18 w 150"/>
                <a:gd name="T33" fmla="*/ 47 h 77"/>
                <a:gd name="T34" fmla="*/ 3 w 150"/>
                <a:gd name="T35" fmla="*/ 30 h 77"/>
                <a:gd name="T36" fmla="*/ 0 w 150"/>
                <a:gd name="T37" fmla="*/ 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0" h="77">
                  <a:moveTo>
                    <a:pt x="0" y="0"/>
                  </a:moveTo>
                  <a:lnTo>
                    <a:pt x="20" y="0"/>
                  </a:lnTo>
                  <a:lnTo>
                    <a:pt x="35" y="15"/>
                  </a:lnTo>
                  <a:lnTo>
                    <a:pt x="55" y="25"/>
                  </a:lnTo>
                  <a:lnTo>
                    <a:pt x="60" y="13"/>
                  </a:lnTo>
                  <a:lnTo>
                    <a:pt x="63" y="32"/>
                  </a:lnTo>
                  <a:lnTo>
                    <a:pt x="75" y="40"/>
                  </a:lnTo>
                  <a:lnTo>
                    <a:pt x="92" y="50"/>
                  </a:lnTo>
                  <a:lnTo>
                    <a:pt x="132" y="52"/>
                  </a:lnTo>
                  <a:lnTo>
                    <a:pt x="150" y="57"/>
                  </a:lnTo>
                  <a:lnTo>
                    <a:pt x="140" y="75"/>
                  </a:lnTo>
                  <a:lnTo>
                    <a:pt x="122" y="75"/>
                  </a:lnTo>
                  <a:lnTo>
                    <a:pt x="105" y="77"/>
                  </a:lnTo>
                  <a:lnTo>
                    <a:pt x="87" y="67"/>
                  </a:lnTo>
                  <a:lnTo>
                    <a:pt x="68" y="65"/>
                  </a:lnTo>
                  <a:lnTo>
                    <a:pt x="40" y="52"/>
                  </a:lnTo>
                  <a:lnTo>
                    <a:pt x="18" y="47"/>
                  </a:lnTo>
                  <a:lnTo>
                    <a:pt x="3" y="3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2" name="Freeform 37"/>
            <p:cNvSpPr>
              <a:spLocks/>
            </p:cNvSpPr>
            <p:nvPr/>
          </p:nvSpPr>
          <p:spPr bwMode="auto">
            <a:xfrm>
              <a:off x="6737252" y="3747706"/>
              <a:ext cx="200054" cy="349734"/>
            </a:xfrm>
            <a:custGeom>
              <a:avLst/>
              <a:gdLst>
                <a:gd name="T0" fmla="*/ 18 w 139"/>
                <a:gd name="T1" fmla="*/ 218 h 243"/>
                <a:gd name="T2" fmla="*/ 25 w 139"/>
                <a:gd name="T3" fmla="*/ 206 h 243"/>
                <a:gd name="T4" fmla="*/ 37 w 139"/>
                <a:gd name="T5" fmla="*/ 179 h 243"/>
                <a:gd name="T6" fmla="*/ 22 w 139"/>
                <a:gd name="T7" fmla="*/ 166 h 243"/>
                <a:gd name="T8" fmla="*/ 15 w 139"/>
                <a:gd name="T9" fmla="*/ 144 h 243"/>
                <a:gd name="T10" fmla="*/ 15 w 139"/>
                <a:gd name="T11" fmla="*/ 129 h 243"/>
                <a:gd name="T12" fmla="*/ 20 w 139"/>
                <a:gd name="T13" fmla="*/ 96 h 243"/>
                <a:gd name="T14" fmla="*/ 5 w 139"/>
                <a:gd name="T15" fmla="*/ 79 h 243"/>
                <a:gd name="T16" fmla="*/ 0 w 139"/>
                <a:gd name="T17" fmla="*/ 67 h 243"/>
                <a:gd name="T18" fmla="*/ 3 w 139"/>
                <a:gd name="T19" fmla="*/ 34 h 243"/>
                <a:gd name="T20" fmla="*/ 20 w 139"/>
                <a:gd name="T21" fmla="*/ 27 h 243"/>
                <a:gd name="T22" fmla="*/ 30 w 139"/>
                <a:gd name="T23" fmla="*/ 17 h 243"/>
                <a:gd name="T24" fmla="*/ 40 w 139"/>
                <a:gd name="T25" fmla="*/ 0 h 243"/>
                <a:gd name="T26" fmla="*/ 42 w 139"/>
                <a:gd name="T27" fmla="*/ 14 h 243"/>
                <a:gd name="T28" fmla="*/ 47 w 139"/>
                <a:gd name="T29" fmla="*/ 34 h 243"/>
                <a:gd name="T30" fmla="*/ 55 w 139"/>
                <a:gd name="T31" fmla="*/ 42 h 243"/>
                <a:gd name="T32" fmla="*/ 67 w 139"/>
                <a:gd name="T33" fmla="*/ 47 h 243"/>
                <a:gd name="T34" fmla="*/ 87 w 139"/>
                <a:gd name="T35" fmla="*/ 72 h 243"/>
                <a:gd name="T36" fmla="*/ 100 w 139"/>
                <a:gd name="T37" fmla="*/ 59 h 243"/>
                <a:gd name="T38" fmla="*/ 114 w 139"/>
                <a:gd name="T39" fmla="*/ 74 h 243"/>
                <a:gd name="T40" fmla="*/ 124 w 139"/>
                <a:gd name="T41" fmla="*/ 99 h 243"/>
                <a:gd name="T42" fmla="*/ 129 w 139"/>
                <a:gd name="T43" fmla="*/ 111 h 243"/>
                <a:gd name="T44" fmla="*/ 139 w 139"/>
                <a:gd name="T45" fmla="*/ 114 h 243"/>
                <a:gd name="T46" fmla="*/ 139 w 139"/>
                <a:gd name="T47" fmla="*/ 144 h 243"/>
                <a:gd name="T48" fmla="*/ 119 w 139"/>
                <a:gd name="T49" fmla="*/ 146 h 243"/>
                <a:gd name="T50" fmla="*/ 102 w 139"/>
                <a:gd name="T51" fmla="*/ 136 h 243"/>
                <a:gd name="T52" fmla="*/ 87 w 139"/>
                <a:gd name="T53" fmla="*/ 151 h 243"/>
                <a:gd name="T54" fmla="*/ 80 w 139"/>
                <a:gd name="T55" fmla="*/ 174 h 243"/>
                <a:gd name="T56" fmla="*/ 60 w 139"/>
                <a:gd name="T57" fmla="*/ 171 h 243"/>
                <a:gd name="T58" fmla="*/ 50 w 139"/>
                <a:gd name="T59" fmla="*/ 208 h 243"/>
                <a:gd name="T60" fmla="*/ 60 w 139"/>
                <a:gd name="T61" fmla="*/ 226 h 243"/>
                <a:gd name="T62" fmla="*/ 45 w 139"/>
                <a:gd name="T63" fmla="*/ 243 h 243"/>
                <a:gd name="T64" fmla="*/ 30 w 139"/>
                <a:gd name="T65" fmla="*/ 233 h 243"/>
                <a:gd name="T66" fmla="*/ 18 w 139"/>
                <a:gd name="T67" fmla="*/ 218 h 2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39" h="243">
                  <a:moveTo>
                    <a:pt x="18" y="218"/>
                  </a:moveTo>
                  <a:lnTo>
                    <a:pt x="25" y="206"/>
                  </a:lnTo>
                  <a:lnTo>
                    <a:pt x="37" y="179"/>
                  </a:lnTo>
                  <a:lnTo>
                    <a:pt x="22" y="166"/>
                  </a:lnTo>
                  <a:lnTo>
                    <a:pt x="15" y="144"/>
                  </a:lnTo>
                  <a:lnTo>
                    <a:pt x="15" y="129"/>
                  </a:lnTo>
                  <a:lnTo>
                    <a:pt x="20" y="96"/>
                  </a:lnTo>
                  <a:lnTo>
                    <a:pt x="5" y="79"/>
                  </a:lnTo>
                  <a:lnTo>
                    <a:pt x="0" y="67"/>
                  </a:lnTo>
                  <a:lnTo>
                    <a:pt x="3" y="34"/>
                  </a:lnTo>
                  <a:lnTo>
                    <a:pt x="20" y="27"/>
                  </a:lnTo>
                  <a:lnTo>
                    <a:pt x="30" y="17"/>
                  </a:lnTo>
                  <a:lnTo>
                    <a:pt x="40" y="0"/>
                  </a:lnTo>
                  <a:lnTo>
                    <a:pt x="42" y="14"/>
                  </a:lnTo>
                  <a:lnTo>
                    <a:pt x="47" y="34"/>
                  </a:lnTo>
                  <a:lnTo>
                    <a:pt x="55" y="42"/>
                  </a:lnTo>
                  <a:lnTo>
                    <a:pt x="67" y="47"/>
                  </a:lnTo>
                  <a:lnTo>
                    <a:pt x="87" y="72"/>
                  </a:lnTo>
                  <a:lnTo>
                    <a:pt x="100" y="59"/>
                  </a:lnTo>
                  <a:lnTo>
                    <a:pt x="114" y="74"/>
                  </a:lnTo>
                  <a:lnTo>
                    <a:pt x="124" y="99"/>
                  </a:lnTo>
                  <a:lnTo>
                    <a:pt x="129" y="111"/>
                  </a:lnTo>
                  <a:lnTo>
                    <a:pt x="139" y="114"/>
                  </a:lnTo>
                  <a:lnTo>
                    <a:pt x="139" y="144"/>
                  </a:lnTo>
                  <a:lnTo>
                    <a:pt x="119" y="146"/>
                  </a:lnTo>
                  <a:lnTo>
                    <a:pt x="102" y="136"/>
                  </a:lnTo>
                  <a:lnTo>
                    <a:pt x="87" y="151"/>
                  </a:lnTo>
                  <a:lnTo>
                    <a:pt x="80" y="174"/>
                  </a:lnTo>
                  <a:lnTo>
                    <a:pt x="60" y="171"/>
                  </a:lnTo>
                  <a:lnTo>
                    <a:pt x="50" y="208"/>
                  </a:lnTo>
                  <a:lnTo>
                    <a:pt x="60" y="226"/>
                  </a:lnTo>
                  <a:lnTo>
                    <a:pt x="45" y="243"/>
                  </a:lnTo>
                  <a:lnTo>
                    <a:pt x="30" y="233"/>
                  </a:lnTo>
                  <a:lnTo>
                    <a:pt x="18" y="2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3" name="Freeform 38"/>
            <p:cNvSpPr>
              <a:spLocks/>
            </p:cNvSpPr>
            <p:nvPr/>
          </p:nvSpPr>
          <p:spPr bwMode="auto">
            <a:xfrm>
              <a:off x="5335436" y="2050847"/>
              <a:ext cx="38860" cy="43177"/>
            </a:xfrm>
            <a:custGeom>
              <a:avLst/>
              <a:gdLst>
                <a:gd name="T0" fmla="*/ 12 w 27"/>
                <a:gd name="T1" fmla="*/ 0 h 30"/>
                <a:gd name="T2" fmla="*/ 0 w 27"/>
                <a:gd name="T3" fmla="*/ 18 h 30"/>
                <a:gd name="T4" fmla="*/ 5 w 27"/>
                <a:gd name="T5" fmla="*/ 30 h 30"/>
                <a:gd name="T6" fmla="*/ 15 w 27"/>
                <a:gd name="T7" fmla="*/ 28 h 30"/>
                <a:gd name="T8" fmla="*/ 27 w 27"/>
                <a:gd name="T9" fmla="*/ 13 h 30"/>
                <a:gd name="T10" fmla="*/ 12 w 27"/>
                <a:gd name="T11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7" h="30">
                  <a:moveTo>
                    <a:pt x="12" y="0"/>
                  </a:moveTo>
                  <a:lnTo>
                    <a:pt x="0" y="18"/>
                  </a:lnTo>
                  <a:lnTo>
                    <a:pt x="5" y="30"/>
                  </a:lnTo>
                  <a:lnTo>
                    <a:pt x="15" y="28"/>
                  </a:lnTo>
                  <a:lnTo>
                    <a:pt x="27" y="13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4" name="Freeform 39"/>
            <p:cNvSpPr>
              <a:spLocks/>
            </p:cNvSpPr>
            <p:nvPr/>
          </p:nvSpPr>
          <p:spPr bwMode="auto">
            <a:xfrm>
              <a:off x="5531172" y="2014866"/>
              <a:ext cx="57569" cy="25906"/>
            </a:xfrm>
            <a:custGeom>
              <a:avLst/>
              <a:gdLst>
                <a:gd name="T0" fmla="*/ 35 w 40"/>
                <a:gd name="T1" fmla="*/ 5 h 18"/>
                <a:gd name="T2" fmla="*/ 18 w 40"/>
                <a:gd name="T3" fmla="*/ 0 h 18"/>
                <a:gd name="T4" fmla="*/ 0 w 40"/>
                <a:gd name="T5" fmla="*/ 15 h 18"/>
                <a:gd name="T6" fmla="*/ 13 w 40"/>
                <a:gd name="T7" fmla="*/ 15 h 18"/>
                <a:gd name="T8" fmla="*/ 40 w 40"/>
                <a:gd name="T9" fmla="*/ 18 h 18"/>
                <a:gd name="T10" fmla="*/ 35 w 40"/>
                <a:gd name="T11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8">
                  <a:moveTo>
                    <a:pt x="35" y="5"/>
                  </a:moveTo>
                  <a:lnTo>
                    <a:pt x="18" y="0"/>
                  </a:lnTo>
                  <a:lnTo>
                    <a:pt x="0" y="15"/>
                  </a:lnTo>
                  <a:lnTo>
                    <a:pt x="13" y="15"/>
                  </a:lnTo>
                  <a:lnTo>
                    <a:pt x="40" y="18"/>
                  </a:lnTo>
                  <a:lnTo>
                    <a:pt x="3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5" name="Freeform 40"/>
            <p:cNvSpPr>
              <a:spLocks/>
            </p:cNvSpPr>
            <p:nvPr/>
          </p:nvSpPr>
          <p:spPr bwMode="auto">
            <a:xfrm>
              <a:off x="5405959" y="1722701"/>
              <a:ext cx="341098" cy="292165"/>
            </a:xfrm>
            <a:custGeom>
              <a:avLst/>
              <a:gdLst>
                <a:gd name="T0" fmla="*/ 58 w 237"/>
                <a:gd name="T1" fmla="*/ 116 h 203"/>
                <a:gd name="T2" fmla="*/ 72 w 237"/>
                <a:gd name="T3" fmla="*/ 104 h 203"/>
                <a:gd name="T4" fmla="*/ 77 w 237"/>
                <a:gd name="T5" fmla="*/ 97 h 203"/>
                <a:gd name="T6" fmla="*/ 100 w 237"/>
                <a:gd name="T7" fmla="*/ 79 h 203"/>
                <a:gd name="T8" fmla="*/ 125 w 237"/>
                <a:gd name="T9" fmla="*/ 64 h 203"/>
                <a:gd name="T10" fmla="*/ 149 w 237"/>
                <a:gd name="T11" fmla="*/ 44 h 203"/>
                <a:gd name="T12" fmla="*/ 167 w 237"/>
                <a:gd name="T13" fmla="*/ 39 h 203"/>
                <a:gd name="T14" fmla="*/ 202 w 237"/>
                <a:gd name="T15" fmla="*/ 27 h 203"/>
                <a:gd name="T16" fmla="*/ 227 w 237"/>
                <a:gd name="T17" fmla="*/ 19 h 203"/>
                <a:gd name="T18" fmla="*/ 237 w 237"/>
                <a:gd name="T19" fmla="*/ 12 h 203"/>
                <a:gd name="T20" fmla="*/ 229 w 237"/>
                <a:gd name="T21" fmla="*/ 0 h 203"/>
                <a:gd name="T22" fmla="*/ 199 w 237"/>
                <a:gd name="T23" fmla="*/ 0 h 203"/>
                <a:gd name="T24" fmla="*/ 179 w 237"/>
                <a:gd name="T25" fmla="*/ 15 h 203"/>
                <a:gd name="T26" fmla="*/ 149 w 237"/>
                <a:gd name="T27" fmla="*/ 22 h 203"/>
                <a:gd name="T28" fmla="*/ 117 w 237"/>
                <a:gd name="T29" fmla="*/ 24 h 203"/>
                <a:gd name="T30" fmla="*/ 100 w 237"/>
                <a:gd name="T31" fmla="*/ 39 h 203"/>
                <a:gd name="T32" fmla="*/ 80 w 237"/>
                <a:gd name="T33" fmla="*/ 39 h 203"/>
                <a:gd name="T34" fmla="*/ 70 w 237"/>
                <a:gd name="T35" fmla="*/ 54 h 203"/>
                <a:gd name="T36" fmla="*/ 40 w 237"/>
                <a:gd name="T37" fmla="*/ 59 h 203"/>
                <a:gd name="T38" fmla="*/ 35 w 237"/>
                <a:gd name="T39" fmla="*/ 82 h 203"/>
                <a:gd name="T40" fmla="*/ 33 w 237"/>
                <a:gd name="T41" fmla="*/ 94 h 203"/>
                <a:gd name="T42" fmla="*/ 20 w 237"/>
                <a:gd name="T43" fmla="*/ 94 h 203"/>
                <a:gd name="T44" fmla="*/ 20 w 237"/>
                <a:gd name="T45" fmla="*/ 97 h 203"/>
                <a:gd name="T46" fmla="*/ 23 w 237"/>
                <a:gd name="T47" fmla="*/ 104 h 203"/>
                <a:gd name="T48" fmla="*/ 18 w 237"/>
                <a:gd name="T49" fmla="*/ 111 h 203"/>
                <a:gd name="T50" fmla="*/ 8 w 237"/>
                <a:gd name="T51" fmla="*/ 119 h 203"/>
                <a:gd name="T52" fmla="*/ 3 w 237"/>
                <a:gd name="T53" fmla="*/ 139 h 203"/>
                <a:gd name="T54" fmla="*/ 0 w 237"/>
                <a:gd name="T55" fmla="*/ 164 h 203"/>
                <a:gd name="T56" fmla="*/ 15 w 237"/>
                <a:gd name="T57" fmla="*/ 171 h 203"/>
                <a:gd name="T58" fmla="*/ 30 w 237"/>
                <a:gd name="T59" fmla="*/ 201 h 203"/>
                <a:gd name="T60" fmla="*/ 53 w 237"/>
                <a:gd name="T61" fmla="*/ 203 h 203"/>
                <a:gd name="T62" fmla="*/ 82 w 237"/>
                <a:gd name="T63" fmla="*/ 201 h 203"/>
                <a:gd name="T64" fmla="*/ 85 w 237"/>
                <a:gd name="T65" fmla="*/ 189 h 203"/>
                <a:gd name="T66" fmla="*/ 67 w 237"/>
                <a:gd name="T67" fmla="*/ 179 h 203"/>
                <a:gd name="T68" fmla="*/ 55 w 237"/>
                <a:gd name="T69" fmla="*/ 166 h 203"/>
                <a:gd name="T70" fmla="*/ 55 w 237"/>
                <a:gd name="T71" fmla="*/ 141 h 203"/>
                <a:gd name="T72" fmla="*/ 58 w 237"/>
                <a:gd name="T73" fmla="*/ 119 h 203"/>
                <a:gd name="T74" fmla="*/ 58 w 237"/>
                <a:gd name="T75" fmla="*/ 116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37" h="203">
                  <a:moveTo>
                    <a:pt x="58" y="116"/>
                  </a:moveTo>
                  <a:lnTo>
                    <a:pt x="72" y="104"/>
                  </a:lnTo>
                  <a:lnTo>
                    <a:pt x="77" y="97"/>
                  </a:lnTo>
                  <a:lnTo>
                    <a:pt x="100" y="79"/>
                  </a:lnTo>
                  <a:lnTo>
                    <a:pt x="125" y="64"/>
                  </a:lnTo>
                  <a:lnTo>
                    <a:pt x="149" y="44"/>
                  </a:lnTo>
                  <a:lnTo>
                    <a:pt x="167" y="39"/>
                  </a:lnTo>
                  <a:lnTo>
                    <a:pt x="202" y="27"/>
                  </a:lnTo>
                  <a:lnTo>
                    <a:pt x="227" y="19"/>
                  </a:lnTo>
                  <a:lnTo>
                    <a:pt x="237" y="12"/>
                  </a:lnTo>
                  <a:lnTo>
                    <a:pt x="229" y="0"/>
                  </a:lnTo>
                  <a:lnTo>
                    <a:pt x="199" y="0"/>
                  </a:lnTo>
                  <a:lnTo>
                    <a:pt x="179" y="15"/>
                  </a:lnTo>
                  <a:lnTo>
                    <a:pt x="149" y="22"/>
                  </a:lnTo>
                  <a:lnTo>
                    <a:pt x="117" y="24"/>
                  </a:lnTo>
                  <a:lnTo>
                    <a:pt x="100" y="39"/>
                  </a:lnTo>
                  <a:lnTo>
                    <a:pt x="80" y="39"/>
                  </a:lnTo>
                  <a:lnTo>
                    <a:pt x="70" y="54"/>
                  </a:lnTo>
                  <a:lnTo>
                    <a:pt x="40" y="59"/>
                  </a:lnTo>
                  <a:lnTo>
                    <a:pt x="35" y="82"/>
                  </a:lnTo>
                  <a:lnTo>
                    <a:pt x="33" y="94"/>
                  </a:lnTo>
                  <a:lnTo>
                    <a:pt x="20" y="94"/>
                  </a:lnTo>
                  <a:lnTo>
                    <a:pt x="20" y="97"/>
                  </a:lnTo>
                  <a:lnTo>
                    <a:pt x="23" y="104"/>
                  </a:lnTo>
                  <a:lnTo>
                    <a:pt x="18" y="111"/>
                  </a:lnTo>
                  <a:lnTo>
                    <a:pt x="8" y="119"/>
                  </a:lnTo>
                  <a:lnTo>
                    <a:pt x="3" y="139"/>
                  </a:lnTo>
                  <a:lnTo>
                    <a:pt x="0" y="164"/>
                  </a:lnTo>
                  <a:lnTo>
                    <a:pt x="15" y="171"/>
                  </a:lnTo>
                  <a:lnTo>
                    <a:pt x="30" y="201"/>
                  </a:lnTo>
                  <a:lnTo>
                    <a:pt x="53" y="203"/>
                  </a:lnTo>
                  <a:lnTo>
                    <a:pt x="82" y="201"/>
                  </a:lnTo>
                  <a:lnTo>
                    <a:pt x="85" y="189"/>
                  </a:lnTo>
                  <a:lnTo>
                    <a:pt x="67" y="179"/>
                  </a:lnTo>
                  <a:lnTo>
                    <a:pt x="55" y="166"/>
                  </a:lnTo>
                  <a:lnTo>
                    <a:pt x="55" y="141"/>
                  </a:lnTo>
                  <a:lnTo>
                    <a:pt x="58" y="119"/>
                  </a:lnTo>
                  <a:lnTo>
                    <a:pt x="58" y="11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6" name="Freeform 41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2 w 12"/>
                <a:gd name="T19" fmla="*/ 20 h 20"/>
                <a:gd name="T20" fmla="*/ 5 w 12"/>
                <a:gd name="T21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2" y="20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7" name="Freeform 42"/>
            <p:cNvSpPr>
              <a:spLocks/>
            </p:cNvSpPr>
            <p:nvPr/>
          </p:nvSpPr>
          <p:spPr bwMode="auto">
            <a:xfrm>
              <a:off x="5793113" y="1826326"/>
              <a:ext cx="17271" cy="28785"/>
            </a:xfrm>
            <a:custGeom>
              <a:avLst/>
              <a:gdLst>
                <a:gd name="T0" fmla="*/ 5 w 12"/>
                <a:gd name="T1" fmla="*/ 20 h 20"/>
                <a:gd name="T2" fmla="*/ 10 w 12"/>
                <a:gd name="T3" fmla="*/ 17 h 20"/>
                <a:gd name="T4" fmla="*/ 12 w 12"/>
                <a:gd name="T5" fmla="*/ 10 h 20"/>
                <a:gd name="T6" fmla="*/ 10 w 12"/>
                <a:gd name="T7" fmla="*/ 5 h 20"/>
                <a:gd name="T8" fmla="*/ 7 w 12"/>
                <a:gd name="T9" fmla="*/ 2 h 20"/>
                <a:gd name="T10" fmla="*/ 5 w 12"/>
                <a:gd name="T11" fmla="*/ 0 h 20"/>
                <a:gd name="T12" fmla="*/ 2 w 12"/>
                <a:gd name="T13" fmla="*/ 5 h 20"/>
                <a:gd name="T14" fmla="*/ 0 w 12"/>
                <a:gd name="T15" fmla="*/ 10 h 20"/>
                <a:gd name="T16" fmla="*/ 2 w 12"/>
                <a:gd name="T17" fmla="*/ 17 h 20"/>
                <a:gd name="T18" fmla="*/ 5 w 12"/>
                <a:gd name="T19" fmla="*/ 2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20">
                  <a:moveTo>
                    <a:pt x="5" y="20"/>
                  </a:moveTo>
                  <a:lnTo>
                    <a:pt x="10" y="17"/>
                  </a:lnTo>
                  <a:lnTo>
                    <a:pt x="12" y="10"/>
                  </a:lnTo>
                  <a:lnTo>
                    <a:pt x="10" y="5"/>
                  </a:lnTo>
                  <a:lnTo>
                    <a:pt x="7" y="2"/>
                  </a:lnTo>
                  <a:lnTo>
                    <a:pt x="5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2" y="17"/>
                  </a:lnTo>
                  <a:lnTo>
                    <a:pt x="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Freeform 43"/>
            <p:cNvSpPr>
              <a:spLocks/>
            </p:cNvSpPr>
            <p:nvPr/>
          </p:nvSpPr>
          <p:spPr bwMode="auto">
            <a:xfrm>
              <a:off x="6175950" y="1489545"/>
              <a:ext cx="118017" cy="89233"/>
            </a:xfrm>
            <a:custGeom>
              <a:avLst/>
              <a:gdLst>
                <a:gd name="T0" fmla="*/ 42 w 82"/>
                <a:gd name="T1" fmla="*/ 7 h 62"/>
                <a:gd name="T2" fmla="*/ 27 w 82"/>
                <a:gd name="T3" fmla="*/ 22 h 62"/>
                <a:gd name="T4" fmla="*/ 15 w 82"/>
                <a:gd name="T5" fmla="*/ 22 h 62"/>
                <a:gd name="T6" fmla="*/ 0 w 82"/>
                <a:gd name="T7" fmla="*/ 32 h 62"/>
                <a:gd name="T8" fmla="*/ 12 w 82"/>
                <a:gd name="T9" fmla="*/ 50 h 62"/>
                <a:gd name="T10" fmla="*/ 32 w 82"/>
                <a:gd name="T11" fmla="*/ 62 h 62"/>
                <a:gd name="T12" fmla="*/ 59 w 82"/>
                <a:gd name="T13" fmla="*/ 50 h 62"/>
                <a:gd name="T14" fmla="*/ 82 w 82"/>
                <a:gd name="T15" fmla="*/ 40 h 62"/>
                <a:gd name="T16" fmla="*/ 77 w 82"/>
                <a:gd name="T17" fmla="*/ 12 h 62"/>
                <a:gd name="T18" fmla="*/ 55 w 82"/>
                <a:gd name="T19" fmla="*/ 0 h 62"/>
                <a:gd name="T20" fmla="*/ 42 w 82"/>
                <a:gd name="T21" fmla="*/ 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2">
                  <a:moveTo>
                    <a:pt x="42" y="7"/>
                  </a:moveTo>
                  <a:lnTo>
                    <a:pt x="27" y="22"/>
                  </a:lnTo>
                  <a:lnTo>
                    <a:pt x="15" y="22"/>
                  </a:lnTo>
                  <a:lnTo>
                    <a:pt x="0" y="32"/>
                  </a:lnTo>
                  <a:lnTo>
                    <a:pt x="12" y="50"/>
                  </a:lnTo>
                  <a:lnTo>
                    <a:pt x="32" y="62"/>
                  </a:lnTo>
                  <a:lnTo>
                    <a:pt x="59" y="50"/>
                  </a:lnTo>
                  <a:lnTo>
                    <a:pt x="82" y="40"/>
                  </a:lnTo>
                  <a:lnTo>
                    <a:pt x="77" y="12"/>
                  </a:lnTo>
                  <a:lnTo>
                    <a:pt x="55" y="0"/>
                  </a:lnTo>
                  <a:lnTo>
                    <a:pt x="4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9" name="Freeform 44"/>
            <p:cNvSpPr>
              <a:spLocks/>
            </p:cNvSpPr>
            <p:nvPr/>
          </p:nvSpPr>
          <p:spPr bwMode="auto">
            <a:xfrm>
              <a:off x="6257987" y="1554311"/>
              <a:ext cx="115139" cy="77719"/>
            </a:xfrm>
            <a:custGeom>
              <a:avLst/>
              <a:gdLst>
                <a:gd name="T0" fmla="*/ 20 w 80"/>
                <a:gd name="T1" fmla="*/ 20 h 54"/>
                <a:gd name="T2" fmla="*/ 30 w 80"/>
                <a:gd name="T3" fmla="*/ 5 h 54"/>
                <a:gd name="T4" fmla="*/ 45 w 80"/>
                <a:gd name="T5" fmla="*/ 0 h 54"/>
                <a:gd name="T6" fmla="*/ 57 w 80"/>
                <a:gd name="T7" fmla="*/ 5 h 54"/>
                <a:gd name="T8" fmla="*/ 70 w 80"/>
                <a:gd name="T9" fmla="*/ 22 h 54"/>
                <a:gd name="T10" fmla="*/ 70 w 80"/>
                <a:gd name="T11" fmla="*/ 35 h 54"/>
                <a:gd name="T12" fmla="*/ 80 w 80"/>
                <a:gd name="T13" fmla="*/ 32 h 54"/>
                <a:gd name="T14" fmla="*/ 80 w 80"/>
                <a:gd name="T15" fmla="*/ 45 h 54"/>
                <a:gd name="T16" fmla="*/ 52 w 80"/>
                <a:gd name="T17" fmla="*/ 54 h 54"/>
                <a:gd name="T18" fmla="*/ 25 w 80"/>
                <a:gd name="T19" fmla="*/ 42 h 54"/>
                <a:gd name="T20" fmla="*/ 0 w 80"/>
                <a:gd name="T21" fmla="*/ 32 h 54"/>
                <a:gd name="T22" fmla="*/ 5 w 80"/>
                <a:gd name="T23" fmla="*/ 22 h 54"/>
                <a:gd name="T24" fmla="*/ 20 w 80"/>
                <a:gd name="T25" fmla="*/ 2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0" h="54">
                  <a:moveTo>
                    <a:pt x="20" y="20"/>
                  </a:moveTo>
                  <a:lnTo>
                    <a:pt x="30" y="5"/>
                  </a:lnTo>
                  <a:lnTo>
                    <a:pt x="45" y="0"/>
                  </a:lnTo>
                  <a:lnTo>
                    <a:pt x="57" y="5"/>
                  </a:lnTo>
                  <a:lnTo>
                    <a:pt x="70" y="22"/>
                  </a:lnTo>
                  <a:lnTo>
                    <a:pt x="70" y="35"/>
                  </a:lnTo>
                  <a:lnTo>
                    <a:pt x="80" y="32"/>
                  </a:lnTo>
                  <a:lnTo>
                    <a:pt x="80" y="45"/>
                  </a:lnTo>
                  <a:lnTo>
                    <a:pt x="52" y="54"/>
                  </a:lnTo>
                  <a:lnTo>
                    <a:pt x="25" y="42"/>
                  </a:lnTo>
                  <a:lnTo>
                    <a:pt x="0" y="32"/>
                  </a:lnTo>
                  <a:lnTo>
                    <a:pt x="5" y="22"/>
                  </a:lnTo>
                  <a:lnTo>
                    <a:pt x="2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0" name="Freeform 45"/>
            <p:cNvSpPr>
              <a:spLocks/>
            </p:cNvSpPr>
            <p:nvPr/>
          </p:nvSpPr>
          <p:spPr bwMode="auto">
            <a:xfrm>
              <a:off x="6386078" y="1590291"/>
              <a:ext cx="93551" cy="70523"/>
            </a:xfrm>
            <a:custGeom>
              <a:avLst/>
              <a:gdLst>
                <a:gd name="T0" fmla="*/ 8 w 65"/>
                <a:gd name="T1" fmla="*/ 20 h 49"/>
                <a:gd name="T2" fmla="*/ 15 w 65"/>
                <a:gd name="T3" fmla="*/ 7 h 49"/>
                <a:gd name="T4" fmla="*/ 30 w 65"/>
                <a:gd name="T5" fmla="*/ 0 h 49"/>
                <a:gd name="T6" fmla="*/ 33 w 65"/>
                <a:gd name="T7" fmla="*/ 7 h 49"/>
                <a:gd name="T8" fmla="*/ 40 w 65"/>
                <a:gd name="T9" fmla="*/ 12 h 49"/>
                <a:gd name="T10" fmla="*/ 50 w 65"/>
                <a:gd name="T11" fmla="*/ 12 h 49"/>
                <a:gd name="T12" fmla="*/ 63 w 65"/>
                <a:gd name="T13" fmla="*/ 15 h 49"/>
                <a:gd name="T14" fmla="*/ 65 w 65"/>
                <a:gd name="T15" fmla="*/ 32 h 49"/>
                <a:gd name="T16" fmla="*/ 58 w 65"/>
                <a:gd name="T17" fmla="*/ 44 h 49"/>
                <a:gd name="T18" fmla="*/ 35 w 65"/>
                <a:gd name="T19" fmla="*/ 49 h 49"/>
                <a:gd name="T20" fmla="*/ 8 w 65"/>
                <a:gd name="T21" fmla="*/ 47 h 49"/>
                <a:gd name="T22" fmla="*/ 0 w 65"/>
                <a:gd name="T23" fmla="*/ 37 h 49"/>
                <a:gd name="T24" fmla="*/ 8 w 65"/>
                <a:gd name="T25" fmla="*/ 20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5" h="49">
                  <a:moveTo>
                    <a:pt x="8" y="20"/>
                  </a:moveTo>
                  <a:lnTo>
                    <a:pt x="15" y="7"/>
                  </a:lnTo>
                  <a:lnTo>
                    <a:pt x="30" y="0"/>
                  </a:lnTo>
                  <a:lnTo>
                    <a:pt x="33" y="7"/>
                  </a:lnTo>
                  <a:lnTo>
                    <a:pt x="40" y="12"/>
                  </a:lnTo>
                  <a:lnTo>
                    <a:pt x="50" y="12"/>
                  </a:lnTo>
                  <a:lnTo>
                    <a:pt x="63" y="15"/>
                  </a:lnTo>
                  <a:lnTo>
                    <a:pt x="65" y="32"/>
                  </a:lnTo>
                  <a:lnTo>
                    <a:pt x="58" y="44"/>
                  </a:lnTo>
                  <a:lnTo>
                    <a:pt x="35" y="49"/>
                  </a:lnTo>
                  <a:lnTo>
                    <a:pt x="8" y="47"/>
                  </a:lnTo>
                  <a:lnTo>
                    <a:pt x="0" y="37"/>
                  </a:lnTo>
                  <a:lnTo>
                    <a:pt x="8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1" name="Freeform 46"/>
            <p:cNvSpPr>
              <a:spLocks/>
            </p:cNvSpPr>
            <p:nvPr/>
          </p:nvSpPr>
          <p:spPr bwMode="auto">
            <a:xfrm>
              <a:off x="7220835" y="1750047"/>
              <a:ext cx="164073" cy="71962"/>
            </a:xfrm>
            <a:custGeom>
              <a:avLst/>
              <a:gdLst>
                <a:gd name="T0" fmla="*/ 62 w 114"/>
                <a:gd name="T1" fmla="*/ 5 h 50"/>
                <a:gd name="T2" fmla="*/ 59 w 114"/>
                <a:gd name="T3" fmla="*/ 18 h 50"/>
                <a:gd name="T4" fmla="*/ 39 w 114"/>
                <a:gd name="T5" fmla="*/ 18 h 50"/>
                <a:gd name="T6" fmla="*/ 32 w 114"/>
                <a:gd name="T7" fmla="*/ 10 h 50"/>
                <a:gd name="T8" fmla="*/ 15 w 114"/>
                <a:gd name="T9" fmla="*/ 0 h 50"/>
                <a:gd name="T10" fmla="*/ 0 w 114"/>
                <a:gd name="T11" fmla="*/ 10 h 50"/>
                <a:gd name="T12" fmla="*/ 0 w 114"/>
                <a:gd name="T13" fmla="*/ 30 h 50"/>
                <a:gd name="T14" fmla="*/ 22 w 114"/>
                <a:gd name="T15" fmla="*/ 48 h 50"/>
                <a:gd name="T16" fmla="*/ 52 w 114"/>
                <a:gd name="T17" fmla="*/ 50 h 50"/>
                <a:gd name="T18" fmla="*/ 64 w 114"/>
                <a:gd name="T19" fmla="*/ 40 h 50"/>
                <a:gd name="T20" fmla="*/ 82 w 114"/>
                <a:gd name="T21" fmla="*/ 48 h 50"/>
                <a:gd name="T22" fmla="*/ 107 w 114"/>
                <a:gd name="T23" fmla="*/ 45 h 50"/>
                <a:gd name="T24" fmla="*/ 114 w 114"/>
                <a:gd name="T25" fmla="*/ 35 h 50"/>
                <a:gd name="T26" fmla="*/ 97 w 114"/>
                <a:gd name="T27" fmla="*/ 28 h 50"/>
                <a:gd name="T28" fmla="*/ 87 w 114"/>
                <a:gd name="T29" fmla="*/ 10 h 50"/>
                <a:gd name="T30" fmla="*/ 69 w 114"/>
                <a:gd name="T31" fmla="*/ 0 h 50"/>
                <a:gd name="T32" fmla="*/ 62 w 114"/>
                <a:gd name="T33" fmla="*/ 5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14" h="50">
                  <a:moveTo>
                    <a:pt x="62" y="5"/>
                  </a:moveTo>
                  <a:lnTo>
                    <a:pt x="59" y="18"/>
                  </a:lnTo>
                  <a:lnTo>
                    <a:pt x="39" y="18"/>
                  </a:lnTo>
                  <a:lnTo>
                    <a:pt x="32" y="10"/>
                  </a:lnTo>
                  <a:lnTo>
                    <a:pt x="15" y="0"/>
                  </a:lnTo>
                  <a:lnTo>
                    <a:pt x="0" y="10"/>
                  </a:lnTo>
                  <a:lnTo>
                    <a:pt x="0" y="30"/>
                  </a:lnTo>
                  <a:lnTo>
                    <a:pt x="22" y="48"/>
                  </a:lnTo>
                  <a:lnTo>
                    <a:pt x="52" y="50"/>
                  </a:lnTo>
                  <a:lnTo>
                    <a:pt x="64" y="40"/>
                  </a:lnTo>
                  <a:lnTo>
                    <a:pt x="82" y="48"/>
                  </a:lnTo>
                  <a:lnTo>
                    <a:pt x="107" y="45"/>
                  </a:lnTo>
                  <a:lnTo>
                    <a:pt x="114" y="35"/>
                  </a:lnTo>
                  <a:lnTo>
                    <a:pt x="97" y="28"/>
                  </a:lnTo>
                  <a:lnTo>
                    <a:pt x="87" y="10"/>
                  </a:lnTo>
                  <a:lnTo>
                    <a:pt x="69" y="0"/>
                  </a:lnTo>
                  <a:lnTo>
                    <a:pt x="6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" name="Freeform 47"/>
            <p:cNvSpPr>
              <a:spLocks/>
            </p:cNvSpPr>
            <p:nvPr/>
          </p:nvSpPr>
          <p:spPr bwMode="auto">
            <a:xfrm>
              <a:off x="7423767" y="1775953"/>
              <a:ext cx="100746" cy="38859"/>
            </a:xfrm>
            <a:custGeom>
              <a:avLst/>
              <a:gdLst>
                <a:gd name="T0" fmla="*/ 3 w 70"/>
                <a:gd name="T1" fmla="*/ 0 h 27"/>
                <a:gd name="T2" fmla="*/ 13 w 70"/>
                <a:gd name="T3" fmla="*/ 7 h 27"/>
                <a:gd name="T4" fmla="*/ 38 w 70"/>
                <a:gd name="T5" fmla="*/ 7 h 27"/>
                <a:gd name="T6" fmla="*/ 68 w 70"/>
                <a:gd name="T7" fmla="*/ 7 h 27"/>
                <a:gd name="T8" fmla="*/ 70 w 70"/>
                <a:gd name="T9" fmla="*/ 25 h 27"/>
                <a:gd name="T10" fmla="*/ 33 w 70"/>
                <a:gd name="T11" fmla="*/ 27 h 27"/>
                <a:gd name="T12" fmla="*/ 13 w 70"/>
                <a:gd name="T13" fmla="*/ 20 h 27"/>
                <a:gd name="T14" fmla="*/ 0 w 70"/>
                <a:gd name="T15" fmla="*/ 7 h 27"/>
                <a:gd name="T16" fmla="*/ 3 w 70"/>
                <a:gd name="T17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0" h="27">
                  <a:moveTo>
                    <a:pt x="3" y="0"/>
                  </a:moveTo>
                  <a:lnTo>
                    <a:pt x="13" y="7"/>
                  </a:lnTo>
                  <a:lnTo>
                    <a:pt x="38" y="7"/>
                  </a:lnTo>
                  <a:lnTo>
                    <a:pt x="68" y="7"/>
                  </a:lnTo>
                  <a:lnTo>
                    <a:pt x="70" y="25"/>
                  </a:lnTo>
                  <a:lnTo>
                    <a:pt x="33" y="27"/>
                  </a:lnTo>
                  <a:lnTo>
                    <a:pt x="13" y="20"/>
                  </a:lnTo>
                  <a:lnTo>
                    <a:pt x="0" y="7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" name="Freeform 48"/>
            <p:cNvSpPr>
              <a:spLocks/>
            </p:cNvSpPr>
            <p:nvPr/>
          </p:nvSpPr>
          <p:spPr bwMode="auto">
            <a:xfrm>
              <a:off x="8232618" y="1954418"/>
              <a:ext cx="67644" cy="46056"/>
            </a:xfrm>
            <a:custGeom>
              <a:avLst/>
              <a:gdLst>
                <a:gd name="T0" fmla="*/ 18 w 47"/>
                <a:gd name="T1" fmla="*/ 3 h 32"/>
                <a:gd name="T2" fmla="*/ 3 w 47"/>
                <a:gd name="T3" fmla="*/ 15 h 32"/>
                <a:gd name="T4" fmla="*/ 0 w 47"/>
                <a:gd name="T5" fmla="*/ 32 h 32"/>
                <a:gd name="T6" fmla="*/ 25 w 47"/>
                <a:gd name="T7" fmla="*/ 30 h 32"/>
                <a:gd name="T8" fmla="*/ 43 w 47"/>
                <a:gd name="T9" fmla="*/ 28 h 32"/>
                <a:gd name="T10" fmla="*/ 47 w 47"/>
                <a:gd name="T11" fmla="*/ 10 h 32"/>
                <a:gd name="T12" fmla="*/ 33 w 47"/>
                <a:gd name="T13" fmla="*/ 0 h 32"/>
                <a:gd name="T14" fmla="*/ 18 w 47"/>
                <a:gd name="T15" fmla="*/ 3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2">
                  <a:moveTo>
                    <a:pt x="18" y="3"/>
                  </a:moveTo>
                  <a:lnTo>
                    <a:pt x="3" y="15"/>
                  </a:lnTo>
                  <a:lnTo>
                    <a:pt x="0" y="32"/>
                  </a:lnTo>
                  <a:lnTo>
                    <a:pt x="25" y="30"/>
                  </a:lnTo>
                  <a:lnTo>
                    <a:pt x="43" y="28"/>
                  </a:lnTo>
                  <a:lnTo>
                    <a:pt x="47" y="10"/>
                  </a:lnTo>
                  <a:lnTo>
                    <a:pt x="33" y="0"/>
                  </a:lnTo>
                  <a:lnTo>
                    <a:pt x="18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" name="Freeform 49"/>
            <p:cNvSpPr>
              <a:spLocks/>
            </p:cNvSpPr>
            <p:nvPr/>
          </p:nvSpPr>
          <p:spPr bwMode="auto">
            <a:xfrm>
              <a:off x="1953233" y="3872919"/>
              <a:ext cx="86354" cy="106503"/>
            </a:xfrm>
            <a:custGeom>
              <a:avLst/>
              <a:gdLst>
                <a:gd name="T0" fmla="*/ 0 w 60"/>
                <a:gd name="T1" fmla="*/ 59 h 74"/>
                <a:gd name="T2" fmla="*/ 8 w 60"/>
                <a:gd name="T3" fmla="*/ 37 h 74"/>
                <a:gd name="T4" fmla="*/ 23 w 60"/>
                <a:gd name="T5" fmla="*/ 32 h 74"/>
                <a:gd name="T6" fmla="*/ 25 w 60"/>
                <a:gd name="T7" fmla="*/ 12 h 74"/>
                <a:gd name="T8" fmla="*/ 53 w 60"/>
                <a:gd name="T9" fmla="*/ 0 h 74"/>
                <a:gd name="T10" fmla="*/ 53 w 60"/>
                <a:gd name="T11" fmla="*/ 22 h 74"/>
                <a:gd name="T12" fmla="*/ 53 w 60"/>
                <a:gd name="T13" fmla="*/ 39 h 74"/>
                <a:gd name="T14" fmla="*/ 60 w 60"/>
                <a:gd name="T15" fmla="*/ 42 h 74"/>
                <a:gd name="T16" fmla="*/ 58 w 60"/>
                <a:gd name="T17" fmla="*/ 57 h 74"/>
                <a:gd name="T18" fmla="*/ 45 w 60"/>
                <a:gd name="T19" fmla="*/ 57 h 74"/>
                <a:gd name="T20" fmla="*/ 43 w 60"/>
                <a:gd name="T21" fmla="*/ 74 h 74"/>
                <a:gd name="T22" fmla="*/ 18 w 60"/>
                <a:gd name="T23" fmla="*/ 74 h 74"/>
                <a:gd name="T24" fmla="*/ 0 w 60"/>
                <a:gd name="T25" fmla="*/ 59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60" h="74">
                  <a:moveTo>
                    <a:pt x="0" y="59"/>
                  </a:moveTo>
                  <a:lnTo>
                    <a:pt x="8" y="37"/>
                  </a:lnTo>
                  <a:lnTo>
                    <a:pt x="23" y="32"/>
                  </a:lnTo>
                  <a:lnTo>
                    <a:pt x="25" y="12"/>
                  </a:lnTo>
                  <a:lnTo>
                    <a:pt x="53" y="0"/>
                  </a:lnTo>
                  <a:lnTo>
                    <a:pt x="53" y="22"/>
                  </a:lnTo>
                  <a:lnTo>
                    <a:pt x="53" y="39"/>
                  </a:lnTo>
                  <a:lnTo>
                    <a:pt x="60" y="42"/>
                  </a:lnTo>
                  <a:lnTo>
                    <a:pt x="58" y="57"/>
                  </a:lnTo>
                  <a:lnTo>
                    <a:pt x="45" y="57"/>
                  </a:lnTo>
                  <a:lnTo>
                    <a:pt x="43" y="74"/>
                  </a:lnTo>
                  <a:lnTo>
                    <a:pt x="18" y="74"/>
                  </a:lnTo>
                  <a:lnTo>
                    <a:pt x="0" y="5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5" name="Freeform 50"/>
            <p:cNvSpPr>
              <a:spLocks/>
            </p:cNvSpPr>
            <p:nvPr/>
          </p:nvSpPr>
          <p:spPr bwMode="auto">
            <a:xfrm>
              <a:off x="2222371" y="4441417"/>
              <a:ext cx="325267" cy="482143"/>
            </a:xfrm>
            <a:custGeom>
              <a:avLst/>
              <a:gdLst>
                <a:gd name="T0" fmla="*/ 184 w 226"/>
                <a:gd name="T1" fmla="*/ 15 h 335"/>
                <a:gd name="T2" fmla="*/ 169 w 226"/>
                <a:gd name="T3" fmla="*/ 2 h 335"/>
                <a:gd name="T4" fmla="*/ 137 w 226"/>
                <a:gd name="T5" fmla="*/ 0 h 335"/>
                <a:gd name="T6" fmla="*/ 129 w 226"/>
                <a:gd name="T7" fmla="*/ 12 h 335"/>
                <a:gd name="T8" fmla="*/ 77 w 226"/>
                <a:gd name="T9" fmla="*/ 35 h 335"/>
                <a:gd name="T10" fmla="*/ 52 w 226"/>
                <a:gd name="T11" fmla="*/ 52 h 335"/>
                <a:gd name="T12" fmla="*/ 35 w 226"/>
                <a:gd name="T13" fmla="*/ 67 h 335"/>
                <a:gd name="T14" fmla="*/ 22 w 226"/>
                <a:gd name="T15" fmla="*/ 52 h 335"/>
                <a:gd name="T16" fmla="*/ 17 w 226"/>
                <a:gd name="T17" fmla="*/ 37 h 335"/>
                <a:gd name="T18" fmla="*/ 7 w 226"/>
                <a:gd name="T19" fmla="*/ 37 h 335"/>
                <a:gd name="T20" fmla="*/ 0 w 226"/>
                <a:gd name="T21" fmla="*/ 45 h 335"/>
                <a:gd name="T22" fmla="*/ 0 w 226"/>
                <a:gd name="T23" fmla="*/ 87 h 335"/>
                <a:gd name="T24" fmla="*/ 20 w 226"/>
                <a:gd name="T25" fmla="*/ 87 h 335"/>
                <a:gd name="T26" fmla="*/ 27 w 226"/>
                <a:gd name="T27" fmla="*/ 117 h 335"/>
                <a:gd name="T28" fmla="*/ 37 w 226"/>
                <a:gd name="T29" fmla="*/ 122 h 335"/>
                <a:gd name="T30" fmla="*/ 40 w 226"/>
                <a:gd name="T31" fmla="*/ 139 h 335"/>
                <a:gd name="T32" fmla="*/ 47 w 226"/>
                <a:gd name="T33" fmla="*/ 156 h 335"/>
                <a:gd name="T34" fmla="*/ 57 w 226"/>
                <a:gd name="T35" fmla="*/ 161 h 335"/>
                <a:gd name="T36" fmla="*/ 59 w 226"/>
                <a:gd name="T37" fmla="*/ 181 h 335"/>
                <a:gd name="T38" fmla="*/ 64 w 226"/>
                <a:gd name="T39" fmla="*/ 184 h 335"/>
                <a:gd name="T40" fmla="*/ 69 w 226"/>
                <a:gd name="T41" fmla="*/ 196 h 335"/>
                <a:gd name="T42" fmla="*/ 74 w 226"/>
                <a:gd name="T43" fmla="*/ 211 h 335"/>
                <a:gd name="T44" fmla="*/ 84 w 226"/>
                <a:gd name="T45" fmla="*/ 228 h 335"/>
                <a:gd name="T46" fmla="*/ 92 w 226"/>
                <a:gd name="T47" fmla="*/ 236 h 335"/>
                <a:gd name="T48" fmla="*/ 89 w 226"/>
                <a:gd name="T49" fmla="*/ 243 h 335"/>
                <a:gd name="T50" fmla="*/ 94 w 226"/>
                <a:gd name="T51" fmla="*/ 261 h 335"/>
                <a:gd name="T52" fmla="*/ 112 w 226"/>
                <a:gd name="T53" fmla="*/ 271 h 335"/>
                <a:gd name="T54" fmla="*/ 132 w 226"/>
                <a:gd name="T55" fmla="*/ 293 h 335"/>
                <a:gd name="T56" fmla="*/ 156 w 226"/>
                <a:gd name="T57" fmla="*/ 303 h 335"/>
                <a:gd name="T58" fmla="*/ 181 w 226"/>
                <a:gd name="T59" fmla="*/ 323 h 335"/>
                <a:gd name="T60" fmla="*/ 196 w 226"/>
                <a:gd name="T61" fmla="*/ 335 h 335"/>
                <a:gd name="T62" fmla="*/ 209 w 226"/>
                <a:gd name="T63" fmla="*/ 323 h 335"/>
                <a:gd name="T64" fmla="*/ 214 w 226"/>
                <a:gd name="T65" fmla="*/ 308 h 335"/>
                <a:gd name="T66" fmla="*/ 221 w 226"/>
                <a:gd name="T67" fmla="*/ 306 h 335"/>
                <a:gd name="T68" fmla="*/ 214 w 226"/>
                <a:gd name="T69" fmla="*/ 296 h 335"/>
                <a:gd name="T70" fmla="*/ 216 w 226"/>
                <a:gd name="T71" fmla="*/ 263 h 335"/>
                <a:gd name="T72" fmla="*/ 216 w 226"/>
                <a:gd name="T73" fmla="*/ 241 h 335"/>
                <a:gd name="T74" fmla="*/ 226 w 226"/>
                <a:gd name="T75" fmla="*/ 233 h 335"/>
                <a:gd name="T76" fmla="*/ 226 w 226"/>
                <a:gd name="T77" fmla="*/ 214 h 335"/>
                <a:gd name="T78" fmla="*/ 214 w 226"/>
                <a:gd name="T79" fmla="*/ 194 h 335"/>
                <a:gd name="T80" fmla="*/ 199 w 226"/>
                <a:gd name="T81" fmla="*/ 186 h 335"/>
                <a:gd name="T82" fmla="*/ 191 w 226"/>
                <a:gd name="T83" fmla="*/ 164 h 335"/>
                <a:gd name="T84" fmla="*/ 176 w 226"/>
                <a:gd name="T85" fmla="*/ 171 h 335"/>
                <a:gd name="T86" fmla="*/ 161 w 226"/>
                <a:gd name="T87" fmla="*/ 169 h 335"/>
                <a:gd name="T88" fmla="*/ 159 w 226"/>
                <a:gd name="T89" fmla="*/ 159 h 335"/>
                <a:gd name="T90" fmla="*/ 146 w 226"/>
                <a:gd name="T91" fmla="*/ 156 h 335"/>
                <a:gd name="T92" fmla="*/ 142 w 226"/>
                <a:gd name="T93" fmla="*/ 144 h 335"/>
                <a:gd name="T94" fmla="*/ 129 w 226"/>
                <a:gd name="T95" fmla="*/ 134 h 335"/>
                <a:gd name="T96" fmla="*/ 127 w 226"/>
                <a:gd name="T97" fmla="*/ 122 h 335"/>
                <a:gd name="T98" fmla="*/ 129 w 226"/>
                <a:gd name="T99" fmla="*/ 107 h 335"/>
                <a:gd name="T100" fmla="*/ 139 w 226"/>
                <a:gd name="T101" fmla="*/ 102 h 335"/>
                <a:gd name="T102" fmla="*/ 146 w 226"/>
                <a:gd name="T103" fmla="*/ 94 h 335"/>
                <a:gd name="T104" fmla="*/ 144 w 226"/>
                <a:gd name="T105" fmla="*/ 82 h 335"/>
                <a:gd name="T106" fmla="*/ 149 w 226"/>
                <a:gd name="T107" fmla="*/ 67 h 335"/>
                <a:gd name="T108" fmla="*/ 161 w 226"/>
                <a:gd name="T109" fmla="*/ 57 h 335"/>
                <a:gd name="T110" fmla="*/ 176 w 226"/>
                <a:gd name="T111" fmla="*/ 62 h 335"/>
                <a:gd name="T112" fmla="*/ 191 w 226"/>
                <a:gd name="T113" fmla="*/ 54 h 335"/>
                <a:gd name="T114" fmla="*/ 196 w 226"/>
                <a:gd name="T115" fmla="*/ 37 h 335"/>
                <a:gd name="T116" fmla="*/ 184 w 226"/>
                <a:gd name="T117" fmla="*/ 15 h 3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26" h="335">
                  <a:moveTo>
                    <a:pt x="184" y="15"/>
                  </a:moveTo>
                  <a:lnTo>
                    <a:pt x="169" y="2"/>
                  </a:lnTo>
                  <a:lnTo>
                    <a:pt x="137" y="0"/>
                  </a:lnTo>
                  <a:lnTo>
                    <a:pt x="129" y="12"/>
                  </a:lnTo>
                  <a:lnTo>
                    <a:pt x="77" y="35"/>
                  </a:lnTo>
                  <a:lnTo>
                    <a:pt x="52" y="52"/>
                  </a:lnTo>
                  <a:lnTo>
                    <a:pt x="35" y="67"/>
                  </a:lnTo>
                  <a:lnTo>
                    <a:pt x="22" y="52"/>
                  </a:lnTo>
                  <a:lnTo>
                    <a:pt x="17" y="37"/>
                  </a:lnTo>
                  <a:lnTo>
                    <a:pt x="7" y="37"/>
                  </a:lnTo>
                  <a:lnTo>
                    <a:pt x="0" y="45"/>
                  </a:lnTo>
                  <a:lnTo>
                    <a:pt x="0" y="87"/>
                  </a:lnTo>
                  <a:lnTo>
                    <a:pt x="20" y="87"/>
                  </a:lnTo>
                  <a:lnTo>
                    <a:pt x="27" y="117"/>
                  </a:lnTo>
                  <a:lnTo>
                    <a:pt x="37" y="122"/>
                  </a:lnTo>
                  <a:lnTo>
                    <a:pt x="40" y="139"/>
                  </a:lnTo>
                  <a:lnTo>
                    <a:pt x="47" y="156"/>
                  </a:lnTo>
                  <a:lnTo>
                    <a:pt x="57" y="161"/>
                  </a:lnTo>
                  <a:lnTo>
                    <a:pt x="59" y="181"/>
                  </a:lnTo>
                  <a:lnTo>
                    <a:pt x="64" y="184"/>
                  </a:lnTo>
                  <a:lnTo>
                    <a:pt x="69" y="196"/>
                  </a:lnTo>
                  <a:lnTo>
                    <a:pt x="74" y="211"/>
                  </a:lnTo>
                  <a:lnTo>
                    <a:pt x="84" y="228"/>
                  </a:lnTo>
                  <a:lnTo>
                    <a:pt x="92" y="236"/>
                  </a:lnTo>
                  <a:lnTo>
                    <a:pt x="89" y="243"/>
                  </a:lnTo>
                  <a:lnTo>
                    <a:pt x="94" y="261"/>
                  </a:lnTo>
                  <a:lnTo>
                    <a:pt x="112" y="271"/>
                  </a:lnTo>
                  <a:lnTo>
                    <a:pt x="132" y="293"/>
                  </a:lnTo>
                  <a:lnTo>
                    <a:pt x="156" y="303"/>
                  </a:lnTo>
                  <a:lnTo>
                    <a:pt x="181" y="323"/>
                  </a:lnTo>
                  <a:lnTo>
                    <a:pt x="196" y="335"/>
                  </a:lnTo>
                  <a:lnTo>
                    <a:pt x="209" y="323"/>
                  </a:lnTo>
                  <a:lnTo>
                    <a:pt x="214" y="308"/>
                  </a:lnTo>
                  <a:lnTo>
                    <a:pt x="221" y="306"/>
                  </a:lnTo>
                  <a:lnTo>
                    <a:pt x="214" y="296"/>
                  </a:lnTo>
                  <a:lnTo>
                    <a:pt x="216" y="263"/>
                  </a:lnTo>
                  <a:lnTo>
                    <a:pt x="216" y="241"/>
                  </a:lnTo>
                  <a:lnTo>
                    <a:pt x="226" y="233"/>
                  </a:lnTo>
                  <a:lnTo>
                    <a:pt x="226" y="214"/>
                  </a:lnTo>
                  <a:lnTo>
                    <a:pt x="214" y="194"/>
                  </a:lnTo>
                  <a:lnTo>
                    <a:pt x="199" y="186"/>
                  </a:lnTo>
                  <a:lnTo>
                    <a:pt x="191" y="164"/>
                  </a:lnTo>
                  <a:lnTo>
                    <a:pt x="176" y="171"/>
                  </a:lnTo>
                  <a:lnTo>
                    <a:pt x="161" y="169"/>
                  </a:lnTo>
                  <a:lnTo>
                    <a:pt x="159" y="159"/>
                  </a:lnTo>
                  <a:lnTo>
                    <a:pt x="146" y="156"/>
                  </a:lnTo>
                  <a:lnTo>
                    <a:pt x="142" y="144"/>
                  </a:lnTo>
                  <a:lnTo>
                    <a:pt x="129" y="134"/>
                  </a:lnTo>
                  <a:lnTo>
                    <a:pt x="127" y="122"/>
                  </a:lnTo>
                  <a:lnTo>
                    <a:pt x="129" y="107"/>
                  </a:lnTo>
                  <a:lnTo>
                    <a:pt x="139" y="102"/>
                  </a:lnTo>
                  <a:lnTo>
                    <a:pt x="146" y="94"/>
                  </a:lnTo>
                  <a:lnTo>
                    <a:pt x="144" y="82"/>
                  </a:lnTo>
                  <a:lnTo>
                    <a:pt x="149" y="67"/>
                  </a:lnTo>
                  <a:lnTo>
                    <a:pt x="161" y="57"/>
                  </a:lnTo>
                  <a:lnTo>
                    <a:pt x="176" y="62"/>
                  </a:lnTo>
                  <a:lnTo>
                    <a:pt x="191" y="54"/>
                  </a:lnTo>
                  <a:lnTo>
                    <a:pt x="196" y="37"/>
                  </a:lnTo>
                  <a:lnTo>
                    <a:pt x="184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6" name="Freeform 51"/>
            <p:cNvSpPr>
              <a:spLocks/>
            </p:cNvSpPr>
            <p:nvPr/>
          </p:nvSpPr>
          <p:spPr bwMode="auto">
            <a:xfrm>
              <a:off x="3958088" y="3610978"/>
              <a:ext cx="414500" cy="472069"/>
            </a:xfrm>
            <a:custGeom>
              <a:avLst/>
              <a:gdLst>
                <a:gd name="T0" fmla="*/ 0 w 288"/>
                <a:gd name="T1" fmla="*/ 236 h 328"/>
                <a:gd name="T2" fmla="*/ 17 w 288"/>
                <a:gd name="T3" fmla="*/ 214 h 328"/>
                <a:gd name="T4" fmla="*/ 32 w 288"/>
                <a:gd name="T5" fmla="*/ 221 h 328"/>
                <a:gd name="T6" fmla="*/ 94 w 288"/>
                <a:gd name="T7" fmla="*/ 226 h 328"/>
                <a:gd name="T8" fmla="*/ 116 w 288"/>
                <a:gd name="T9" fmla="*/ 224 h 328"/>
                <a:gd name="T10" fmla="*/ 116 w 288"/>
                <a:gd name="T11" fmla="*/ 201 h 328"/>
                <a:gd name="T12" fmla="*/ 101 w 288"/>
                <a:gd name="T13" fmla="*/ 196 h 328"/>
                <a:gd name="T14" fmla="*/ 104 w 288"/>
                <a:gd name="T15" fmla="*/ 60 h 328"/>
                <a:gd name="T16" fmla="*/ 94 w 288"/>
                <a:gd name="T17" fmla="*/ 47 h 328"/>
                <a:gd name="T18" fmla="*/ 94 w 288"/>
                <a:gd name="T19" fmla="*/ 20 h 328"/>
                <a:gd name="T20" fmla="*/ 106 w 288"/>
                <a:gd name="T21" fmla="*/ 17 h 328"/>
                <a:gd name="T22" fmla="*/ 106 w 288"/>
                <a:gd name="T23" fmla="*/ 0 h 328"/>
                <a:gd name="T24" fmla="*/ 126 w 288"/>
                <a:gd name="T25" fmla="*/ 12 h 328"/>
                <a:gd name="T26" fmla="*/ 248 w 288"/>
                <a:gd name="T27" fmla="*/ 112 h 328"/>
                <a:gd name="T28" fmla="*/ 266 w 288"/>
                <a:gd name="T29" fmla="*/ 119 h 328"/>
                <a:gd name="T30" fmla="*/ 270 w 288"/>
                <a:gd name="T31" fmla="*/ 149 h 328"/>
                <a:gd name="T32" fmla="*/ 285 w 288"/>
                <a:gd name="T33" fmla="*/ 144 h 328"/>
                <a:gd name="T34" fmla="*/ 288 w 288"/>
                <a:gd name="T35" fmla="*/ 204 h 328"/>
                <a:gd name="T36" fmla="*/ 275 w 288"/>
                <a:gd name="T37" fmla="*/ 204 h 328"/>
                <a:gd name="T38" fmla="*/ 275 w 288"/>
                <a:gd name="T39" fmla="*/ 216 h 328"/>
                <a:gd name="T40" fmla="*/ 231 w 288"/>
                <a:gd name="T41" fmla="*/ 221 h 328"/>
                <a:gd name="T42" fmla="*/ 216 w 288"/>
                <a:gd name="T43" fmla="*/ 231 h 328"/>
                <a:gd name="T44" fmla="*/ 186 w 288"/>
                <a:gd name="T45" fmla="*/ 231 h 328"/>
                <a:gd name="T46" fmla="*/ 179 w 288"/>
                <a:gd name="T47" fmla="*/ 241 h 328"/>
                <a:gd name="T48" fmla="*/ 169 w 288"/>
                <a:gd name="T49" fmla="*/ 251 h 328"/>
                <a:gd name="T50" fmla="*/ 146 w 288"/>
                <a:gd name="T51" fmla="*/ 259 h 328"/>
                <a:gd name="T52" fmla="*/ 141 w 288"/>
                <a:gd name="T53" fmla="*/ 269 h 328"/>
                <a:gd name="T54" fmla="*/ 134 w 288"/>
                <a:gd name="T55" fmla="*/ 281 h 328"/>
                <a:gd name="T56" fmla="*/ 121 w 288"/>
                <a:gd name="T57" fmla="*/ 298 h 328"/>
                <a:gd name="T58" fmla="*/ 116 w 288"/>
                <a:gd name="T59" fmla="*/ 323 h 328"/>
                <a:gd name="T60" fmla="*/ 94 w 288"/>
                <a:gd name="T61" fmla="*/ 326 h 328"/>
                <a:gd name="T62" fmla="*/ 79 w 288"/>
                <a:gd name="T63" fmla="*/ 328 h 328"/>
                <a:gd name="T64" fmla="*/ 74 w 288"/>
                <a:gd name="T65" fmla="*/ 303 h 328"/>
                <a:gd name="T66" fmla="*/ 62 w 288"/>
                <a:gd name="T67" fmla="*/ 288 h 328"/>
                <a:gd name="T68" fmla="*/ 39 w 288"/>
                <a:gd name="T69" fmla="*/ 286 h 328"/>
                <a:gd name="T70" fmla="*/ 22 w 288"/>
                <a:gd name="T71" fmla="*/ 281 h 328"/>
                <a:gd name="T72" fmla="*/ 12 w 288"/>
                <a:gd name="T73" fmla="*/ 261 h 328"/>
                <a:gd name="T74" fmla="*/ 2 w 288"/>
                <a:gd name="T75" fmla="*/ 251 h 328"/>
                <a:gd name="T76" fmla="*/ 0 w 288"/>
                <a:gd name="T77" fmla="*/ 236 h 3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88" h="328">
                  <a:moveTo>
                    <a:pt x="0" y="236"/>
                  </a:moveTo>
                  <a:lnTo>
                    <a:pt x="17" y="214"/>
                  </a:lnTo>
                  <a:lnTo>
                    <a:pt x="32" y="221"/>
                  </a:lnTo>
                  <a:lnTo>
                    <a:pt x="94" y="226"/>
                  </a:lnTo>
                  <a:lnTo>
                    <a:pt x="116" y="224"/>
                  </a:lnTo>
                  <a:lnTo>
                    <a:pt x="116" y="201"/>
                  </a:lnTo>
                  <a:lnTo>
                    <a:pt x="101" y="196"/>
                  </a:lnTo>
                  <a:lnTo>
                    <a:pt x="104" y="60"/>
                  </a:lnTo>
                  <a:lnTo>
                    <a:pt x="94" y="47"/>
                  </a:lnTo>
                  <a:lnTo>
                    <a:pt x="94" y="20"/>
                  </a:lnTo>
                  <a:lnTo>
                    <a:pt x="106" y="17"/>
                  </a:lnTo>
                  <a:lnTo>
                    <a:pt x="106" y="0"/>
                  </a:lnTo>
                  <a:lnTo>
                    <a:pt x="126" y="12"/>
                  </a:lnTo>
                  <a:lnTo>
                    <a:pt x="248" y="112"/>
                  </a:lnTo>
                  <a:lnTo>
                    <a:pt x="266" y="119"/>
                  </a:lnTo>
                  <a:lnTo>
                    <a:pt x="270" y="149"/>
                  </a:lnTo>
                  <a:lnTo>
                    <a:pt x="285" y="144"/>
                  </a:lnTo>
                  <a:lnTo>
                    <a:pt x="288" y="204"/>
                  </a:lnTo>
                  <a:lnTo>
                    <a:pt x="275" y="204"/>
                  </a:lnTo>
                  <a:lnTo>
                    <a:pt x="275" y="216"/>
                  </a:lnTo>
                  <a:lnTo>
                    <a:pt x="231" y="221"/>
                  </a:lnTo>
                  <a:lnTo>
                    <a:pt x="216" y="231"/>
                  </a:lnTo>
                  <a:lnTo>
                    <a:pt x="186" y="231"/>
                  </a:lnTo>
                  <a:lnTo>
                    <a:pt x="179" y="241"/>
                  </a:lnTo>
                  <a:lnTo>
                    <a:pt x="169" y="251"/>
                  </a:lnTo>
                  <a:lnTo>
                    <a:pt x="146" y="259"/>
                  </a:lnTo>
                  <a:lnTo>
                    <a:pt x="141" y="269"/>
                  </a:lnTo>
                  <a:lnTo>
                    <a:pt x="134" y="281"/>
                  </a:lnTo>
                  <a:lnTo>
                    <a:pt x="121" y="298"/>
                  </a:lnTo>
                  <a:lnTo>
                    <a:pt x="116" y="323"/>
                  </a:lnTo>
                  <a:lnTo>
                    <a:pt x="94" y="326"/>
                  </a:lnTo>
                  <a:lnTo>
                    <a:pt x="79" y="328"/>
                  </a:lnTo>
                  <a:lnTo>
                    <a:pt x="74" y="303"/>
                  </a:lnTo>
                  <a:lnTo>
                    <a:pt x="62" y="288"/>
                  </a:lnTo>
                  <a:lnTo>
                    <a:pt x="39" y="286"/>
                  </a:lnTo>
                  <a:lnTo>
                    <a:pt x="22" y="281"/>
                  </a:lnTo>
                  <a:lnTo>
                    <a:pt x="12" y="261"/>
                  </a:lnTo>
                  <a:lnTo>
                    <a:pt x="2" y="251"/>
                  </a:lnTo>
                  <a:lnTo>
                    <a:pt x="0" y="23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7" name="Freeform 52"/>
            <p:cNvSpPr>
              <a:spLocks/>
            </p:cNvSpPr>
            <p:nvPr/>
          </p:nvSpPr>
          <p:spPr bwMode="auto">
            <a:xfrm>
              <a:off x="3924986" y="4090244"/>
              <a:ext cx="86354" cy="89233"/>
            </a:xfrm>
            <a:custGeom>
              <a:avLst/>
              <a:gdLst>
                <a:gd name="T0" fmla="*/ 60 w 60"/>
                <a:gd name="T1" fmla="*/ 30 h 62"/>
                <a:gd name="T2" fmla="*/ 55 w 60"/>
                <a:gd name="T3" fmla="*/ 10 h 62"/>
                <a:gd name="T4" fmla="*/ 35 w 60"/>
                <a:gd name="T5" fmla="*/ 0 h 62"/>
                <a:gd name="T6" fmla="*/ 20 w 60"/>
                <a:gd name="T7" fmla="*/ 8 h 62"/>
                <a:gd name="T8" fmla="*/ 0 w 60"/>
                <a:gd name="T9" fmla="*/ 13 h 62"/>
                <a:gd name="T10" fmla="*/ 5 w 60"/>
                <a:gd name="T11" fmla="*/ 30 h 62"/>
                <a:gd name="T12" fmla="*/ 18 w 60"/>
                <a:gd name="T13" fmla="*/ 32 h 62"/>
                <a:gd name="T14" fmla="*/ 20 w 60"/>
                <a:gd name="T15" fmla="*/ 50 h 62"/>
                <a:gd name="T16" fmla="*/ 37 w 60"/>
                <a:gd name="T17" fmla="*/ 55 h 62"/>
                <a:gd name="T18" fmla="*/ 42 w 60"/>
                <a:gd name="T19" fmla="*/ 62 h 62"/>
                <a:gd name="T20" fmla="*/ 60 w 60"/>
                <a:gd name="T21" fmla="*/ 3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62">
                  <a:moveTo>
                    <a:pt x="60" y="30"/>
                  </a:moveTo>
                  <a:lnTo>
                    <a:pt x="55" y="10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0" y="13"/>
                  </a:lnTo>
                  <a:lnTo>
                    <a:pt x="5" y="30"/>
                  </a:lnTo>
                  <a:lnTo>
                    <a:pt x="18" y="32"/>
                  </a:lnTo>
                  <a:lnTo>
                    <a:pt x="20" y="50"/>
                  </a:lnTo>
                  <a:lnTo>
                    <a:pt x="37" y="55"/>
                  </a:lnTo>
                  <a:lnTo>
                    <a:pt x="42" y="62"/>
                  </a:lnTo>
                  <a:lnTo>
                    <a:pt x="6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8" name="Freeform 53"/>
            <p:cNvSpPr>
              <a:spLocks/>
            </p:cNvSpPr>
            <p:nvPr/>
          </p:nvSpPr>
          <p:spPr bwMode="auto">
            <a:xfrm>
              <a:off x="4326533" y="3972226"/>
              <a:ext cx="277772" cy="279212"/>
            </a:xfrm>
            <a:custGeom>
              <a:avLst/>
              <a:gdLst>
                <a:gd name="T0" fmla="*/ 156 w 193"/>
                <a:gd name="T1" fmla="*/ 124 h 194"/>
                <a:gd name="T2" fmla="*/ 166 w 193"/>
                <a:gd name="T3" fmla="*/ 105 h 194"/>
                <a:gd name="T4" fmla="*/ 176 w 193"/>
                <a:gd name="T5" fmla="*/ 70 h 194"/>
                <a:gd name="T6" fmla="*/ 181 w 193"/>
                <a:gd name="T7" fmla="*/ 62 h 194"/>
                <a:gd name="T8" fmla="*/ 191 w 193"/>
                <a:gd name="T9" fmla="*/ 55 h 194"/>
                <a:gd name="T10" fmla="*/ 193 w 193"/>
                <a:gd name="T11" fmla="*/ 30 h 194"/>
                <a:gd name="T12" fmla="*/ 191 w 193"/>
                <a:gd name="T13" fmla="*/ 0 h 194"/>
                <a:gd name="T14" fmla="*/ 176 w 193"/>
                <a:gd name="T15" fmla="*/ 8 h 194"/>
                <a:gd name="T16" fmla="*/ 169 w 193"/>
                <a:gd name="T17" fmla="*/ 18 h 194"/>
                <a:gd name="T18" fmla="*/ 161 w 193"/>
                <a:gd name="T19" fmla="*/ 8 h 194"/>
                <a:gd name="T20" fmla="*/ 136 w 193"/>
                <a:gd name="T21" fmla="*/ 8 h 194"/>
                <a:gd name="T22" fmla="*/ 134 w 193"/>
                <a:gd name="T23" fmla="*/ 18 h 194"/>
                <a:gd name="T24" fmla="*/ 119 w 193"/>
                <a:gd name="T25" fmla="*/ 15 h 194"/>
                <a:gd name="T26" fmla="*/ 109 w 193"/>
                <a:gd name="T27" fmla="*/ 5 h 194"/>
                <a:gd name="T28" fmla="*/ 97 w 193"/>
                <a:gd name="T29" fmla="*/ 8 h 194"/>
                <a:gd name="T30" fmla="*/ 74 w 193"/>
                <a:gd name="T31" fmla="*/ 10 h 194"/>
                <a:gd name="T32" fmla="*/ 74 w 193"/>
                <a:gd name="T33" fmla="*/ 18 h 194"/>
                <a:gd name="T34" fmla="*/ 64 w 193"/>
                <a:gd name="T35" fmla="*/ 5 h 194"/>
                <a:gd name="T36" fmla="*/ 52 w 193"/>
                <a:gd name="T37" fmla="*/ 3 h 194"/>
                <a:gd name="T38" fmla="*/ 34 w 193"/>
                <a:gd name="T39" fmla="*/ 8 h 194"/>
                <a:gd name="T40" fmla="*/ 27 w 193"/>
                <a:gd name="T41" fmla="*/ 20 h 194"/>
                <a:gd name="T42" fmla="*/ 22 w 193"/>
                <a:gd name="T43" fmla="*/ 30 h 194"/>
                <a:gd name="T44" fmla="*/ 17 w 193"/>
                <a:gd name="T45" fmla="*/ 30 h 194"/>
                <a:gd name="T46" fmla="*/ 19 w 193"/>
                <a:gd name="T47" fmla="*/ 52 h 194"/>
                <a:gd name="T48" fmla="*/ 12 w 193"/>
                <a:gd name="T49" fmla="*/ 92 h 194"/>
                <a:gd name="T50" fmla="*/ 0 w 193"/>
                <a:gd name="T51" fmla="*/ 107 h 194"/>
                <a:gd name="T52" fmla="*/ 5 w 193"/>
                <a:gd name="T53" fmla="*/ 147 h 194"/>
                <a:gd name="T54" fmla="*/ 19 w 193"/>
                <a:gd name="T55" fmla="*/ 149 h 194"/>
                <a:gd name="T56" fmla="*/ 34 w 193"/>
                <a:gd name="T57" fmla="*/ 147 h 194"/>
                <a:gd name="T58" fmla="*/ 42 w 193"/>
                <a:gd name="T59" fmla="*/ 154 h 194"/>
                <a:gd name="T60" fmla="*/ 49 w 193"/>
                <a:gd name="T61" fmla="*/ 167 h 194"/>
                <a:gd name="T62" fmla="*/ 49 w 193"/>
                <a:gd name="T63" fmla="*/ 182 h 194"/>
                <a:gd name="T64" fmla="*/ 62 w 193"/>
                <a:gd name="T65" fmla="*/ 192 h 194"/>
                <a:gd name="T66" fmla="*/ 79 w 193"/>
                <a:gd name="T67" fmla="*/ 194 h 194"/>
                <a:gd name="T68" fmla="*/ 111 w 193"/>
                <a:gd name="T69" fmla="*/ 167 h 194"/>
                <a:gd name="T70" fmla="*/ 121 w 193"/>
                <a:gd name="T71" fmla="*/ 152 h 194"/>
                <a:gd name="T72" fmla="*/ 136 w 193"/>
                <a:gd name="T73" fmla="*/ 139 h 194"/>
                <a:gd name="T74" fmla="*/ 156 w 193"/>
                <a:gd name="T75" fmla="*/ 124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3" h="194">
                  <a:moveTo>
                    <a:pt x="156" y="124"/>
                  </a:moveTo>
                  <a:lnTo>
                    <a:pt x="166" y="105"/>
                  </a:lnTo>
                  <a:lnTo>
                    <a:pt x="176" y="70"/>
                  </a:lnTo>
                  <a:lnTo>
                    <a:pt x="181" y="62"/>
                  </a:lnTo>
                  <a:lnTo>
                    <a:pt x="191" y="55"/>
                  </a:lnTo>
                  <a:lnTo>
                    <a:pt x="193" y="30"/>
                  </a:lnTo>
                  <a:lnTo>
                    <a:pt x="191" y="0"/>
                  </a:lnTo>
                  <a:lnTo>
                    <a:pt x="176" y="8"/>
                  </a:lnTo>
                  <a:lnTo>
                    <a:pt x="169" y="18"/>
                  </a:lnTo>
                  <a:lnTo>
                    <a:pt x="161" y="8"/>
                  </a:lnTo>
                  <a:lnTo>
                    <a:pt x="136" y="8"/>
                  </a:lnTo>
                  <a:lnTo>
                    <a:pt x="134" y="18"/>
                  </a:lnTo>
                  <a:lnTo>
                    <a:pt x="119" y="15"/>
                  </a:lnTo>
                  <a:lnTo>
                    <a:pt x="109" y="5"/>
                  </a:lnTo>
                  <a:lnTo>
                    <a:pt x="97" y="8"/>
                  </a:lnTo>
                  <a:lnTo>
                    <a:pt x="74" y="10"/>
                  </a:lnTo>
                  <a:lnTo>
                    <a:pt x="74" y="18"/>
                  </a:lnTo>
                  <a:lnTo>
                    <a:pt x="64" y="5"/>
                  </a:lnTo>
                  <a:lnTo>
                    <a:pt x="52" y="3"/>
                  </a:lnTo>
                  <a:lnTo>
                    <a:pt x="34" y="8"/>
                  </a:lnTo>
                  <a:lnTo>
                    <a:pt x="27" y="20"/>
                  </a:lnTo>
                  <a:lnTo>
                    <a:pt x="22" y="30"/>
                  </a:lnTo>
                  <a:lnTo>
                    <a:pt x="17" y="30"/>
                  </a:lnTo>
                  <a:lnTo>
                    <a:pt x="19" y="52"/>
                  </a:lnTo>
                  <a:lnTo>
                    <a:pt x="12" y="92"/>
                  </a:lnTo>
                  <a:lnTo>
                    <a:pt x="0" y="107"/>
                  </a:lnTo>
                  <a:lnTo>
                    <a:pt x="5" y="147"/>
                  </a:lnTo>
                  <a:lnTo>
                    <a:pt x="19" y="149"/>
                  </a:lnTo>
                  <a:lnTo>
                    <a:pt x="34" y="147"/>
                  </a:lnTo>
                  <a:lnTo>
                    <a:pt x="42" y="154"/>
                  </a:lnTo>
                  <a:lnTo>
                    <a:pt x="49" y="167"/>
                  </a:lnTo>
                  <a:lnTo>
                    <a:pt x="49" y="182"/>
                  </a:lnTo>
                  <a:lnTo>
                    <a:pt x="62" y="192"/>
                  </a:lnTo>
                  <a:lnTo>
                    <a:pt x="79" y="194"/>
                  </a:lnTo>
                  <a:lnTo>
                    <a:pt x="111" y="167"/>
                  </a:lnTo>
                  <a:lnTo>
                    <a:pt x="121" y="152"/>
                  </a:lnTo>
                  <a:lnTo>
                    <a:pt x="136" y="139"/>
                  </a:lnTo>
                  <a:lnTo>
                    <a:pt x="156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9" name="Freeform 54"/>
            <p:cNvSpPr>
              <a:spLocks/>
            </p:cNvSpPr>
            <p:nvPr/>
          </p:nvSpPr>
          <p:spPr bwMode="auto">
            <a:xfrm>
              <a:off x="4640286" y="4051384"/>
              <a:ext cx="315192" cy="246110"/>
            </a:xfrm>
            <a:custGeom>
              <a:avLst/>
              <a:gdLst>
                <a:gd name="T0" fmla="*/ 217 w 219"/>
                <a:gd name="T1" fmla="*/ 124 h 171"/>
                <a:gd name="T2" fmla="*/ 207 w 219"/>
                <a:gd name="T3" fmla="*/ 122 h 171"/>
                <a:gd name="T4" fmla="*/ 184 w 219"/>
                <a:gd name="T5" fmla="*/ 127 h 171"/>
                <a:gd name="T6" fmla="*/ 169 w 219"/>
                <a:gd name="T7" fmla="*/ 124 h 171"/>
                <a:gd name="T8" fmla="*/ 169 w 219"/>
                <a:gd name="T9" fmla="*/ 132 h 171"/>
                <a:gd name="T10" fmla="*/ 132 w 219"/>
                <a:gd name="T11" fmla="*/ 134 h 171"/>
                <a:gd name="T12" fmla="*/ 130 w 219"/>
                <a:gd name="T13" fmla="*/ 142 h 171"/>
                <a:gd name="T14" fmla="*/ 97 w 219"/>
                <a:gd name="T15" fmla="*/ 146 h 171"/>
                <a:gd name="T16" fmla="*/ 92 w 219"/>
                <a:gd name="T17" fmla="*/ 134 h 171"/>
                <a:gd name="T18" fmla="*/ 80 w 219"/>
                <a:gd name="T19" fmla="*/ 129 h 171"/>
                <a:gd name="T20" fmla="*/ 72 w 219"/>
                <a:gd name="T21" fmla="*/ 139 h 171"/>
                <a:gd name="T22" fmla="*/ 65 w 219"/>
                <a:gd name="T23" fmla="*/ 144 h 171"/>
                <a:gd name="T24" fmla="*/ 58 w 219"/>
                <a:gd name="T25" fmla="*/ 149 h 171"/>
                <a:gd name="T26" fmla="*/ 45 w 219"/>
                <a:gd name="T27" fmla="*/ 151 h 171"/>
                <a:gd name="T28" fmla="*/ 35 w 219"/>
                <a:gd name="T29" fmla="*/ 161 h 171"/>
                <a:gd name="T30" fmla="*/ 28 w 219"/>
                <a:gd name="T31" fmla="*/ 171 h 171"/>
                <a:gd name="T32" fmla="*/ 23 w 219"/>
                <a:gd name="T33" fmla="*/ 161 h 171"/>
                <a:gd name="T34" fmla="*/ 13 w 219"/>
                <a:gd name="T35" fmla="*/ 137 h 171"/>
                <a:gd name="T36" fmla="*/ 0 w 219"/>
                <a:gd name="T37" fmla="*/ 117 h 171"/>
                <a:gd name="T38" fmla="*/ 8 w 219"/>
                <a:gd name="T39" fmla="*/ 92 h 171"/>
                <a:gd name="T40" fmla="*/ 18 w 219"/>
                <a:gd name="T41" fmla="*/ 82 h 171"/>
                <a:gd name="T42" fmla="*/ 28 w 219"/>
                <a:gd name="T43" fmla="*/ 74 h 171"/>
                <a:gd name="T44" fmla="*/ 45 w 219"/>
                <a:gd name="T45" fmla="*/ 77 h 171"/>
                <a:gd name="T46" fmla="*/ 50 w 219"/>
                <a:gd name="T47" fmla="*/ 64 h 171"/>
                <a:gd name="T48" fmla="*/ 67 w 219"/>
                <a:gd name="T49" fmla="*/ 64 h 171"/>
                <a:gd name="T50" fmla="*/ 77 w 219"/>
                <a:gd name="T51" fmla="*/ 52 h 171"/>
                <a:gd name="T52" fmla="*/ 95 w 219"/>
                <a:gd name="T53" fmla="*/ 47 h 171"/>
                <a:gd name="T54" fmla="*/ 100 w 219"/>
                <a:gd name="T55" fmla="*/ 35 h 171"/>
                <a:gd name="T56" fmla="*/ 112 w 219"/>
                <a:gd name="T57" fmla="*/ 30 h 171"/>
                <a:gd name="T58" fmla="*/ 120 w 219"/>
                <a:gd name="T59" fmla="*/ 15 h 171"/>
                <a:gd name="T60" fmla="*/ 132 w 219"/>
                <a:gd name="T61" fmla="*/ 5 h 171"/>
                <a:gd name="T62" fmla="*/ 140 w 219"/>
                <a:gd name="T63" fmla="*/ 0 h 171"/>
                <a:gd name="T64" fmla="*/ 147 w 219"/>
                <a:gd name="T65" fmla="*/ 15 h 171"/>
                <a:gd name="T66" fmla="*/ 157 w 219"/>
                <a:gd name="T67" fmla="*/ 32 h 171"/>
                <a:gd name="T68" fmla="*/ 154 w 219"/>
                <a:gd name="T69" fmla="*/ 47 h 171"/>
                <a:gd name="T70" fmla="*/ 162 w 219"/>
                <a:gd name="T71" fmla="*/ 50 h 171"/>
                <a:gd name="T72" fmla="*/ 164 w 219"/>
                <a:gd name="T73" fmla="*/ 59 h 171"/>
                <a:gd name="T74" fmla="*/ 177 w 219"/>
                <a:gd name="T75" fmla="*/ 57 h 171"/>
                <a:gd name="T76" fmla="*/ 182 w 219"/>
                <a:gd name="T77" fmla="*/ 74 h 171"/>
                <a:gd name="T78" fmla="*/ 197 w 219"/>
                <a:gd name="T79" fmla="*/ 79 h 171"/>
                <a:gd name="T80" fmla="*/ 202 w 219"/>
                <a:gd name="T81" fmla="*/ 99 h 171"/>
                <a:gd name="T82" fmla="*/ 209 w 219"/>
                <a:gd name="T83" fmla="*/ 102 h 171"/>
                <a:gd name="T84" fmla="*/ 214 w 219"/>
                <a:gd name="T85" fmla="*/ 109 h 171"/>
                <a:gd name="T86" fmla="*/ 219 w 219"/>
                <a:gd name="T87" fmla="*/ 114 h 171"/>
                <a:gd name="T88" fmla="*/ 217 w 219"/>
                <a:gd name="T89" fmla="*/ 124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9" h="171">
                  <a:moveTo>
                    <a:pt x="217" y="124"/>
                  </a:moveTo>
                  <a:lnTo>
                    <a:pt x="207" y="122"/>
                  </a:lnTo>
                  <a:lnTo>
                    <a:pt x="184" y="127"/>
                  </a:lnTo>
                  <a:lnTo>
                    <a:pt x="169" y="124"/>
                  </a:lnTo>
                  <a:lnTo>
                    <a:pt x="169" y="132"/>
                  </a:lnTo>
                  <a:lnTo>
                    <a:pt x="132" y="134"/>
                  </a:lnTo>
                  <a:lnTo>
                    <a:pt x="130" y="142"/>
                  </a:lnTo>
                  <a:lnTo>
                    <a:pt x="97" y="146"/>
                  </a:lnTo>
                  <a:lnTo>
                    <a:pt x="92" y="134"/>
                  </a:lnTo>
                  <a:lnTo>
                    <a:pt x="80" y="129"/>
                  </a:lnTo>
                  <a:lnTo>
                    <a:pt x="72" y="139"/>
                  </a:lnTo>
                  <a:lnTo>
                    <a:pt x="65" y="144"/>
                  </a:lnTo>
                  <a:lnTo>
                    <a:pt x="58" y="149"/>
                  </a:lnTo>
                  <a:lnTo>
                    <a:pt x="45" y="151"/>
                  </a:lnTo>
                  <a:lnTo>
                    <a:pt x="35" y="161"/>
                  </a:lnTo>
                  <a:lnTo>
                    <a:pt x="28" y="171"/>
                  </a:lnTo>
                  <a:lnTo>
                    <a:pt x="23" y="161"/>
                  </a:lnTo>
                  <a:lnTo>
                    <a:pt x="13" y="137"/>
                  </a:lnTo>
                  <a:lnTo>
                    <a:pt x="0" y="117"/>
                  </a:lnTo>
                  <a:lnTo>
                    <a:pt x="8" y="92"/>
                  </a:lnTo>
                  <a:lnTo>
                    <a:pt x="18" y="82"/>
                  </a:lnTo>
                  <a:lnTo>
                    <a:pt x="28" y="74"/>
                  </a:lnTo>
                  <a:lnTo>
                    <a:pt x="45" y="77"/>
                  </a:lnTo>
                  <a:lnTo>
                    <a:pt x="50" y="64"/>
                  </a:lnTo>
                  <a:lnTo>
                    <a:pt x="67" y="64"/>
                  </a:lnTo>
                  <a:lnTo>
                    <a:pt x="77" y="52"/>
                  </a:lnTo>
                  <a:lnTo>
                    <a:pt x="95" y="47"/>
                  </a:lnTo>
                  <a:lnTo>
                    <a:pt x="100" y="35"/>
                  </a:lnTo>
                  <a:lnTo>
                    <a:pt x="112" y="30"/>
                  </a:lnTo>
                  <a:lnTo>
                    <a:pt x="120" y="15"/>
                  </a:lnTo>
                  <a:lnTo>
                    <a:pt x="132" y="5"/>
                  </a:lnTo>
                  <a:lnTo>
                    <a:pt x="140" y="0"/>
                  </a:lnTo>
                  <a:lnTo>
                    <a:pt x="147" y="15"/>
                  </a:lnTo>
                  <a:lnTo>
                    <a:pt x="157" y="32"/>
                  </a:lnTo>
                  <a:lnTo>
                    <a:pt x="154" y="47"/>
                  </a:lnTo>
                  <a:lnTo>
                    <a:pt x="162" y="50"/>
                  </a:lnTo>
                  <a:lnTo>
                    <a:pt x="164" y="59"/>
                  </a:lnTo>
                  <a:lnTo>
                    <a:pt x="177" y="57"/>
                  </a:lnTo>
                  <a:lnTo>
                    <a:pt x="182" y="74"/>
                  </a:lnTo>
                  <a:lnTo>
                    <a:pt x="197" y="79"/>
                  </a:lnTo>
                  <a:lnTo>
                    <a:pt x="202" y="99"/>
                  </a:lnTo>
                  <a:lnTo>
                    <a:pt x="209" y="102"/>
                  </a:lnTo>
                  <a:lnTo>
                    <a:pt x="214" y="109"/>
                  </a:lnTo>
                  <a:lnTo>
                    <a:pt x="219" y="114"/>
                  </a:lnTo>
                  <a:lnTo>
                    <a:pt x="217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0" name="Freeform 55"/>
            <p:cNvSpPr>
              <a:spLocks/>
            </p:cNvSpPr>
            <p:nvPr/>
          </p:nvSpPr>
          <p:spPr bwMode="auto">
            <a:xfrm>
              <a:off x="4887835" y="3432513"/>
              <a:ext cx="272015" cy="318071"/>
            </a:xfrm>
            <a:custGeom>
              <a:avLst/>
              <a:gdLst>
                <a:gd name="T0" fmla="*/ 0 w 189"/>
                <a:gd name="T1" fmla="*/ 5 h 221"/>
                <a:gd name="T2" fmla="*/ 0 w 189"/>
                <a:gd name="T3" fmla="*/ 221 h 221"/>
                <a:gd name="T4" fmla="*/ 12 w 189"/>
                <a:gd name="T5" fmla="*/ 214 h 221"/>
                <a:gd name="T6" fmla="*/ 25 w 189"/>
                <a:gd name="T7" fmla="*/ 206 h 221"/>
                <a:gd name="T8" fmla="*/ 142 w 189"/>
                <a:gd name="T9" fmla="*/ 206 h 221"/>
                <a:gd name="T10" fmla="*/ 152 w 189"/>
                <a:gd name="T11" fmla="*/ 214 h 221"/>
                <a:gd name="T12" fmla="*/ 181 w 189"/>
                <a:gd name="T13" fmla="*/ 189 h 221"/>
                <a:gd name="T14" fmla="*/ 181 w 189"/>
                <a:gd name="T15" fmla="*/ 164 h 221"/>
                <a:gd name="T16" fmla="*/ 189 w 189"/>
                <a:gd name="T17" fmla="*/ 161 h 221"/>
                <a:gd name="T18" fmla="*/ 147 w 189"/>
                <a:gd name="T19" fmla="*/ 94 h 221"/>
                <a:gd name="T20" fmla="*/ 124 w 189"/>
                <a:gd name="T21" fmla="*/ 54 h 221"/>
                <a:gd name="T22" fmla="*/ 124 w 189"/>
                <a:gd name="T23" fmla="*/ 35 h 221"/>
                <a:gd name="T24" fmla="*/ 137 w 189"/>
                <a:gd name="T25" fmla="*/ 52 h 221"/>
                <a:gd name="T26" fmla="*/ 156 w 189"/>
                <a:gd name="T27" fmla="*/ 72 h 221"/>
                <a:gd name="T28" fmla="*/ 164 w 189"/>
                <a:gd name="T29" fmla="*/ 54 h 221"/>
                <a:gd name="T30" fmla="*/ 164 w 189"/>
                <a:gd name="T31" fmla="*/ 32 h 221"/>
                <a:gd name="T32" fmla="*/ 149 w 189"/>
                <a:gd name="T33" fmla="*/ 7 h 221"/>
                <a:gd name="T34" fmla="*/ 124 w 189"/>
                <a:gd name="T35" fmla="*/ 5 h 221"/>
                <a:gd name="T36" fmla="*/ 79 w 189"/>
                <a:gd name="T37" fmla="*/ 0 h 221"/>
                <a:gd name="T38" fmla="*/ 72 w 189"/>
                <a:gd name="T39" fmla="*/ 22 h 221"/>
                <a:gd name="T40" fmla="*/ 60 w 189"/>
                <a:gd name="T41" fmla="*/ 15 h 221"/>
                <a:gd name="T42" fmla="*/ 47 w 189"/>
                <a:gd name="T43" fmla="*/ 2 h 221"/>
                <a:gd name="T44" fmla="*/ 0 w 189"/>
                <a:gd name="T45" fmla="*/ 5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89" h="221">
                  <a:moveTo>
                    <a:pt x="0" y="5"/>
                  </a:moveTo>
                  <a:lnTo>
                    <a:pt x="0" y="221"/>
                  </a:lnTo>
                  <a:lnTo>
                    <a:pt x="12" y="214"/>
                  </a:lnTo>
                  <a:lnTo>
                    <a:pt x="25" y="206"/>
                  </a:lnTo>
                  <a:lnTo>
                    <a:pt x="142" y="206"/>
                  </a:lnTo>
                  <a:lnTo>
                    <a:pt x="152" y="214"/>
                  </a:lnTo>
                  <a:lnTo>
                    <a:pt x="181" y="189"/>
                  </a:lnTo>
                  <a:lnTo>
                    <a:pt x="181" y="164"/>
                  </a:lnTo>
                  <a:lnTo>
                    <a:pt x="189" y="161"/>
                  </a:lnTo>
                  <a:lnTo>
                    <a:pt x="147" y="94"/>
                  </a:lnTo>
                  <a:lnTo>
                    <a:pt x="124" y="54"/>
                  </a:lnTo>
                  <a:lnTo>
                    <a:pt x="124" y="35"/>
                  </a:lnTo>
                  <a:lnTo>
                    <a:pt x="137" y="52"/>
                  </a:lnTo>
                  <a:lnTo>
                    <a:pt x="156" y="72"/>
                  </a:lnTo>
                  <a:lnTo>
                    <a:pt x="164" y="54"/>
                  </a:lnTo>
                  <a:lnTo>
                    <a:pt x="164" y="32"/>
                  </a:lnTo>
                  <a:lnTo>
                    <a:pt x="149" y="7"/>
                  </a:lnTo>
                  <a:lnTo>
                    <a:pt x="124" y="5"/>
                  </a:lnTo>
                  <a:lnTo>
                    <a:pt x="79" y="0"/>
                  </a:lnTo>
                  <a:lnTo>
                    <a:pt x="72" y="22"/>
                  </a:lnTo>
                  <a:lnTo>
                    <a:pt x="60" y="15"/>
                  </a:lnTo>
                  <a:lnTo>
                    <a:pt x="47" y="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1" name="Freeform 56"/>
            <p:cNvSpPr>
              <a:spLocks/>
            </p:cNvSpPr>
            <p:nvPr/>
          </p:nvSpPr>
          <p:spPr bwMode="auto">
            <a:xfrm>
              <a:off x="5814702" y="3295786"/>
              <a:ext cx="310875" cy="375640"/>
            </a:xfrm>
            <a:custGeom>
              <a:avLst/>
              <a:gdLst>
                <a:gd name="T0" fmla="*/ 169 w 216"/>
                <a:gd name="T1" fmla="*/ 0 h 261"/>
                <a:gd name="T2" fmla="*/ 151 w 216"/>
                <a:gd name="T3" fmla="*/ 5 h 261"/>
                <a:gd name="T4" fmla="*/ 146 w 216"/>
                <a:gd name="T5" fmla="*/ 25 h 261"/>
                <a:gd name="T6" fmla="*/ 139 w 216"/>
                <a:gd name="T7" fmla="*/ 48 h 261"/>
                <a:gd name="T8" fmla="*/ 131 w 216"/>
                <a:gd name="T9" fmla="*/ 67 h 261"/>
                <a:gd name="T10" fmla="*/ 122 w 216"/>
                <a:gd name="T11" fmla="*/ 75 h 261"/>
                <a:gd name="T12" fmla="*/ 117 w 216"/>
                <a:gd name="T13" fmla="*/ 95 h 261"/>
                <a:gd name="T14" fmla="*/ 99 w 216"/>
                <a:gd name="T15" fmla="*/ 97 h 261"/>
                <a:gd name="T16" fmla="*/ 82 w 216"/>
                <a:gd name="T17" fmla="*/ 110 h 261"/>
                <a:gd name="T18" fmla="*/ 67 w 216"/>
                <a:gd name="T19" fmla="*/ 120 h 261"/>
                <a:gd name="T20" fmla="*/ 59 w 216"/>
                <a:gd name="T21" fmla="*/ 140 h 261"/>
                <a:gd name="T22" fmla="*/ 7 w 216"/>
                <a:gd name="T23" fmla="*/ 144 h 261"/>
                <a:gd name="T24" fmla="*/ 0 w 216"/>
                <a:gd name="T25" fmla="*/ 159 h 261"/>
                <a:gd name="T26" fmla="*/ 5 w 216"/>
                <a:gd name="T27" fmla="*/ 179 h 261"/>
                <a:gd name="T28" fmla="*/ 20 w 216"/>
                <a:gd name="T29" fmla="*/ 179 h 261"/>
                <a:gd name="T30" fmla="*/ 25 w 216"/>
                <a:gd name="T31" fmla="*/ 192 h 261"/>
                <a:gd name="T32" fmla="*/ 15 w 216"/>
                <a:gd name="T33" fmla="*/ 204 h 261"/>
                <a:gd name="T34" fmla="*/ 0 w 216"/>
                <a:gd name="T35" fmla="*/ 209 h 261"/>
                <a:gd name="T36" fmla="*/ 15 w 216"/>
                <a:gd name="T37" fmla="*/ 214 h 261"/>
                <a:gd name="T38" fmla="*/ 22 w 216"/>
                <a:gd name="T39" fmla="*/ 229 h 261"/>
                <a:gd name="T40" fmla="*/ 52 w 216"/>
                <a:gd name="T41" fmla="*/ 229 h 261"/>
                <a:gd name="T42" fmla="*/ 74 w 216"/>
                <a:gd name="T43" fmla="*/ 222 h 261"/>
                <a:gd name="T44" fmla="*/ 77 w 216"/>
                <a:gd name="T45" fmla="*/ 236 h 261"/>
                <a:gd name="T46" fmla="*/ 97 w 216"/>
                <a:gd name="T47" fmla="*/ 251 h 261"/>
                <a:gd name="T48" fmla="*/ 112 w 216"/>
                <a:gd name="T49" fmla="*/ 261 h 261"/>
                <a:gd name="T50" fmla="*/ 122 w 216"/>
                <a:gd name="T51" fmla="*/ 251 h 261"/>
                <a:gd name="T52" fmla="*/ 156 w 216"/>
                <a:gd name="T53" fmla="*/ 251 h 261"/>
                <a:gd name="T54" fmla="*/ 159 w 216"/>
                <a:gd name="T55" fmla="*/ 234 h 261"/>
                <a:gd name="T56" fmla="*/ 139 w 216"/>
                <a:gd name="T57" fmla="*/ 209 h 261"/>
                <a:gd name="T58" fmla="*/ 124 w 216"/>
                <a:gd name="T59" fmla="*/ 194 h 261"/>
                <a:gd name="T60" fmla="*/ 131 w 216"/>
                <a:gd name="T61" fmla="*/ 177 h 261"/>
                <a:gd name="T62" fmla="*/ 141 w 216"/>
                <a:gd name="T63" fmla="*/ 167 h 261"/>
                <a:gd name="T64" fmla="*/ 171 w 216"/>
                <a:gd name="T65" fmla="*/ 177 h 261"/>
                <a:gd name="T66" fmla="*/ 176 w 216"/>
                <a:gd name="T67" fmla="*/ 164 h 261"/>
                <a:gd name="T68" fmla="*/ 179 w 216"/>
                <a:gd name="T69" fmla="*/ 152 h 261"/>
                <a:gd name="T70" fmla="*/ 199 w 216"/>
                <a:gd name="T71" fmla="*/ 135 h 261"/>
                <a:gd name="T72" fmla="*/ 206 w 216"/>
                <a:gd name="T73" fmla="*/ 117 h 261"/>
                <a:gd name="T74" fmla="*/ 216 w 216"/>
                <a:gd name="T75" fmla="*/ 105 h 261"/>
                <a:gd name="T76" fmla="*/ 216 w 216"/>
                <a:gd name="T77" fmla="*/ 77 h 261"/>
                <a:gd name="T78" fmla="*/ 199 w 216"/>
                <a:gd name="T79" fmla="*/ 65 h 261"/>
                <a:gd name="T80" fmla="*/ 201 w 216"/>
                <a:gd name="T81" fmla="*/ 40 h 261"/>
                <a:gd name="T82" fmla="*/ 191 w 216"/>
                <a:gd name="T83" fmla="*/ 28 h 261"/>
                <a:gd name="T84" fmla="*/ 194 w 216"/>
                <a:gd name="T85" fmla="*/ 10 h 261"/>
                <a:gd name="T86" fmla="*/ 179 w 216"/>
                <a:gd name="T87" fmla="*/ 3 h 261"/>
                <a:gd name="T88" fmla="*/ 169 w 216"/>
                <a:gd name="T89" fmla="*/ 0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16" h="261">
                  <a:moveTo>
                    <a:pt x="169" y="0"/>
                  </a:moveTo>
                  <a:lnTo>
                    <a:pt x="151" y="5"/>
                  </a:lnTo>
                  <a:lnTo>
                    <a:pt x="146" y="25"/>
                  </a:lnTo>
                  <a:lnTo>
                    <a:pt x="139" y="48"/>
                  </a:lnTo>
                  <a:lnTo>
                    <a:pt x="131" y="67"/>
                  </a:lnTo>
                  <a:lnTo>
                    <a:pt x="122" y="75"/>
                  </a:lnTo>
                  <a:lnTo>
                    <a:pt x="117" y="95"/>
                  </a:lnTo>
                  <a:lnTo>
                    <a:pt x="99" y="97"/>
                  </a:lnTo>
                  <a:lnTo>
                    <a:pt x="82" y="110"/>
                  </a:lnTo>
                  <a:lnTo>
                    <a:pt x="67" y="120"/>
                  </a:lnTo>
                  <a:lnTo>
                    <a:pt x="59" y="140"/>
                  </a:lnTo>
                  <a:lnTo>
                    <a:pt x="7" y="144"/>
                  </a:lnTo>
                  <a:lnTo>
                    <a:pt x="0" y="159"/>
                  </a:lnTo>
                  <a:lnTo>
                    <a:pt x="5" y="179"/>
                  </a:lnTo>
                  <a:lnTo>
                    <a:pt x="20" y="179"/>
                  </a:lnTo>
                  <a:lnTo>
                    <a:pt x="25" y="192"/>
                  </a:lnTo>
                  <a:lnTo>
                    <a:pt x="15" y="204"/>
                  </a:lnTo>
                  <a:lnTo>
                    <a:pt x="0" y="209"/>
                  </a:lnTo>
                  <a:lnTo>
                    <a:pt x="15" y="214"/>
                  </a:lnTo>
                  <a:lnTo>
                    <a:pt x="22" y="229"/>
                  </a:lnTo>
                  <a:lnTo>
                    <a:pt x="52" y="229"/>
                  </a:lnTo>
                  <a:lnTo>
                    <a:pt x="74" y="222"/>
                  </a:lnTo>
                  <a:lnTo>
                    <a:pt x="77" y="236"/>
                  </a:lnTo>
                  <a:lnTo>
                    <a:pt x="97" y="251"/>
                  </a:lnTo>
                  <a:lnTo>
                    <a:pt x="112" y="261"/>
                  </a:lnTo>
                  <a:lnTo>
                    <a:pt x="122" y="251"/>
                  </a:lnTo>
                  <a:lnTo>
                    <a:pt x="156" y="251"/>
                  </a:lnTo>
                  <a:lnTo>
                    <a:pt x="159" y="234"/>
                  </a:lnTo>
                  <a:lnTo>
                    <a:pt x="139" y="209"/>
                  </a:lnTo>
                  <a:lnTo>
                    <a:pt x="124" y="194"/>
                  </a:lnTo>
                  <a:lnTo>
                    <a:pt x="131" y="177"/>
                  </a:lnTo>
                  <a:lnTo>
                    <a:pt x="141" y="167"/>
                  </a:lnTo>
                  <a:lnTo>
                    <a:pt x="171" y="177"/>
                  </a:lnTo>
                  <a:lnTo>
                    <a:pt x="176" y="164"/>
                  </a:lnTo>
                  <a:lnTo>
                    <a:pt x="179" y="152"/>
                  </a:lnTo>
                  <a:lnTo>
                    <a:pt x="199" y="135"/>
                  </a:lnTo>
                  <a:lnTo>
                    <a:pt x="206" y="117"/>
                  </a:lnTo>
                  <a:lnTo>
                    <a:pt x="216" y="105"/>
                  </a:lnTo>
                  <a:lnTo>
                    <a:pt x="216" y="77"/>
                  </a:lnTo>
                  <a:lnTo>
                    <a:pt x="199" y="65"/>
                  </a:lnTo>
                  <a:lnTo>
                    <a:pt x="201" y="40"/>
                  </a:lnTo>
                  <a:lnTo>
                    <a:pt x="191" y="28"/>
                  </a:lnTo>
                  <a:lnTo>
                    <a:pt x="194" y="10"/>
                  </a:lnTo>
                  <a:lnTo>
                    <a:pt x="179" y="3"/>
                  </a:lnTo>
                  <a:lnTo>
                    <a:pt x="16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2" name="Freeform 57"/>
            <p:cNvSpPr>
              <a:spLocks/>
            </p:cNvSpPr>
            <p:nvPr/>
          </p:nvSpPr>
          <p:spPr bwMode="auto">
            <a:xfrm>
              <a:off x="7374833" y="3196478"/>
              <a:ext cx="96428" cy="153999"/>
            </a:xfrm>
            <a:custGeom>
              <a:avLst/>
              <a:gdLst>
                <a:gd name="T0" fmla="*/ 32 w 67"/>
                <a:gd name="T1" fmla="*/ 0 h 107"/>
                <a:gd name="T2" fmla="*/ 24 w 67"/>
                <a:gd name="T3" fmla="*/ 20 h 107"/>
                <a:gd name="T4" fmla="*/ 0 w 67"/>
                <a:gd name="T5" fmla="*/ 27 h 107"/>
                <a:gd name="T6" fmla="*/ 10 w 67"/>
                <a:gd name="T7" fmla="*/ 42 h 107"/>
                <a:gd name="T8" fmla="*/ 7 w 67"/>
                <a:gd name="T9" fmla="*/ 57 h 107"/>
                <a:gd name="T10" fmla="*/ 24 w 67"/>
                <a:gd name="T11" fmla="*/ 64 h 107"/>
                <a:gd name="T12" fmla="*/ 20 w 67"/>
                <a:gd name="T13" fmla="*/ 99 h 107"/>
                <a:gd name="T14" fmla="*/ 39 w 67"/>
                <a:gd name="T15" fmla="*/ 107 h 107"/>
                <a:gd name="T16" fmla="*/ 67 w 67"/>
                <a:gd name="T17" fmla="*/ 89 h 107"/>
                <a:gd name="T18" fmla="*/ 67 w 67"/>
                <a:gd name="T19" fmla="*/ 47 h 107"/>
                <a:gd name="T20" fmla="*/ 32 w 67"/>
                <a:gd name="T2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107">
                  <a:moveTo>
                    <a:pt x="32" y="0"/>
                  </a:moveTo>
                  <a:lnTo>
                    <a:pt x="24" y="20"/>
                  </a:lnTo>
                  <a:lnTo>
                    <a:pt x="0" y="27"/>
                  </a:lnTo>
                  <a:lnTo>
                    <a:pt x="10" y="42"/>
                  </a:lnTo>
                  <a:lnTo>
                    <a:pt x="7" y="57"/>
                  </a:lnTo>
                  <a:lnTo>
                    <a:pt x="24" y="64"/>
                  </a:lnTo>
                  <a:lnTo>
                    <a:pt x="20" y="99"/>
                  </a:lnTo>
                  <a:lnTo>
                    <a:pt x="39" y="107"/>
                  </a:lnTo>
                  <a:lnTo>
                    <a:pt x="67" y="89"/>
                  </a:lnTo>
                  <a:lnTo>
                    <a:pt x="67" y="47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3" name="Freeform 58"/>
            <p:cNvSpPr>
              <a:spLocks/>
            </p:cNvSpPr>
            <p:nvPr/>
          </p:nvSpPr>
          <p:spPr bwMode="auto">
            <a:xfrm>
              <a:off x="7646848" y="2669718"/>
              <a:ext cx="92111" cy="189979"/>
            </a:xfrm>
            <a:custGeom>
              <a:avLst/>
              <a:gdLst>
                <a:gd name="T0" fmla="*/ 2 w 64"/>
                <a:gd name="T1" fmla="*/ 10 h 132"/>
                <a:gd name="T2" fmla="*/ 2 w 64"/>
                <a:gd name="T3" fmla="*/ 25 h 132"/>
                <a:gd name="T4" fmla="*/ 7 w 64"/>
                <a:gd name="T5" fmla="*/ 43 h 132"/>
                <a:gd name="T6" fmla="*/ 14 w 64"/>
                <a:gd name="T7" fmla="*/ 62 h 132"/>
                <a:gd name="T8" fmla="*/ 19 w 64"/>
                <a:gd name="T9" fmla="*/ 87 h 132"/>
                <a:gd name="T10" fmla="*/ 32 w 64"/>
                <a:gd name="T11" fmla="*/ 100 h 132"/>
                <a:gd name="T12" fmla="*/ 24 w 64"/>
                <a:gd name="T13" fmla="*/ 117 h 132"/>
                <a:gd name="T14" fmla="*/ 27 w 64"/>
                <a:gd name="T15" fmla="*/ 125 h 132"/>
                <a:gd name="T16" fmla="*/ 34 w 64"/>
                <a:gd name="T17" fmla="*/ 125 h 132"/>
                <a:gd name="T18" fmla="*/ 54 w 64"/>
                <a:gd name="T19" fmla="*/ 132 h 132"/>
                <a:gd name="T20" fmla="*/ 64 w 64"/>
                <a:gd name="T21" fmla="*/ 125 h 132"/>
                <a:gd name="T22" fmla="*/ 57 w 64"/>
                <a:gd name="T23" fmla="*/ 102 h 132"/>
                <a:gd name="T24" fmla="*/ 42 w 64"/>
                <a:gd name="T25" fmla="*/ 67 h 132"/>
                <a:gd name="T26" fmla="*/ 52 w 64"/>
                <a:gd name="T27" fmla="*/ 70 h 132"/>
                <a:gd name="T28" fmla="*/ 37 w 64"/>
                <a:gd name="T29" fmla="*/ 45 h 132"/>
                <a:gd name="T30" fmla="*/ 24 w 64"/>
                <a:gd name="T31" fmla="*/ 28 h 132"/>
                <a:gd name="T32" fmla="*/ 19 w 64"/>
                <a:gd name="T33" fmla="*/ 3 h 132"/>
                <a:gd name="T34" fmla="*/ 0 w 64"/>
                <a:gd name="T35" fmla="*/ 0 h 132"/>
                <a:gd name="T36" fmla="*/ 2 w 64"/>
                <a:gd name="T37" fmla="*/ 10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32">
                  <a:moveTo>
                    <a:pt x="2" y="10"/>
                  </a:moveTo>
                  <a:lnTo>
                    <a:pt x="2" y="25"/>
                  </a:lnTo>
                  <a:lnTo>
                    <a:pt x="7" y="43"/>
                  </a:lnTo>
                  <a:lnTo>
                    <a:pt x="14" y="62"/>
                  </a:lnTo>
                  <a:lnTo>
                    <a:pt x="19" y="87"/>
                  </a:lnTo>
                  <a:lnTo>
                    <a:pt x="32" y="100"/>
                  </a:lnTo>
                  <a:lnTo>
                    <a:pt x="24" y="117"/>
                  </a:lnTo>
                  <a:lnTo>
                    <a:pt x="27" y="125"/>
                  </a:lnTo>
                  <a:lnTo>
                    <a:pt x="34" y="125"/>
                  </a:lnTo>
                  <a:lnTo>
                    <a:pt x="54" y="132"/>
                  </a:lnTo>
                  <a:lnTo>
                    <a:pt x="64" y="125"/>
                  </a:lnTo>
                  <a:lnTo>
                    <a:pt x="57" y="102"/>
                  </a:lnTo>
                  <a:lnTo>
                    <a:pt x="42" y="67"/>
                  </a:lnTo>
                  <a:lnTo>
                    <a:pt x="52" y="70"/>
                  </a:lnTo>
                  <a:lnTo>
                    <a:pt x="37" y="45"/>
                  </a:lnTo>
                  <a:lnTo>
                    <a:pt x="24" y="28"/>
                  </a:lnTo>
                  <a:lnTo>
                    <a:pt x="19" y="3"/>
                  </a:lnTo>
                  <a:lnTo>
                    <a:pt x="0" y="0"/>
                  </a:lnTo>
                  <a:lnTo>
                    <a:pt x="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4" name="Freeform 59"/>
            <p:cNvSpPr>
              <a:spLocks/>
            </p:cNvSpPr>
            <p:nvPr/>
          </p:nvSpPr>
          <p:spPr bwMode="auto">
            <a:xfrm>
              <a:off x="5975897" y="3385018"/>
              <a:ext cx="722496" cy="751281"/>
            </a:xfrm>
            <a:custGeom>
              <a:avLst/>
              <a:gdLst>
                <a:gd name="T0" fmla="*/ 499 w 502"/>
                <a:gd name="T1" fmla="*/ 130 h 522"/>
                <a:gd name="T2" fmla="*/ 464 w 502"/>
                <a:gd name="T3" fmla="*/ 157 h 522"/>
                <a:gd name="T4" fmla="*/ 440 w 502"/>
                <a:gd name="T5" fmla="*/ 199 h 522"/>
                <a:gd name="T6" fmla="*/ 430 w 502"/>
                <a:gd name="T7" fmla="*/ 224 h 522"/>
                <a:gd name="T8" fmla="*/ 420 w 502"/>
                <a:gd name="T9" fmla="*/ 174 h 522"/>
                <a:gd name="T10" fmla="*/ 380 w 502"/>
                <a:gd name="T11" fmla="*/ 160 h 522"/>
                <a:gd name="T12" fmla="*/ 345 w 502"/>
                <a:gd name="T13" fmla="*/ 182 h 522"/>
                <a:gd name="T14" fmla="*/ 358 w 502"/>
                <a:gd name="T15" fmla="*/ 234 h 522"/>
                <a:gd name="T16" fmla="*/ 333 w 502"/>
                <a:gd name="T17" fmla="*/ 242 h 522"/>
                <a:gd name="T18" fmla="*/ 328 w 502"/>
                <a:gd name="T19" fmla="*/ 271 h 522"/>
                <a:gd name="T20" fmla="*/ 293 w 502"/>
                <a:gd name="T21" fmla="*/ 299 h 522"/>
                <a:gd name="T22" fmla="*/ 263 w 502"/>
                <a:gd name="T23" fmla="*/ 321 h 522"/>
                <a:gd name="T24" fmla="*/ 233 w 502"/>
                <a:gd name="T25" fmla="*/ 358 h 522"/>
                <a:gd name="T26" fmla="*/ 216 w 502"/>
                <a:gd name="T27" fmla="*/ 438 h 522"/>
                <a:gd name="T28" fmla="*/ 216 w 502"/>
                <a:gd name="T29" fmla="*/ 470 h 522"/>
                <a:gd name="T30" fmla="*/ 191 w 502"/>
                <a:gd name="T31" fmla="*/ 513 h 522"/>
                <a:gd name="T32" fmla="*/ 161 w 502"/>
                <a:gd name="T33" fmla="*/ 515 h 522"/>
                <a:gd name="T34" fmla="*/ 136 w 502"/>
                <a:gd name="T35" fmla="*/ 443 h 522"/>
                <a:gd name="T36" fmla="*/ 94 w 502"/>
                <a:gd name="T37" fmla="*/ 356 h 522"/>
                <a:gd name="T38" fmla="*/ 84 w 502"/>
                <a:gd name="T39" fmla="*/ 274 h 522"/>
                <a:gd name="T40" fmla="*/ 72 w 502"/>
                <a:gd name="T41" fmla="*/ 224 h 522"/>
                <a:gd name="T42" fmla="*/ 59 w 502"/>
                <a:gd name="T43" fmla="*/ 254 h 522"/>
                <a:gd name="T44" fmla="*/ 12 w 502"/>
                <a:gd name="T45" fmla="*/ 227 h 522"/>
                <a:gd name="T46" fmla="*/ 10 w 502"/>
                <a:gd name="T47" fmla="*/ 214 h 522"/>
                <a:gd name="T48" fmla="*/ 10 w 502"/>
                <a:gd name="T49" fmla="*/ 189 h 522"/>
                <a:gd name="T50" fmla="*/ 47 w 502"/>
                <a:gd name="T51" fmla="*/ 172 h 522"/>
                <a:gd name="T52" fmla="*/ 12 w 502"/>
                <a:gd name="T53" fmla="*/ 132 h 522"/>
                <a:gd name="T54" fmla="*/ 29 w 502"/>
                <a:gd name="T55" fmla="*/ 105 h 522"/>
                <a:gd name="T56" fmla="*/ 64 w 502"/>
                <a:gd name="T57" fmla="*/ 102 h 522"/>
                <a:gd name="T58" fmla="*/ 87 w 502"/>
                <a:gd name="T59" fmla="*/ 73 h 522"/>
                <a:gd name="T60" fmla="*/ 104 w 502"/>
                <a:gd name="T61" fmla="*/ 43 h 522"/>
                <a:gd name="T62" fmla="*/ 129 w 502"/>
                <a:gd name="T63" fmla="*/ 0 h 522"/>
                <a:gd name="T64" fmla="*/ 161 w 502"/>
                <a:gd name="T65" fmla="*/ 13 h 522"/>
                <a:gd name="T66" fmla="*/ 189 w 502"/>
                <a:gd name="T67" fmla="*/ 50 h 522"/>
                <a:gd name="T68" fmla="*/ 206 w 502"/>
                <a:gd name="T69" fmla="*/ 95 h 522"/>
                <a:gd name="T70" fmla="*/ 243 w 502"/>
                <a:gd name="T71" fmla="*/ 117 h 522"/>
                <a:gd name="T72" fmla="*/ 290 w 502"/>
                <a:gd name="T73" fmla="*/ 132 h 522"/>
                <a:gd name="T74" fmla="*/ 325 w 502"/>
                <a:gd name="T75" fmla="*/ 140 h 522"/>
                <a:gd name="T76" fmla="*/ 353 w 502"/>
                <a:gd name="T77" fmla="*/ 122 h 522"/>
                <a:gd name="T78" fmla="*/ 382 w 502"/>
                <a:gd name="T79" fmla="*/ 115 h 522"/>
                <a:gd name="T80" fmla="*/ 420 w 502"/>
                <a:gd name="T81" fmla="*/ 100 h 522"/>
                <a:gd name="T82" fmla="*/ 469 w 502"/>
                <a:gd name="T83" fmla="*/ 90 h 522"/>
                <a:gd name="T84" fmla="*/ 502 w 502"/>
                <a:gd name="T85" fmla="*/ 117 h 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502" h="522">
                  <a:moveTo>
                    <a:pt x="502" y="117"/>
                  </a:moveTo>
                  <a:lnTo>
                    <a:pt x="499" y="130"/>
                  </a:lnTo>
                  <a:lnTo>
                    <a:pt x="477" y="140"/>
                  </a:lnTo>
                  <a:lnTo>
                    <a:pt x="464" y="157"/>
                  </a:lnTo>
                  <a:lnTo>
                    <a:pt x="457" y="182"/>
                  </a:lnTo>
                  <a:lnTo>
                    <a:pt x="440" y="199"/>
                  </a:lnTo>
                  <a:lnTo>
                    <a:pt x="440" y="234"/>
                  </a:lnTo>
                  <a:lnTo>
                    <a:pt x="430" y="224"/>
                  </a:lnTo>
                  <a:lnTo>
                    <a:pt x="422" y="197"/>
                  </a:lnTo>
                  <a:lnTo>
                    <a:pt x="420" y="174"/>
                  </a:lnTo>
                  <a:lnTo>
                    <a:pt x="397" y="162"/>
                  </a:lnTo>
                  <a:lnTo>
                    <a:pt x="380" y="160"/>
                  </a:lnTo>
                  <a:lnTo>
                    <a:pt x="358" y="145"/>
                  </a:lnTo>
                  <a:lnTo>
                    <a:pt x="345" y="182"/>
                  </a:lnTo>
                  <a:lnTo>
                    <a:pt x="358" y="184"/>
                  </a:lnTo>
                  <a:lnTo>
                    <a:pt x="358" y="234"/>
                  </a:lnTo>
                  <a:lnTo>
                    <a:pt x="348" y="234"/>
                  </a:lnTo>
                  <a:lnTo>
                    <a:pt x="333" y="242"/>
                  </a:lnTo>
                  <a:lnTo>
                    <a:pt x="333" y="266"/>
                  </a:lnTo>
                  <a:lnTo>
                    <a:pt x="328" y="271"/>
                  </a:lnTo>
                  <a:lnTo>
                    <a:pt x="315" y="289"/>
                  </a:lnTo>
                  <a:lnTo>
                    <a:pt x="293" y="299"/>
                  </a:lnTo>
                  <a:lnTo>
                    <a:pt x="281" y="314"/>
                  </a:lnTo>
                  <a:lnTo>
                    <a:pt x="263" y="321"/>
                  </a:lnTo>
                  <a:lnTo>
                    <a:pt x="253" y="346"/>
                  </a:lnTo>
                  <a:lnTo>
                    <a:pt x="233" y="358"/>
                  </a:lnTo>
                  <a:lnTo>
                    <a:pt x="208" y="373"/>
                  </a:lnTo>
                  <a:lnTo>
                    <a:pt x="216" y="438"/>
                  </a:lnTo>
                  <a:lnTo>
                    <a:pt x="208" y="440"/>
                  </a:lnTo>
                  <a:lnTo>
                    <a:pt x="216" y="470"/>
                  </a:lnTo>
                  <a:lnTo>
                    <a:pt x="203" y="490"/>
                  </a:lnTo>
                  <a:lnTo>
                    <a:pt x="191" y="513"/>
                  </a:lnTo>
                  <a:lnTo>
                    <a:pt x="171" y="522"/>
                  </a:lnTo>
                  <a:lnTo>
                    <a:pt x="161" y="515"/>
                  </a:lnTo>
                  <a:lnTo>
                    <a:pt x="159" y="490"/>
                  </a:lnTo>
                  <a:lnTo>
                    <a:pt x="136" y="443"/>
                  </a:lnTo>
                  <a:lnTo>
                    <a:pt x="116" y="388"/>
                  </a:lnTo>
                  <a:lnTo>
                    <a:pt x="94" y="356"/>
                  </a:lnTo>
                  <a:lnTo>
                    <a:pt x="84" y="314"/>
                  </a:lnTo>
                  <a:lnTo>
                    <a:pt x="84" y="274"/>
                  </a:lnTo>
                  <a:lnTo>
                    <a:pt x="82" y="244"/>
                  </a:lnTo>
                  <a:lnTo>
                    <a:pt x="72" y="224"/>
                  </a:lnTo>
                  <a:lnTo>
                    <a:pt x="72" y="242"/>
                  </a:lnTo>
                  <a:lnTo>
                    <a:pt x="59" y="254"/>
                  </a:lnTo>
                  <a:lnTo>
                    <a:pt x="34" y="254"/>
                  </a:lnTo>
                  <a:lnTo>
                    <a:pt x="12" y="227"/>
                  </a:lnTo>
                  <a:lnTo>
                    <a:pt x="24" y="214"/>
                  </a:lnTo>
                  <a:lnTo>
                    <a:pt x="10" y="214"/>
                  </a:lnTo>
                  <a:lnTo>
                    <a:pt x="0" y="199"/>
                  </a:lnTo>
                  <a:lnTo>
                    <a:pt x="10" y="189"/>
                  </a:lnTo>
                  <a:lnTo>
                    <a:pt x="44" y="189"/>
                  </a:lnTo>
                  <a:lnTo>
                    <a:pt x="47" y="172"/>
                  </a:lnTo>
                  <a:lnTo>
                    <a:pt x="27" y="147"/>
                  </a:lnTo>
                  <a:lnTo>
                    <a:pt x="12" y="132"/>
                  </a:lnTo>
                  <a:lnTo>
                    <a:pt x="19" y="115"/>
                  </a:lnTo>
                  <a:lnTo>
                    <a:pt x="29" y="105"/>
                  </a:lnTo>
                  <a:lnTo>
                    <a:pt x="59" y="115"/>
                  </a:lnTo>
                  <a:lnTo>
                    <a:pt x="64" y="102"/>
                  </a:lnTo>
                  <a:lnTo>
                    <a:pt x="67" y="90"/>
                  </a:lnTo>
                  <a:lnTo>
                    <a:pt x="87" y="73"/>
                  </a:lnTo>
                  <a:lnTo>
                    <a:pt x="94" y="55"/>
                  </a:lnTo>
                  <a:lnTo>
                    <a:pt x="104" y="43"/>
                  </a:lnTo>
                  <a:lnTo>
                    <a:pt x="104" y="15"/>
                  </a:lnTo>
                  <a:lnTo>
                    <a:pt x="129" y="0"/>
                  </a:lnTo>
                  <a:lnTo>
                    <a:pt x="149" y="0"/>
                  </a:lnTo>
                  <a:lnTo>
                    <a:pt x="161" y="13"/>
                  </a:lnTo>
                  <a:lnTo>
                    <a:pt x="161" y="45"/>
                  </a:lnTo>
                  <a:lnTo>
                    <a:pt x="189" y="50"/>
                  </a:lnTo>
                  <a:lnTo>
                    <a:pt x="203" y="65"/>
                  </a:lnTo>
                  <a:lnTo>
                    <a:pt x="206" y="95"/>
                  </a:lnTo>
                  <a:lnTo>
                    <a:pt x="221" y="112"/>
                  </a:lnTo>
                  <a:lnTo>
                    <a:pt x="243" y="117"/>
                  </a:lnTo>
                  <a:lnTo>
                    <a:pt x="271" y="130"/>
                  </a:lnTo>
                  <a:lnTo>
                    <a:pt x="290" y="132"/>
                  </a:lnTo>
                  <a:lnTo>
                    <a:pt x="308" y="142"/>
                  </a:lnTo>
                  <a:lnTo>
                    <a:pt x="325" y="140"/>
                  </a:lnTo>
                  <a:lnTo>
                    <a:pt x="343" y="140"/>
                  </a:lnTo>
                  <a:lnTo>
                    <a:pt x="353" y="122"/>
                  </a:lnTo>
                  <a:lnTo>
                    <a:pt x="363" y="105"/>
                  </a:lnTo>
                  <a:lnTo>
                    <a:pt x="382" y="115"/>
                  </a:lnTo>
                  <a:lnTo>
                    <a:pt x="410" y="115"/>
                  </a:lnTo>
                  <a:lnTo>
                    <a:pt x="420" y="100"/>
                  </a:lnTo>
                  <a:lnTo>
                    <a:pt x="442" y="90"/>
                  </a:lnTo>
                  <a:lnTo>
                    <a:pt x="469" y="90"/>
                  </a:lnTo>
                  <a:lnTo>
                    <a:pt x="489" y="100"/>
                  </a:lnTo>
                  <a:lnTo>
                    <a:pt x="502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5" name="Freeform 60"/>
            <p:cNvSpPr>
              <a:spLocks/>
            </p:cNvSpPr>
            <p:nvPr/>
          </p:nvSpPr>
          <p:spPr bwMode="auto">
            <a:xfrm>
              <a:off x="6472432" y="3593707"/>
              <a:ext cx="136728" cy="149680"/>
            </a:xfrm>
            <a:custGeom>
              <a:avLst/>
              <a:gdLst>
                <a:gd name="T0" fmla="*/ 95 w 95"/>
                <a:gd name="T1" fmla="*/ 89 h 104"/>
                <a:gd name="T2" fmla="*/ 87 w 95"/>
                <a:gd name="T3" fmla="*/ 104 h 104"/>
                <a:gd name="T4" fmla="*/ 77 w 95"/>
                <a:gd name="T5" fmla="*/ 102 h 104"/>
                <a:gd name="T6" fmla="*/ 62 w 95"/>
                <a:gd name="T7" fmla="*/ 82 h 104"/>
                <a:gd name="T8" fmla="*/ 65 w 95"/>
                <a:gd name="T9" fmla="*/ 64 h 104"/>
                <a:gd name="T10" fmla="*/ 55 w 95"/>
                <a:gd name="T11" fmla="*/ 49 h 104"/>
                <a:gd name="T12" fmla="*/ 50 w 95"/>
                <a:gd name="T13" fmla="*/ 64 h 104"/>
                <a:gd name="T14" fmla="*/ 35 w 95"/>
                <a:gd name="T15" fmla="*/ 72 h 104"/>
                <a:gd name="T16" fmla="*/ 35 w 95"/>
                <a:gd name="T17" fmla="*/ 92 h 104"/>
                <a:gd name="T18" fmla="*/ 13 w 95"/>
                <a:gd name="T19" fmla="*/ 89 h 104"/>
                <a:gd name="T20" fmla="*/ 13 w 95"/>
                <a:gd name="T21" fmla="*/ 39 h 104"/>
                <a:gd name="T22" fmla="*/ 0 w 95"/>
                <a:gd name="T23" fmla="*/ 37 h 104"/>
                <a:gd name="T24" fmla="*/ 13 w 95"/>
                <a:gd name="T25" fmla="*/ 0 h 104"/>
                <a:gd name="T26" fmla="*/ 35 w 95"/>
                <a:gd name="T27" fmla="*/ 15 h 104"/>
                <a:gd name="T28" fmla="*/ 52 w 95"/>
                <a:gd name="T29" fmla="*/ 17 h 104"/>
                <a:gd name="T30" fmla="*/ 75 w 95"/>
                <a:gd name="T31" fmla="*/ 29 h 104"/>
                <a:gd name="T32" fmla="*/ 77 w 95"/>
                <a:gd name="T33" fmla="*/ 52 h 104"/>
                <a:gd name="T34" fmla="*/ 85 w 95"/>
                <a:gd name="T35" fmla="*/ 79 h 104"/>
                <a:gd name="T36" fmla="*/ 95 w 95"/>
                <a:gd name="T37" fmla="*/ 89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5" h="104">
                  <a:moveTo>
                    <a:pt x="95" y="89"/>
                  </a:moveTo>
                  <a:lnTo>
                    <a:pt x="87" y="104"/>
                  </a:lnTo>
                  <a:lnTo>
                    <a:pt x="77" y="102"/>
                  </a:lnTo>
                  <a:lnTo>
                    <a:pt x="62" y="82"/>
                  </a:lnTo>
                  <a:lnTo>
                    <a:pt x="65" y="64"/>
                  </a:lnTo>
                  <a:lnTo>
                    <a:pt x="55" y="49"/>
                  </a:lnTo>
                  <a:lnTo>
                    <a:pt x="50" y="64"/>
                  </a:lnTo>
                  <a:lnTo>
                    <a:pt x="35" y="72"/>
                  </a:lnTo>
                  <a:lnTo>
                    <a:pt x="35" y="92"/>
                  </a:lnTo>
                  <a:lnTo>
                    <a:pt x="13" y="89"/>
                  </a:lnTo>
                  <a:lnTo>
                    <a:pt x="13" y="39"/>
                  </a:lnTo>
                  <a:lnTo>
                    <a:pt x="0" y="37"/>
                  </a:lnTo>
                  <a:lnTo>
                    <a:pt x="13" y="0"/>
                  </a:lnTo>
                  <a:lnTo>
                    <a:pt x="35" y="15"/>
                  </a:lnTo>
                  <a:lnTo>
                    <a:pt x="52" y="17"/>
                  </a:lnTo>
                  <a:lnTo>
                    <a:pt x="75" y="29"/>
                  </a:lnTo>
                  <a:lnTo>
                    <a:pt x="77" y="52"/>
                  </a:lnTo>
                  <a:lnTo>
                    <a:pt x="85" y="79"/>
                  </a:lnTo>
                  <a:lnTo>
                    <a:pt x="95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6" name="Freeform 61"/>
            <p:cNvSpPr>
              <a:spLocks/>
            </p:cNvSpPr>
            <p:nvPr/>
          </p:nvSpPr>
          <p:spPr bwMode="auto">
            <a:xfrm>
              <a:off x="3975359" y="3300103"/>
              <a:ext cx="260501" cy="246110"/>
            </a:xfrm>
            <a:custGeom>
              <a:avLst/>
              <a:gdLst>
                <a:gd name="T0" fmla="*/ 147 w 181"/>
                <a:gd name="T1" fmla="*/ 25 h 171"/>
                <a:gd name="T2" fmla="*/ 167 w 181"/>
                <a:gd name="T3" fmla="*/ 20 h 171"/>
                <a:gd name="T4" fmla="*/ 181 w 181"/>
                <a:gd name="T5" fmla="*/ 35 h 171"/>
                <a:gd name="T6" fmla="*/ 171 w 181"/>
                <a:gd name="T7" fmla="*/ 50 h 171"/>
                <a:gd name="T8" fmla="*/ 181 w 181"/>
                <a:gd name="T9" fmla="*/ 57 h 171"/>
                <a:gd name="T10" fmla="*/ 174 w 181"/>
                <a:gd name="T11" fmla="*/ 87 h 171"/>
                <a:gd name="T12" fmla="*/ 154 w 181"/>
                <a:gd name="T13" fmla="*/ 89 h 171"/>
                <a:gd name="T14" fmla="*/ 152 w 181"/>
                <a:gd name="T15" fmla="*/ 102 h 171"/>
                <a:gd name="T16" fmla="*/ 162 w 181"/>
                <a:gd name="T17" fmla="*/ 112 h 171"/>
                <a:gd name="T18" fmla="*/ 139 w 181"/>
                <a:gd name="T19" fmla="*/ 129 h 171"/>
                <a:gd name="T20" fmla="*/ 122 w 181"/>
                <a:gd name="T21" fmla="*/ 146 h 171"/>
                <a:gd name="T22" fmla="*/ 109 w 181"/>
                <a:gd name="T23" fmla="*/ 154 h 171"/>
                <a:gd name="T24" fmla="*/ 97 w 181"/>
                <a:gd name="T25" fmla="*/ 154 h 171"/>
                <a:gd name="T26" fmla="*/ 92 w 181"/>
                <a:gd name="T27" fmla="*/ 161 h 171"/>
                <a:gd name="T28" fmla="*/ 77 w 181"/>
                <a:gd name="T29" fmla="*/ 161 h 171"/>
                <a:gd name="T30" fmla="*/ 77 w 181"/>
                <a:gd name="T31" fmla="*/ 171 h 171"/>
                <a:gd name="T32" fmla="*/ 57 w 181"/>
                <a:gd name="T33" fmla="*/ 171 h 171"/>
                <a:gd name="T34" fmla="*/ 60 w 181"/>
                <a:gd name="T35" fmla="*/ 164 h 171"/>
                <a:gd name="T36" fmla="*/ 47 w 181"/>
                <a:gd name="T37" fmla="*/ 164 h 171"/>
                <a:gd name="T38" fmla="*/ 0 w 181"/>
                <a:gd name="T39" fmla="*/ 164 h 171"/>
                <a:gd name="T40" fmla="*/ 12 w 181"/>
                <a:gd name="T41" fmla="*/ 149 h 171"/>
                <a:gd name="T42" fmla="*/ 22 w 181"/>
                <a:gd name="T43" fmla="*/ 144 h 171"/>
                <a:gd name="T44" fmla="*/ 32 w 181"/>
                <a:gd name="T45" fmla="*/ 134 h 171"/>
                <a:gd name="T46" fmla="*/ 40 w 181"/>
                <a:gd name="T47" fmla="*/ 79 h 171"/>
                <a:gd name="T48" fmla="*/ 45 w 181"/>
                <a:gd name="T49" fmla="*/ 62 h 171"/>
                <a:gd name="T50" fmla="*/ 52 w 181"/>
                <a:gd name="T51" fmla="*/ 64 h 171"/>
                <a:gd name="T52" fmla="*/ 55 w 181"/>
                <a:gd name="T53" fmla="*/ 50 h 171"/>
                <a:gd name="T54" fmla="*/ 84 w 181"/>
                <a:gd name="T55" fmla="*/ 50 h 171"/>
                <a:gd name="T56" fmla="*/ 84 w 181"/>
                <a:gd name="T57" fmla="*/ 35 h 171"/>
                <a:gd name="T58" fmla="*/ 94 w 181"/>
                <a:gd name="T59" fmla="*/ 25 h 171"/>
                <a:gd name="T60" fmla="*/ 102 w 181"/>
                <a:gd name="T61" fmla="*/ 12 h 171"/>
                <a:gd name="T62" fmla="*/ 104 w 181"/>
                <a:gd name="T63" fmla="*/ 0 h 171"/>
                <a:gd name="T64" fmla="*/ 119 w 181"/>
                <a:gd name="T65" fmla="*/ 10 h 171"/>
                <a:gd name="T66" fmla="*/ 134 w 181"/>
                <a:gd name="T67" fmla="*/ 10 h 171"/>
                <a:gd name="T68" fmla="*/ 147 w 181"/>
                <a:gd name="T69" fmla="*/ 25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1" h="171">
                  <a:moveTo>
                    <a:pt x="147" y="25"/>
                  </a:moveTo>
                  <a:lnTo>
                    <a:pt x="167" y="20"/>
                  </a:lnTo>
                  <a:lnTo>
                    <a:pt x="181" y="35"/>
                  </a:lnTo>
                  <a:lnTo>
                    <a:pt x="171" y="50"/>
                  </a:lnTo>
                  <a:lnTo>
                    <a:pt x="181" y="57"/>
                  </a:lnTo>
                  <a:lnTo>
                    <a:pt x="174" y="87"/>
                  </a:lnTo>
                  <a:lnTo>
                    <a:pt x="154" y="89"/>
                  </a:lnTo>
                  <a:lnTo>
                    <a:pt x="152" y="102"/>
                  </a:lnTo>
                  <a:lnTo>
                    <a:pt x="162" y="112"/>
                  </a:lnTo>
                  <a:lnTo>
                    <a:pt x="139" y="129"/>
                  </a:lnTo>
                  <a:lnTo>
                    <a:pt x="122" y="146"/>
                  </a:lnTo>
                  <a:lnTo>
                    <a:pt x="109" y="154"/>
                  </a:lnTo>
                  <a:lnTo>
                    <a:pt x="97" y="154"/>
                  </a:lnTo>
                  <a:lnTo>
                    <a:pt x="92" y="161"/>
                  </a:lnTo>
                  <a:lnTo>
                    <a:pt x="77" y="161"/>
                  </a:lnTo>
                  <a:lnTo>
                    <a:pt x="77" y="171"/>
                  </a:lnTo>
                  <a:lnTo>
                    <a:pt x="57" y="171"/>
                  </a:lnTo>
                  <a:lnTo>
                    <a:pt x="60" y="164"/>
                  </a:lnTo>
                  <a:lnTo>
                    <a:pt x="47" y="164"/>
                  </a:lnTo>
                  <a:lnTo>
                    <a:pt x="0" y="164"/>
                  </a:lnTo>
                  <a:lnTo>
                    <a:pt x="12" y="149"/>
                  </a:lnTo>
                  <a:lnTo>
                    <a:pt x="22" y="144"/>
                  </a:lnTo>
                  <a:lnTo>
                    <a:pt x="32" y="134"/>
                  </a:lnTo>
                  <a:lnTo>
                    <a:pt x="40" y="79"/>
                  </a:lnTo>
                  <a:lnTo>
                    <a:pt x="45" y="62"/>
                  </a:lnTo>
                  <a:lnTo>
                    <a:pt x="52" y="64"/>
                  </a:lnTo>
                  <a:lnTo>
                    <a:pt x="55" y="50"/>
                  </a:lnTo>
                  <a:lnTo>
                    <a:pt x="84" y="50"/>
                  </a:lnTo>
                  <a:lnTo>
                    <a:pt x="84" y="35"/>
                  </a:lnTo>
                  <a:lnTo>
                    <a:pt x="94" y="25"/>
                  </a:lnTo>
                  <a:lnTo>
                    <a:pt x="102" y="12"/>
                  </a:lnTo>
                  <a:lnTo>
                    <a:pt x="104" y="0"/>
                  </a:lnTo>
                  <a:lnTo>
                    <a:pt x="119" y="10"/>
                  </a:lnTo>
                  <a:lnTo>
                    <a:pt x="134" y="10"/>
                  </a:lnTo>
                  <a:lnTo>
                    <a:pt x="147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7" name="Freeform 62"/>
            <p:cNvSpPr>
              <a:spLocks/>
            </p:cNvSpPr>
            <p:nvPr/>
          </p:nvSpPr>
          <p:spPr bwMode="auto">
            <a:xfrm>
              <a:off x="4057395" y="3256926"/>
              <a:ext cx="500854" cy="568498"/>
            </a:xfrm>
            <a:custGeom>
              <a:avLst/>
              <a:gdLst>
                <a:gd name="T0" fmla="*/ 110 w 348"/>
                <a:gd name="T1" fmla="*/ 50 h 395"/>
                <a:gd name="T2" fmla="*/ 124 w 348"/>
                <a:gd name="T3" fmla="*/ 65 h 395"/>
                <a:gd name="T4" fmla="*/ 114 w 348"/>
                <a:gd name="T5" fmla="*/ 80 h 395"/>
                <a:gd name="T6" fmla="*/ 124 w 348"/>
                <a:gd name="T7" fmla="*/ 87 h 395"/>
                <a:gd name="T8" fmla="*/ 117 w 348"/>
                <a:gd name="T9" fmla="*/ 117 h 395"/>
                <a:gd name="T10" fmla="*/ 97 w 348"/>
                <a:gd name="T11" fmla="*/ 119 h 395"/>
                <a:gd name="T12" fmla="*/ 95 w 348"/>
                <a:gd name="T13" fmla="*/ 132 h 395"/>
                <a:gd name="T14" fmla="*/ 105 w 348"/>
                <a:gd name="T15" fmla="*/ 142 h 395"/>
                <a:gd name="T16" fmla="*/ 82 w 348"/>
                <a:gd name="T17" fmla="*/ 159 h 395"/>
                <a:gd name="T18" fmla="*/ 65 w 348"/>
                <a:gd name="T19" fmla="*/ 176 h 395"/>
                <a:gd name="T20" fmla="*/ 52 w 348"/>
                <a:gd name="T21" fmla="*/ 184 h 395"/>
                <a:gd name="T22" fmla="*/ 40 w 348"/>
                <a:gd name="T23" fmla="*/ 184 h 395"/>
                <a:gd name="T24" fmla="*/ 35 w 348"/>
                <a:gd name="T25" fmla="*/ 191 h 395"/>
                <a:gd name="T26" fmla="*/ 20 w 348"/>
                <a:gd name="T27" fmla="*/ 191 h 395"/>
                <a:gd name="T28" fmla="*/ 20 w 348"/>
                <a:gd name="T29" fmla="*/ 201 h 395"/>
                <a:gd name="T30" fmla="*/ 0 w 348"/>
                <a:gd name="T31" fmla="*/ 201 h 395"/>
                <a:gd name="T32" fmla="*/ 37 w 348"/>
                <a:gd name="T33" fmla="*/ 246 h 395"/>
                <a:gd name="T34" fmla="*/ 57 w 348"/>
                <a:gd name="T35" fmla="*/ 258 h 395"/>
                <a:gd name="T36" fmla="*/ 179 w 348"/>
                <a:gd name="T37" fmla="*/ 358 h 395"/>
                <a:gd name="T38" fmla="*/ 197 w 348"/>
                <a:gd name="T39" fmla="*/ 365 h 395"/>
                <a:gd name="T40" fmla="*/ 201 w 348"/>
                <a:gd name="T41" fmla="*/ 395 h 395"/>
                <a:gd name="T42" fmla="*/ 216 w 348"/>
                <a:gd name="T43" fmla="*/ 390 h 395"/>
                <a:gd name="T44" fmla="*/ 219 w 348"/>
                <a:gd name="T45" fmla="*/ 380 h 395"/>
                <a:gd name="T46" fmla="*/ 246 w 348"/>
                <a:gd name="T47" fmla="*/ 380 h 395"/>
                <a:gd name="T48" fmla="*/ 261 w 348"/>
                <a:gd name="T49" fmla="*/ 365 h 395"/>
                <a:gd name="T50" fmla="*/ 271 w 348"/>
                <a:gd name="T51" fmla="*/ 360 h 395"/>
                <a:gd name="T52" fmla="*/ 274 w 348"/>
                <a:gd name="T53" fmla="*/ 348 h 395"/>
                <a:gd name="T54" fmla="*/ 303 w 348"/>
                <a:gd name="T55" fmla="*/ 338 h 395"/>
                <a:gd name="T56" fmla="*/ 311 w 348"/>
                <a:gd name="T57" fmla="*/ 326 h 395"/>
                <a:gd name="T58" fmla="*/ 326 w 348"/>
                <a:gd name="T59" fmla="*/ 313 h 395"/>
                <a:gd name="T60" fmla="*/ 343 w 348"/>
                <a:gd name="T61" fmla="*/ 306 h 395"/>
                <a:gd name="T62" fmla="*/ 348 w 348"/>
                <a:gd name="T63" fmla="*/ 298 h 395"/>
                <a:gd name="T64" fmla="*/ 346 w 348"/>
                <a:gd name="T65" fmla="*/ 281 h 395"/>
                <a:gd name="T66" fmla="*/ 318 w 348"/>
                <a:gd name="T67" fmla="*/ 276 h 395"/>
                <a:gd name="T68" fmla="*/ 308 w 348"/>
                <a:gd name="T69" fmla="*/ 266 h 395"/>
                <a:gd name="T70" fmla="*/ 308 w 348"/>
                <a:gd name="T71" fmla="*/ 246 h 395"/>
                <a:gd name="T72" fmla="*/ 311 w 348"/>
                <a:gd name="T73" fmla="*/ 127 h 395"/>
                <a:gd name="T74" fmla="*/ 301 w 348"/>
                <a:gd name="T75" fmla="*/ 124 h 395"/>
                <a:gd name="T76" fmla="*/ 298 w 348"/>
                <a:gd name="T77" fmla="*/ 104 h 395"/>
                <a:gd name="T78" fmla="*/ 281 w 348"/>
                <a:gd name="T79" fmla="*/ 99 h 395"/>
                <a:gd name="T80" fmla="*/ 274 w 348"/>
                <a:gd name="T81" fmla="*/ 80 h 395"/>
                <a:gd name="T82" fmla="*/ 279 w 348"/>
                <a:gd name="T83" fmla="*/ 60 h 395"/>
                <a:gd name="T84" fmla="*/ 296 w 348"/>
                <a:gd name="T85" fmla="*/ 55 h 395"/>
                <a:gd name="T86" fmla="*/ 286 w 348"/>
                <a:gd name="T87" fmla="*/ 40 h 395"/>
                <a:gd name="T88" fmla="*/ 288 w 348"/>
                <a:gd name="T89" fmla="*/ 27 h 395"/>
                <a:gd name="T90" fmla="*/ 298 w 348"/>
                <a:gd name="T91" fmla="*/ 27 h 395"/>
                <a:gd name="T92" fmla="*/ 293 w 348"/>
                <a:gd name="T93" fmla="*/ 2 h 395"/>
                <a:gd name="T94" fmla="*/ 241 w 348"/>
                <a:gd name="T95" fmla="*/ 0 h 395"/>
                <a:gd name="T96" fmla="*/ 216 w 348"/>
                <a:gd name="T97" fmla="*/ 2 h 395"/>
                <a:gd name="T98" fmla="*/ 197 w 348"/>
                <a:gd name="T99" fmla="*/ 12 h 395"/>
                <a:gd name="T100" fmla="*/ 159 w 348"/>
                <a:gd name="T101" fmla="*/ 15 h 395"/>
                <a:gd name="T102" fmla="*/ 144 w 348"/>
                <a:gd name="T103" fmla="*/ 27 h 395"/>
                <a:gd name="T104" fmla="*/ 119 w 348"/>
                <a:gd name="T105" fmla="*/ 30 h 395"/>
                <a:gd name="T106" fmla="*/ 110 w 348"/>
                <a:gd name="T107" fmla="*/ 50 h 3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48" h="395">
                  <a:moveTo>
                    <a:pt x="110" y="50"/>
                  </a:moveTo>
                  <a:lnTo>
                    <a:pt x="124" y="65"/>
                  </a:lnTo>
                  <a:lnTo>
                    <a:pt x="114" y="80"/>
                  </a:lnTo>
                  <a:lnTo>
                    <a:pt x="124" y="87"/>
                  </a:lnTo>
                  <a:lnTo>
                    <a:pt x="117" y="117"/>
                  </a:lnTo>
                  <a:lnTo>
                    <a:pt x="97" y="119"/>
                  </a:lnTo>
                  <a:lnTo>
                    <a:pt x="95" y="132"/>
                  </a:lnTo>
                  <a:lnTo>
                    <a:pt x="105" y="142"/>
                  </a:lnTo>
                  <a:lnTo>
                    <a:pt x="82" y="159"/>
                  </a:lnTo>
                  <a:lnTo>
                    <a:pt x="65" y="176"/>
                  </a:lnTo>
                  <a:lnTo>
                    <a:pt x="52" y="184"/>
                  </a:lnTo>
                  <a:lnTo>
                    <a:pt x="40" y="184"/>
                  </a:lnTo>
                  <a:lnTo>
                    <a:pt x="35" y="191"/>
                  </a:lnTo>
                  <a:lnTo>
                    <a:pt x="20" y="191"/>
                  </a:lnTo>
                  <a:lnTo>
                    <a:pt x="20" y="201"/>
                  </a:lnTo>
                  <a:lnTo>
                    <a:pt x="0" y="201"/>
                  </a:lnTo>
                  <a:lnTo>
                    <a:pt x="37" y="246"/>
                  </a:lnTo>
                  <a:lnTo>
                    <a:pt x="57" y="258"/>
                  </a:lnTo>
                  <a:lnTo>
                    <a:pt x="179" y="358"/>
                  </a:lnTo>
                  <a:lnTo>
                    <a:pt x="197" y="365"/>
                  </a:lnTo>
                  <a:lnTo>
                    <a:pt x="201" y="395"/>
                  </a:lnTo>
                  <a:lnTo>
                    <a:pt x="216" y="390"/>
                  </a:lnTo>
                  <a:lnTo>
                    <a:pt x="219" y="380"/>
                  </a:lnTo>
                  <a:lnTo>
                    <a:pt x="246" y="380"/>
                  </a:lnTo>
                  <a:lnTo>
                    <a:pt x="261" y="365"/>
                  </a:lnTo>
                  <a:lnTo>
                    <a:pt x="271" y="360"/>
                  </a:lnTo>
                  <a:lnTo>
                    <a:pt x="274" y="348"/>
                  </a:lnTo>
                  <a:lnTo>
                    <a:pt x="303" y="338"/>
                  </a:lnTo>
                  <a:lnTo>
                    <a:pt x="311" y="326"/>
                  </a:lnTo>
                  <a:lnTo>
                    <a:pt x="326" y="313"/>
                  </a:lnTo>
                  <a:lnTo>
                    <a:pt x="343" y="306"/>
                  </a:lnTo>
                  <a:lnTo>
                    <a:pt x="348" y="298"/>
                  </a:lnTo>
                  <a:lnTo>
                    <a:pt x="346" y="281"/>
                  </a:lnTo>
                  <a:lnTo>
                    <a:pt x="318" y="276"/>
                  </a:lnTo>
                  <a:lnTo>
                    <a:pt x="308" y="266"/>
                  </a:lnTo>
                  <a:lnTo>
                    <a:pt x="308" y="246"/>
                  </a:lnTo>
                  <a:lnTo>
                    <a:pt x="311" y="127"/>
                  </a:lnTo>
                  <a:lnTo>
                    <a:pt x="301" y="124"/>
                  </a:lnTo>
                  <a:lnTo>
                    <a:pt x="298" y="104"/>
                  </a:lnTo>
                  <a:lnTo>
                    <a:pt x="281" y="99"/>
                  </a:lnTo>
                  <a:lnTo>
                    <a:pt x="274" y="80"/>
                  </a:lnTo>
                  <a:lnTo>
                    <a:pt x="279" y="60"/>
                  </a:lnTo>
                  <a:lnTo>
                    <a:pt x="296" y="55"/>
                  </a:lnTo>
                  <a:lnTo>
                    <a:pt x="286" y="40"/>
                  </a:lnTo>
                  <a:lnTo>
                    <a:pt x="288" y="27"/>
                  </a:lnTo>
                  <a:lnTo>
                    <a:pt x="298" y="27"/>
                  </a:lnTo>
                  <a:lnTo>
                    <a:pt x="293" y="2"/>
                  </a:lnTo>
                  <a:lnTo>
                    <a:pt x="241" y="0"/>
                  </a:lnTo>
                  <a:lnTo>
                    <a:pt x="216" y="2"/>
                  </a:lnTo>
                  <a:lnTo>
                    <a:pt x="197" y="12"/>
                  </a:lnTo>
                  <a:lnTo>
                    <a:pt x="159" y="15"/>
                  </a:lnTo>
                  <a:lnTo>
                    <a:pt x="144" y="27"/>
                  </a:lnTo>
                  <a:lnTo>
                    <a:pt x="119" y="30"/>
                  </a:lnTo>
                  <a:lnTo>
                    <a:pt x="11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8" name="Freeform 63"/>
            <p:cNvSpPr>
              <a:spLocks/>
            </p:cNvSpPr>
            <p:nvPr/>
          </p:nvSpPr>
          <p:spPr bwMode="auto">
            <a:xfrm>
              <a:off x="5345511" y="4716311"/>
              <a:ext cx="200053" cy="415939"/>
            </a:xfrm>
            <a:custGeom>
              <a:avLst/>
              <a:gdLst>
                <a:gd name="T0" fmla="*/ 107 w 139"/>
                <a:gd name="T1" fmla="*/ 3 h 289"/>
                <a:gd name="T2" fmla="*/ 104 w 139"/>
                <a:gd name="T3" fmla="*/ 28 h 289"/>
                <a:gd name="T4" fmla="*/ 100 w 139"/>
                <a:gd name="T5" fmla="*/ 32 h 289"/>
                <a:gd name="T6" fmla="*/ 97 w 139"/>
                <a:gd name="T7" fmla="*/ 50 h 289"/>
                <a:gd name="T8" fmla="*/ 85 w 139"/>
                <a:gd name="T9" fmla="*/ 50 h 289"/>
                <a:gd name="T10" fmla="*/ 80 w 139"/>
                <a:gd name="T11" fmla="*/ 57 h 289"/>
                <a:gd name="T12" fmla="*/ 77 w 139"/>
                <a:gd name="T13" fmla="*/ 67 h 289"/>
                <a:gd name="T14" fmla="*/ 67 w 139"/>
                <a:gd name="T15" fmla="*/ 75 h 289"/>
                <a:gd name="T16" fmla="*/ 65 w 139"/>
                <a:gd name="T17" fmla="*/ 85 h 289"/>
                <a:gd name="T18" fmla="*/ 57 w 139"/>
                <a:gd name="T19" fmla="*/ 85 h 289"/>
                <a:gd name="T20" fmla="*/ 55 w 139"/>
                <a:gd name="T21" fmla="*/ 75 h 289"/>
                <a:gd name="T22" fmla="*/ 45 w 139"/>
                <a:gd name="T23" fmla="*/ 75 h 289"/>
                <a:gd name="T24" fmla="*/ 42 w 139"/>
                <a:gd name="T25" fmla="*/ 82 h 289"/>
                <a:gd name="T26" fmla="*/ 30 w 139"/>
                <a:gd name="T27" fmla="*/ 87 h 289"/>
                <a:gd name="T28" fmla="*/ 27 w 139"/>
                <a:gd name="T29" fmla="*/ 102 h 289"/>
                <a:gd name="T30" fmla="*/ 20 w 139"/>
                <a:gd name="T31" fmla="*/ 105 h 289"/>
                <a:gd name="T32" fmla="*/ 22 w 139"/>
                <a:gd name="T33" fmla="*/ 154 h 289"/>
                <a:gd name="T34" fmla="*/ 27 w 139"/>
                <a:gd name="T35" fmla="*/ 157 h 289"/>
                <a:gd name="T36" fmla="*/ 30 w 139"/>
                <a:gd name="T37" fmla="*/ 169 h 289"/>
                <a:gd name="T38" fmla="*/ 25 w 139"/>
                <a:gd name="T39" fmla="*/ 174 h 289"/>
                <a:gd name="T40" fmla="*/ 20 w 139"/>
                <a:gd name="T41" fmla="*/ 192 h 289"/>
                <a:gd name="T42" fmla="*/ 13 w 139"/>
                <a:gd name="T43" fmla="*/ 197 h 289"/>
                <a:gd name="T44" fmla="*/ 10 w 139"/>
                <a:gd name="T45" fmla="*/ 204 h 289"/>
                <a:gd name="T46" fmla="*/ 0 w 139"/>
                <a:gd name="T47" fmla="*/ 206 h 289"/>
                <a:gd name="T48" fmla="*/ 0 w 139"/>
                <a:gd name="T49" fmla="*/ 231 h 289"/>
                <a:gd name="T50" fmla="*/ 13 w 139"/>
                <a:gd name="T51" fmla="*/ 231 h 289"/>
                <a:gd name="T52" fmla="*/ 13 w 139"/>
                <a:gd name="T53" fmla="*/ 279 h 289"/>
                <a:gd name="T54" fmla="*/ 25 w 139"/>
                <a:gd name="T55" fmla="*/ 279 h 289"/>
                <a:gd name="T56" fmla="*/ 30 w 139"/>
                <a:gd name="T57" fmla="*/ 286 h 289"/>
                <a:gd name="T58" fmla="*/ 40 w 139"/>
                <a:gd name="T59" fmla="*/ 289 h 289"/>
                <a:gd name="T60" fmla="*/ 50 w 139"/>
                <a:gd name="T61" fmla="*/ 279 h 289"/>
                <a:gd name="T62" fmla="*/ 62 w 139"/>
                <a:gd name="T63" fmla="*/ 276 h 289"/>
                <a:gd name="T64" fmla="*/ 70 w 139"/>
                <a:gd name="T65" fmla="*/ 271 h 289"/>
                <a:gd name="T66" fmla="*/ 80 w 139"/>
                <a:gd name="T67" fmla="*/ 266 h 289"/>
                <a:gd name="T68" fmla="*/ 85 w 139"/>
                <a:gd name="T69" fmla="*/ 241 h 289"/>
                <a:gd name="T70" fmla="*/ 95 w 139"/>
                <a:gd name="T71" fmla="*/ 239 h 289"/>
                <a:gd name="T72" fmla="*/ 95 w 139"/>
                <a:gd name="T73" fmla="*/ 206 h 289"/>
                <a:gd name="T74" fmla="*/ 100 w 139"/>
                <a:gd name="T75" fmla="*/ 204 h 289"/>
                <a:gd name="T76" fmla="*/ 100 w 139"/>
                <a:gd name="T77" fmla="*/ 162 h 289"/>
                <a:gd name="T78" fmla="*/ 112 w 139"/>
                <a:gd name="T79" fmla="*/ 154 h 289"/>
                <a:gd name="T80" fmla="*/ 119 w 139"/>
                <a:gd name="T81" fmla="*/ 147 h 289"/>
                <a:gd name="T82" fmla="*/ 119 w 139"/>
                <a:gd name="T83" fmla="*/ 112 h 289"/>
                <a:gd name="T84" fmla="*/ 129 w 139"/>
                <a:gd name="T85" fmla="*/ 105 h 289"/>
                <a:gd name="T86" fmla="*/ 132 w 139"/>
                <a:gd name="T87" fmla="*/ 77 h 289"/>
                <a:gd name="T88" fmla="*/ 139 w 139"/>
                <a:gd name="T89" fmla="*/ 77 h 289"/>
                <a:gd name="T90" fmla="*/ 139 w 139"/>
                <a:gd name="T91" fmla="*/ 35 h 289"/>
                <a:gd name="T92" fmla="*/ 129 w 139"/>
                <a:gd name="T93" fmla="*/ 28 h 289"/>
                <a:gd name="T94" fmla="*/ 127 w 139"/>
                <a:gd name="T95" fmla="*/ 8 h 289"/>
                <a:gd name="T96" fmla="*/ 117 w 139"/>
                <a:gd name="T97" fmla="*/ 0 h 289"/>
                <a:gd name="T98" fmla="*/ 107 w 139"/>
                <a:gd name="T99" fmla="*/ 3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39" h="289">
                  <a:moveTo>
                    <a:pt x="107" y="3"/>
                  </a:moveTo>
                  <a:lnTo>
                    <a:pt x="104" y="28"/>
                  </a:lnTo>
                  <a:lnTo>
                    <a:pt x="100" y="32"/>
                  </a:lnTo>
                  <a:lnTo>
                    <a:pt x="97" y="50"/>
                  </a:lnTo>
                  <a:lnTo>
                    <a:pt x="85" y="50"/>
                  </a:lnTo>
                  <a:lnTo>
                    <a:pt x="80" y="57"/>
                  </a:lnTo>
                  <a:lnTo>
                    <a:pt x="77" y="67"/>
                  </a:lnTo>
                  <a:lnTo>
                    <a:pt x="67" y="75"/>
                  </a:lnTo>
                  <a:lnTo>
                    <a:pt x="65" y="85"/>
                  </a:lnTo>
                  <a:lnTo>
                    <a:pt x="57" y="85"/>
                  </a:lnTo>
                  <a:lnTo>
                    <a:pt x="55" y="75"/>
                  </a:lnTo>
                  <a:lnTo>
                    <a:pt x="45" y="75"/>
                  </a:lnTo>
                  <a:lnTo>
                    <a:pt x="42" y="82"/>
                  </a:lnTo>
                  <a:lnTo>
                    <a:pt x="30" y="87"/>
                  </a:lnTo>
                  <a:lnTo>
                    <a:pt x="27" y="102"/>
                  </a:lnTo>
                  <a:lnTo>
                    <a:pt x="20" y="105"/>
                  </a:lnTo>
                  <a:lnTo>
                    <a:pt x="22" y="154"/>
                  </a:lnTo>
                  <a:lnTo>
                    <a:pt x="27" y="157"/>
                  </a:lnTo>
                  <a:lnTo>
                    <a:pt x="30" y="169"/>
                  </a:lnTo>
                  <a:lnTo>
                    <a:pt x="25" y="174"/>
                  </a:lnTo>
                  <a:lnTo>
                    <a:pt x="20" y="192"/>
                  </a:lnTo>
                  <a:lnTo>
                    <a:pt x="13" y="197"/>
                  </a:lnTo>
                  <a:lnTo>
                    <a:pt x="10" y="204"/>
                  </a:lnTo>
                  <a:lnTo>
                    <a:pt x="0" y="206"/>
                  </a:lnTo>
                  <a:lnTo>
                    <a:pt x="0" y="231"/>
                  </a:lnTo>
                  <a:lnTo>
                    <a:pt x="13" y="231"/>
                  </a:lnTo>
                  <a:lnTo>
                    <a:pt x="13" y="279"/>
                  </a:lnTo>
                  <a:lnTo>
                    <a:pt x="25" y="279"/>
                  </a:lnTo>
                  <a:lnTo>
                    <a:pt x="30" y="286"/>
                  </a:lnTo>
                  <a:lnTo>
                    <a:pt x="40" y="289"/>
                  </a:lnTo>
                  <a:lnTo>
                    <a:pt x="50" y="279"/>
                  </a:lnTo>
                  <a:lnTo>
                    <a:pt x="62" y="276"/>
                  </a:lnTo>
                  <a:lnTo>
                    <a:pt x="70" y="271"/>
                  </a:lnTo>
                  <a:lnTo>
                    <a:pt x="80" y="266"/>
                  </a:lnTo>
                  <a:lnTo>
                    <a:pt x="85" y="241"/>
                  </a:lnTo>
                  <a:lnTo>
                    <a:pt x="95" y="239"/>
                  </a:lnTo>
                  <a:lnTo>
                    <a:pt x="95" y="206"/>
                  </a:lnTo>
                  <a:lnTo>
                    <a:pt x="100" y="204"/>
                  </a:lnTo>
                  <a:lnTo>
                    <a:pt x="100" y="162"/>
                  </a:lnTo>
                  <a:lnTo>
                    <a:pt x="112" y="154"/>
                  </a:lnTo>
                  <a:lnTo>
                    <a:pt x="119" y="147"/>
                  </a:lnTo>
                  <a:lnTo>
                    <a:pt x="119" y="112"/>
                  </a:lnTo>
                  <a:lnTo>
                    <a:pt x="129" y="105"/>
                  </a:lnTo>
                  <a:lnTo>
                    <a:pt x="132" y="77"/>
                  </a:lnTo>
                  <a:lnTo>
                    <a:pt x="139" y="77"/>
                  </a:lnTo>
                  <a:lnTo>
                    <a:pt x="139" y="35"/>
                  </a:lnTo>
                  <a:lnTo>
                    <a:pt x="129" y="28"/>
                  </a:lnTo>
                  <a:lnTo>
                    <a:pt x="127" y="8"/>
                  </a:lnTo>
                  <a:lnTo>
                    <a:pt x="117" y="0"/>
                  </a:lnTo>
                  <a:lnTo>
                    <a:pt x="107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59" name="Freeform 64"/>
            <p:cNvSpPr>
              <a:spLocks/>
            </p:cNvSpPr>
            <p:nvPr/>
          </p:nvSpPr>
          <p:spPr bwMode="auto">
            <a:xfrm>
              <a:off x="4440232" y="3972226"/>
              <a:ext cx="240353" cy="368444"/>
            </a:xfrm>
            <a:custGeom>
              <a:avLst/>
              <a:gdLst>
                <a:gd name="T0" fmla="*/ 0 w 167"/>
                <a:gd name="T1" fmla="*/ 194 h 256"/>
                <a:gd name="T2" fmla="*/ 32 w 167"/>
                <a:gd name="T3" fmla="*/ 167 h 256"/>
                <a:gd name="T4" fmla="*/ 42 w 167"/>
                <a:gd name="T5" fmla="*/ 152 h 256"/>
                <a:gd name="T6" fmla="*/ 57 w 167"/>
                <a:gd name="T7" fmla="*/ 139 h 256"/>
                <a:gd name="T8" fmla="*/ 77 w 167"/>
                <a:gd name="T9" fmla="*/ 124 h 256"/>
                <a:gd name="T10" fmla="*/ 87 w 167"/>
                <a:gd name="T11" fmla="*/ 105 h 256"/>
                <a:gd name="T12" fmla="*/ 97 w 167"/>
                <a:gd name="T13" fmla="*/ 70 h 256"/>
                <a:gd name="T14" fmla="*/ 102 w 167"/>
                <a:gd name="T15" fmla="*/ 62 h 256"/>
                <a:gd name="T16" fmla="*/ 112 w 167"/>
                <a:gd name="T17" fmla="*/ 55 h 256"/>
                <a:gd name="T18" fmla="*/ 114 w 167"/>
                <a:gd name="T19" fmla="*/ 30 h 256"/>
                <a:gd name="T20" fmla="*/ 112 w 167"/>
                <a:gd name="T21" fmla="*/ 0 h 256"/>
                <a:gd name="T22" fmla="*/ 119 w 167"/>
                <a:gd name="T23" fmla="*/ 0 h 256"/>
                <a:gd name="T24" fmla="*/ 122 w 167"/>
                <a:gd name="T25" fmla="*/ 13 h 256"/>
                <a:gd name="T26" fmla="*/ 127 w 167"/>
                <a:gd name="T27" fmla="*/ 23 h 256"/>
                <a:gd name="T28" fmla="*/ 134 w 167"/>
                <a:gd name="T29" fmla="*/ 37 h 256"/>
                <a:gd name="T30" fmla="*/ 134 w 167"/>
                <a:gd name="T31" fmla="*/ 47 h 256"/>
                <a:gd name="T32" fmla="*/ 127 w 167"/>
                <a:gd name="T33" fmla="*/ 52 h 256"/>
                <a:gd name="T34" fmla="*/ 132 w 167"/>
                <a:gd name="T35" fmla="*/ 55 h 256"/>
                <a:gd name="T36" fmla="*/ 134 w 167"/>
                <a:gd name="T37" fmla="*/ 67 h 256"/>
                <a:gd name="T38" fmla="*/ 142 w 167"/>
                <a:gd name="T39" fmla="*/ 75 h 256"/>
                <a:gd name="T40" fmla="*/ 139 w 167"/>
                <a:gd name="T41" fmla="*/ 85 h 256"/>
                <a:gd name="T42" fmla="*/ 132 w 167"/>
                <a:gd name="T43" fmla="*/ 90 h 256"/>
                <a:gd name="T44" fmla="*/ 132 w 167"/>
                <a:gd name="T45" fmla="*/ 100 h 256"/>
                <a:gd name="T46" fmla="*/ 147 w 167"/>
                <a:gd name="T47" fmla="*/ 117 h 256"/>
                <a:gd name="T48" fmla="*/ 157 w 167"/>
                <a:gd name="T49" fmla="*/ 137 h 256"/>
                <a:gd name="T50" fmla="*/ 147 w 167"/>
                <a:gd name="T51" fmla="*/ 147 h 256"/>
                <a:gd name="T52" fmla="*/ 139 w 167"/>
                <a:gd name="T53" fmla="*/ 172 h 256"/>
                <a:gd name="T54" fmla="*/ 152 w 167"/>
                <a:gd name="T55" fmla="*/ 192 h 256"/>
                <a:gd name="T56" fmla="*/ 162 w 167"/>
                <a:gd name="T57" fmla="*/ 216 h 256"/>
                <a:gd name="T58" fmla="*/ 167 w 167"/>
                <a:gd name="T59" fmla="*/ 226 h 256"/>
                <a:gd name="T60" fmla="*/ 112 w 167"/>
                <a:gd name="T61" fmla="*/ 234 h 256"/>
                <a:gd name="T62" fmla="*/ 85 w 167"/>
                <a:gd name="T63" fmla="*/ 236 h 256"/>
                <a:gd name="T64" fmla="*/ 75 w 167"/>
                <a:gd name="T65" fmla="*/ 246 h 256"/>
                <a:gd name="T66" fmla="*/ 75 w 167"/>
                <a:gd name="T67" fmla="*/ 254 h 256"/>
                <a:gd name="T68" fmla="*/ 47 w 167"/>
                <a:gd name="T69" fmla="*/ 256 h 256"/>
                <a:gd name="T70" fmla="*/ 45 w 167"/>
                <a:gd name="T71" fmla="*/ 239 h 256"/>
                <a:gd name="T72" fmla="*/ 55 w 167"/>
                <a:gd name="T73" fmla="*/ 219 h 256"/>
                <a:gd name="T74" fmla="*/ 45 w 167"/>
                <a:gd name="T75" fmla="*/ 209 h 256"/>
                <a:gd name="T76" fmla="*/ 27 w 167"/>
                <a:gd name="T77" fmla="*/ 201 h 256"/>
                <a:gd name="T78" fmla="*/ 0 w 167"/>
                <a:gd name="T79" fmla="*/ 194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67" h="256">
                  <a:moveTo>
                    <a:pt x="0" y="194"/>
                  </a:moveTo>
                  <a:lnTo>
                    <a:pt x="32" y="167"/>
                  </a:lnTo>
                  <a:lnTo>
                    <a:pt x="42" y="152"/>
                  </a:lnTo>
                  <a:lnTo>
                    <a:pt x="57" y="139"/>
                  </a:lnTo>
                  <a:lnTo>
                    <a:pt x="77" y="124"/>
                  </a:lnTo>
                  <a:lnTo>
                    <a:pt x="87" y="105"/>
                  </a:lnTo>
                  <a:lnTo>
                    <a:pt x="97" y="70"/>
                  </a:lnTo>
                  <a:lnTo>
                    <a:pt x="102" y="62"/>
                  </a:lnTo>
                  <a:lnTo>
                    <a:pt x="112" y="55"/>
                  </a:lnTo>
                  <a:lnTo>
                    <a:pt x="114" y="30"/>
                  </a:lnTo>
                  <a:lnTo>
                    <a:pt x="112" y="0"/>
                  </a:lnTo>
                  <a:lnTo>
                    <a:pt x="119" y="0"/>
                  </a:lnTo>
                  <a:lnTo>
                    <a:pt x="122" y="13"/>
                  </a:lnTo>
                  <a:lnTo>
                    <a:pt x="127" y="23"/>
                  </a:lnTo>
                  <a:lnTo>
                    <a:pt x="134" y="37"/>
                  </a:lnTo>
                  <a:lnTo>
                    <a:pt x="134" y="47"/>
                  </a:lnTo>
                  <a:lnTo>
                    <a:pt x="127" y="52"/>
                  </a:lnTo>
                  <a:lnTo>
                    <a:pt x="132" y="55"/>
                  </a:lnTo>
                  <a:lnTo>
                    <a:pt x="134" y="67"/>
                  </a:lnTo>
                  <a:lnTo>
                    <a:pt x="142" y="75"/>
                  </a:lnTo>
                  <a:lnTo>
                    <a:pt x="139" y="85"/>
                  </a:lnTo>
                  <a:lnTo>
                    <a:pt x="132" y="90"/>
                  </a:lnTo>
                  <a:lnTo>
                    <a:pt x="132" y="100"/>
                  </a:lnTo>
                  <a:lnTo>
                    <a:pt x="147" y="117"/>
                  </a:lnTo>
                  <a:lnTo>
                    <a:pt x="157" y="137"/>
                  </a:lnTo>
                  <a:lnTo>
                    <a:pt x="147" y="147"/>
                  </a:lnTo>
                  <a:lnTo>
                    <a:pt x="139" y="172"/>
                  </a:lnTo>
                  <a:lnTo>
                    <a:pt x="152" y="192"/>
                  </a:lnTo>
                  <a:lnTo>
                    <a:pt x="162" y="216"/>
                  </a:lnTo>
                  <a:lnTo>
                    <a:pt x="167" y="226"/>
                  </a:lnTo>
                  <a:lnTo>
                    <a:pt x="112" y="234"/>
                  </a:lnTo>
                  <a:lnTo>
                    <a:pt x="85" y="236"/>
                  </a:lnTo>
                  <a:lnTo>
                    <a:pt x="75" y="246"/>
                  </a:lnTo>
                  <a:lnTo>
                    <a:pt x="75" y="254"/>
                  </a:lnTo>
                  <a:lnTo>
                    <a:pt x="47" y="256"/>
                  </a:lnTo>
                  <a:lnTo>
                    <a:pt x="45" y="239"/>
                  </a:lnTo>
                  <a:lnTo>
                    <a:pt x="55" y="219"/>
                  </a:lnTo>
                  <a:lnTo>
                    <a:pt x="45" y="209"/>
                  </a:lnTo>
                  <a:lnTo>
                    <a:pt x="27" y="201"/>
                  </a:lnTo>
                  <a:lnTo>
                    <a:pt x="0" y="19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0" name="Freeform 65"/>
            <p:cNvSpPr>
              <a:spLocks/>
            </p:cNvSpPr>
            <p:nvPr/>
          </p:nvSpPr>
          <p:spPr bwMode="auto">
            <a:xfrm>
              <a:off x="2272743" y="4025478"/>
              <a:ext cx="292165" cy="437528"/>
            </a:xfrm>
            <a:custGeom>
              <a:avLst/>
              <a:gdLst>
                <a:gd name="T0" fmla="*/ 29 w 203"/>
                <a:gd name="T1" fmla="*/ 117 h 304"/>
                <a:gd name="T2" fmla="*/ 32 w 203"/>
                <a:gd name="T3" fmla="*/ 77 h 304"/>
                <a:gd name="T4" fmla="*/ 49 w 203"/>
                <a:gd name="T5" fmla="*/ 92 h 304"/>
                <a:gd name="T6" fmla="*/ 52 w 203"/>
                <a:gd name="T7" fmla="*/ 65 h 304"/>
                <a:gd name="T8" fmla="*/ 69 w 203"/>
                <a:gd name="T9" fmla="*/ 58 h 304"/>
                <a:gd name="T10" fmla="*/ 72 w 203"/>
                <a:gd name="T11" fmla="*/ 38 h 304"/>
                <a:gd name="T12" fmla="*/ 92 w 203"/>
                <a:gd name="T13" fmla="*/ 23 h 304"/>
                <a:gd name="T14" fmla="*/ 111 w 203"/>
                <a:gd name="T15" fmla="*/ 23 h 304"/>
                <a:gd name="T16" fmla="*/ 116 w 203"/>
                <a:gd name="T17" fmla="*/ 5 h 304"/>
                <a:gd name="T18" fmla="*/ 131 w 203"/>
                <a:gd name="T19" fmla="*/ 0 h 304"/>
                <a:gd name="T20" fmla="*/ 139 w 203"/>
                <a:gd name="T21" fmla="*/ 5 h 304"/>
                <a:gd name="T22" fmla="*/ 126 w 203"/>
                <a:gd name="T23" fmla="*/ 23 h 304"/>
                <a:gd name="T24" fmla="*/ 116 w 203"/>
                <a:gd name="T25" fmla="*/ 53 h 304"/>
                <a:gd name="T26" fmla="*/ 107 w 203"/>
                <a:gd name="T27" fmla="*/ 60 h 304"/>
                <a:gd name="T28" fmla="*/ 121 w 203"/>
                <a:gd name="T29" fmla="*/ 82 h 304"/>
                <a:gd name="T30" fmla="*/ 116 w 203"/>
                <a:gd name="T31" fmla="*/ 102 h 304"/>
                <a:gd name="T32" fmla="*/ 149 w 203"/>
                <a:gd name="T33" fmla="*/ 105 h 304"/>
                <a:gd name="T34" fmla="*/ 149 w 203"/>
                <a:gd name="T35" fmla="*/ 117 h 304"/>
                <a:gd name="T36" fmla="*/ 176 w 203"/>
                <a:gd name="T37" fmla="*/ 130 h 304"/>
                <a:gd name="T38" fmla="*/ 203 w 203"/>
                <a:gd name="T39" fmla="*/ 140 h 304"/>
                <a:gd name="T40" fmla="*/ 203 w 203"/>
                <a:gd name="T41" fmla="*/ 174 h 304"/>
                <a:gd name="T42" fmla="*/ 198 w 203"/>
                <a:gd name="T43" fmla="*/ 194 h 304"/>
                <a:gd name="T44" fmla="*/ 201 w 203"/>
                <a:gd name="T45" fmla="*/ 212 h 304"/>
                <a:gd name="T46" fmla="*/ 171 w 203"/>
                <a:gd name="T47" fmla="*/ 222 h 304"/>
                <a:gd name="T48" fmla="*/ 164 w 203"/>
                <a:gd name="T49" fmla="*/ 234 h 304"/>
                <a:gd name="T50" fmla="*/ 171 w 203"/>
                <a:gd name="T51" fmla="*/ 244 h 304"/>
                <a:gd name="T52" fmla="*/ 164 w 203"/>
                <a:gd name="T53" fmla="*/ 251 h 304"/>
                <a:gd name="T54" fmla="*/ 166 w 203"/>
                <a:gd name="T55" fmla="*/ 286 h 304"/>
                <a:gd name="T56" fmla="*/ 166 w 203"/>
                <a:gd name="T57" fmla="*/ 301 h 304"/>
                <a:gd name="T58" fmla="*/ 149 w 203"/>
                <a:gd name="T59" fmla="*/ 304 h 304"/>
                <a:gd name="T60" fmla="*/ 134 w 203"/>
                <a:gd name="T61" fmla="*/ 291 h 304"/>
                <a:gd name="T62" fmla="*/ 102 w 203"/>
                <a:gd name="T63" fmla="*/ 289 h 304"/>
                <a:gd name="T64" fmla="*/ 87 w 203"/>
                <a:gd name="T65" fmla="*/ 269 h 304"/>
                <a:gd name="T66" fmla="*/ 69 w 203"/>
                <a:gd name="T67" fmla="*/ 256 h 304"/>
                <a:gd name="T68" fmla="*/ 54 w 203"/>
                <a:gd name="T69" fmla="*/ 244 h 304"/>
                <a:gd name="T70" fmla="*/ 27 w 203"/>
                <a:gd name="T71" fmla="*/ 247 h 304"/>
                <a:gd name="T72" fmla="*/ 0 w 203"/>
                <a:gd name="T73" fmla="*/ 232 h 304"/>
                <a:gd name="T74" fmla="*/ 15 w 203"/>
                <a:gd name="T75" fmla="*/ 212 h 304"/>
                <a:gd name="T76" fmla="*/ 17 w 203"/>
                <a:gd name="T77" fmla="*/ 199 h 304"/>
                <a:gd name="T78" fmla="*/ 34 w 203"/>
                <a:gd name="T79" fmla="*/ 197 h 304"/>
                <a:gd name="T80" fmla="*/ 29 w 203"/>
                <a:gd name="T81" fmla="*/ 117 h 3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03" h="304">
                  <a:moveTo>
                    <a:pt x="29" y="117"/>
                  </a:moveTo>
                  <a:lnTo>
                    <a:pt x="32" y="77"/>
                  </a:lnTo>
                  <a:lnTo>
                    <a:pt x="49" y="92"/>
                  </a:lnTo>
                  <a:lnTo>
                    <a:pt x="52" y="65"/>
                  </a:lnTo>
                  <a:lnTo>
                    <a:pt x="69" y="58"/>
                  </a:lnTo>
                  <a:lnTo>
                    <a:pt x="72" y="38"/>
                  </a:lnTo>
                  <a:lnTo>
                    <a:pt x="92" y="23"/>
                  </a:lnTo>
                  <a:lnTo>
                    <a:pt x="111" y="23"/>
                  </a:lnTo>
                  <a:lnTo>
                    <a:pt x="116" y="5"/>
                  </a:lnTo>
                  <a:lnTo>
                    <a:pt x="131" y="0"/>
                  </a:lnTo>
                  <a:lnTo>
                    <a:pt x="139" y="5"/>
                  </a:lnTo>
                  <a:lnTo>
                    <a:pt x="126" y="23"/>
                  </a:lnTo>
                  <a:lnTo>
                    <a:pt x="116" y="53"/>
                  </a:lnTo>
                  <a:lnTo>
                    <a:pt x="107" y="60"/>
                  </a:lnTo>
                  <a:lnTo>
                    <a:pt x="121" y="82"/>
                  </a:lnTo>
                  <a:lnTo>
                    <a:pt x="116" y="102"/>
                  </a:lnTo>
                  <a:lnTo>
                    <a:pt x="149" y="105"/>
                  </a:lnTo>
                  <a:lnTo>
                    <a:pt x="149" y="117"/>
                  </a:lnTo>
                  <a:lnTo>
                    <a:pt x="176" y="130"/>
                  </a:lnTo>
                  <a:lnTo>
                    <a:pt x="203" y="140"/>
                  </a:lnTo>
                  <a:lnTo>
                    <a:pt x="203" y="174"/>
                  </a:lnTo>
                  <a:lnTo>
                    <a:pt x="198" y="194"/>
                  </a:lnTo>
                  <a:lnTo>
                    <a:pt x="201" y="212"/>
                  </a:lnTo>
                  <a:lnTo>
                    <a:pt x="171" y="222"/>
                  </a:lnTo>
                  <a:lnTo>
                    <a:pt x="164" y="234"/>
                  </a:lnTo>
                  <a:lnTo>
                    <a:pt x="171" y="244"/>
                  </a:lnTo>
                  <a:lnTo>
                    <a:pt x="164" y="251"/>
                  </a:lnTo>
                  <a:lnTo>
                    <a:pt x="166" y="286"/>
                  </a:lnTo>
                  <a:lnTo>
                    <a:pt x="166" y="301"/>
                  </a:lnTo>
                  <a:lnTo>
                    <a:pt x="149" y="304"/>
                  </a:lnTo>
                  <a:lnTo>
                    <a:pt x="134" y="291"/>
                  </a:lnTo>
                  <a:lnTo>
                    <a:pt x="102" y="289"/>
                  </a:lnTo>
                  <a:lnTo>
                    <a:pt x="87" y="269"/>
                  </a:lnTo>
                  <a:lnTo>
                    <a:pt x="69" y="256"/>
                  </a:lnTo>
                  <a:lnTo>
                    <a:pt x="54" y="244"/>
                  </a:lnTo>
                  <a:lnTo>
                    <a:pt x="27" y="247"/>
                  </a:lnTo>
                  <a:lnTo>
                    <a:pt x="0" y="232"/>
                  </a:lnTo>
                  <a:lnTo>
                    <a:pt x="15" y="212"/>
                  </a:lnTo>
                  <a:lnTo>
                    <a:pt x="17" y="199"/>
                  </a:lnTo>
                  <a:lnTo>
                    <a:pt x="34" y="197"/>
                  </a:lnTo>
                  <a:lnTo>
                    <a:pt x="29" y="1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1" name="Freeform 66"/>
            <p:cNvSpPr>
              <a:spLocks/>
            </p:cNvSpPr>
            <p:nvPr/>
          </p:nvSpPr>
          <p:spPr bwMode="auto">
            <a:xfrm>
              <a:off x="5453454" y="2676915"/>
              <a:ext cx="936943" cy="476386"/>
            </a:xfrm>
            <a:custGeom>
              <a:avLst/>
              <a:gdLst>
                <a:gd name="T0" fmla="*/ 636 w 651"/>
                <a:gd name="T1" fmla="*/ 95 h 331"/>
                <a:gd name="T2" fmla="*/ 596 w 651"/>
                <a:gd name="T3" fmla="*/ 70 h 331"/>
                <a:gd name="T4" fmla="*/ 554 w 651"/>
                <a:gd name="T5" fmla="*/ 20 h 331"/>
                <a:gd name="T6" fmla="*/ 502 w 651"/>
                <a:gd name="T7" fmla="*/ 30 h 331"/>
                <a:gd name="T8" fmla="*/ 482 w 651"/>
                <a:gd name="T9" fmla="*/ 13 h 331"/>
                <a:gd name="T10" fmla="*/ 432 w 651"/>
                <a:gd name="T11" fmla="*/ 5 h 331"/>
                <a:gd name="T12" fmla="*/ 363 w 651"/>
                <a:gd name="T13" fmla="*/ 8 h 331"/>
                <a:gd name="T14" fmla="*/ 325 w 651"/>
                <a:gd name="T15" fmla="*/ 5 h 331"/>
                <a:gd name="T16" fmla="*/ 310 w 651"/>
                <a:gd name="T17" fmla="*/ 40 h 331"/>
                <a:gd name="T18" fmla="*/ 293 w 651"/>
                <a:gd name="T19" fmla="*/ 48 h 331"/>
                <a:gd name="T20" fmla="*/ 293 w 651"/>
                <a:gd name="T21" fmla="*/ 52 h 331"/>
                <a:gd name="T22" fmla="*/ 300 w 651"/>
                <a:gd name="T23" fmla="*/ 72 h 331"/>
                <a:gd name="T24" fmla="*/ 273 w 651"/>
                <a:gd name="T25" fmla="*/ 77 h 331"/>
                <a:gd name="T26" fmla="*/ 218 w 651"/>
                <a:gd name="T27" fmla="*/ 60 h 331"/>
                <a:gd name="T28" fmla="*/ 204 w 651"/>
                <a:gd name="T29" fmla="*/ 43 h 331"/>
                <a:gd name="T30" fmla="*/ 131 w 651"/>
                <a:gd name="T31" fmla="*/ 13 h 331"/>
                <a:gd name="T32" fmla="*/ 82 w 651"/>
                <a:gd name="T33" fmla="*/ 15 h 331"/>
                <a:gd name="T34" fmla="*/ 54 w 651"/>
                <a:gd name="T35" fmla="*/ 8 h 331"/>
                <a:gd name="T36" fmla="*/ 0 w 651"/>
                <a:gd name="T37" fmla="*/ 70 h 331"/>
                <a:gd name="T38" fmla="*/ 29 w 651"/>
                <a:gd name="T39" fmla="*/ 105 h 331"/>
                <a:gd name="T40" fmla="*/ 15 w 651"/>
                <a:gd name="T41" fmla="*/ 147 h 331"/>
                <a:gd name="T42" fmla="*/ 29 w 651"/>
                <a:gd name="T43" fmla="*/ 172 h 331"/>
                <a:gd name="T44" fmla="*/ 59 w 651"/>
                <a:gd name="T45" fmla="*/ 169 h 331"/>
                <a:gd name="T46" fmla="*/ 67 w 651"/>
                <a:gd name="T47" fmla="*/ 199 h 331"/>
                <a:gd name="T48" fmla="*/ 47 w 651"/>
                <a:gd name="T49" fmla="*/ 209 h 331"/>
                <a:gd name="T50" fmla="*/ 37 w 651"/>
                <a:gd name="T51" fmla="*/ 234 h 331"/>
                <a:gd name="T52" fmla="*/ 25 w 651"/>
                <a:gd name="T53" fmla="*/ 246 h 331"/>
                <a:gd name="T54" fmla="*/ 59 w 651"/>
                <a:gd name="T55" fmla="*/ 264 h 331"/>
                <a:gd name="T56" fmla="*/ 72 w 651"/>
                <a:gd name="T57" fmla="*/ 279 h 331"/>
                <a:gd name="T58" fmla="*/ 99 w 651"/>
                <a:gd name="T59" fmla="*/ 306 h 331"/>
                <a:gd name="T60" fmla="*/ 129 w 651"/>
                <a:gd name="T61" fmla="*/ 304 h 331"/>
                <a:gd name="T62" fmla="*/ 146 w 651"/>
                <a:gd name="T63" fmla="*/ 321 h 331"/>
                <a:gd name="T64" fmla="*/ 196 w 651"/>
                <a:gd name="T65" fmla="*/ 202 h 331"/>
                <a:gd name="T66" fmla="*/ 213 w 651"/>
                <a:gd name="T67" fmla="*/ 177 h 331"/>
                <a:gd name="T68" fmla="*/ 248 w 651"/>
                <a:gd name="T69" fmla="*/ 207 h 331"/>
                <a:gd name="T70" fmla="*/ 251 w 651"/>
                <a:gd name="T71" fmla="*/ 226 h 331"/>
                <a:gd name="T72" fmla="*/ 268 w 651"/>
                <a:gd name="T73" fmla="*/ 264 h 331"/>
                <a:gd name="T74" fmla="*/ 310 w 651"/>
                <a:gd name="T75" fmla="*/ 261 h 331"/>
                <a:gd name="T76" fmla="*/ 333 w 651"/>
                <a:gd name="T77" fmla="*/ 296 h 331"/>
                <a:gd name="T78" fmla="*/ 363 w 651"/>
                <a:gd name="T79" fmla="*/ 323 h 331"/>
                <a:gd name="T80" fmla="*/ 392 w 651"/>
                <a:gd name="T81" fmla="*/ 316 h 331"/>
                <a:gd name="T82" fmla="*/ 442 w 651"/>
                <a:gd name="T83" fmla="*/ 291 h 331"/>
                <a:gd name="T84" fmla="*/ 412 w 651"/>
                <a:gd name="T85" fmla="*/ 281 h 331"/>
                <a:gd name="T86" fmla="*/ 405 w 651"/>
                <a:gd name="T87" fmla="*/ 256 h 331"/>
                <a:gd name="T88" fmla="*/ 402 w 651"/>
                <a:gd name="T89" fmla="*/ 239 h 331"/>
                <a:gd name="T90" fmla="*/ 432 w 651"/>
                <a:gd name="T91" fmla="*/ 246 h 331"/>
                <a:gd name="T92" fmla="*/ 462 w 651"/>
                <a:gd name="T93" fmla="*/ 226 h 331"/>
                <a:gd name="T94" fmla="*/ 514 w 651"/>
                <a:gd name="T95" fmla="*/ 231 h 331"/>
                <a:gd name="T96" fmla="*/ 557 w 651"/>
                <a:gd name="T97" fmla="*/ 249 h 331"/>
                <a:gd name="T98" fmla="*/ 564 w 651"/>
                <a:gd name="T99" fmla="*/ 217 h 331"/>
                <a:gd name="T100" fmla="*/ 606 w 651"/>
                <a:gd name="T101" fmla="*/ 212 h 331"/>
                <a:gd name="T102" fmla="*/ 621 w 651"/>
                <a:gd name="T103" fmla="*/ 164 h 331"/>
                <a:gd name="T104" fmla="*/ 641 w 651"/>
                <a:gd name="T105" fmla="*/ 147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651" h="331">
                  <a:moveTo>
                    <a:pt x="651" y="139"/>
                  </a:moveTo>
                  <a:lnTo>
                    <a:pt x="636" y="95"/>
                  </a:lnTo>
                  <a:lnTo>
                    <a:pt x="606" y="85"/>
                  </a:lnTo>
                  <a:lnTo>
                    <a:pt x="596" y="70"/>
                  </a:lnTo>
                  <a:lnTo>
                    <a:pt x="579" y="70"/>
                  </a:lnTo>
                  <a:lnTo>
                    <a:pt x="554" y="20"/>
                  </a:lnTo>
                  <a:lnTo>
                    <a:pt x="529" y="20"/>
                  </a:lnTo>
                  <a:lnTo>
                    <a:pt x="502" y="30"/>
                  </a:lnTo>
                  <a:lnTo>
                    <a:pt x="482" y="28"/>
                  </a:lnTo>
                  <a:lnTo>
                    <a:pt x="482" y="13"/>
                  </a:lnTo>
                  <a:lnTo>
                    <a:pt x="465" y="0"/>
                  </a:lnTo>
                  <a:lnTo>
                    <a:pt x="432" y="5"/>
                  </a:lnTo>
                  <a:lnTo>
                    <a:pt x="405" y="13"/>
                  </a:lnTo>
                  <a:lnTo>
                    <a:pt x="363" y="8"/>
                  </a:lnTo>
                  <a:lnTo>
                    <a:pt x="338" y="3"/>
                  </a:lnTo>
                  <a:lnTo>
                    <a:pt x="325" y="5"/>
                  </a:lnTo>
                  <a:lnTo>
                    <a:pt x="330" y="30"/>
                  </a:lnTo>
                  <a:lnTo>
                    <a:pt x="310" y="40"/>
                  </a:lnTo>
                  <a:lnTo>
                    <a:pt x="303" y="45"/>
                  </a:lnTo>
                  <a:lnTo>
                    <a:pt x="293" y="48"/>
                  </a:lnTo>
                  <a:lnTo>
                    <a:pt x="291" y="50"/>
                  </a:lnTo>
                  <a:lnTo>
                    <a:pt x="293" y="52"/>
                  </a:lnTo>
                  <a:lnTo>
                    <a:pt x="295" y="60"/>
                  </a:lnTo>
                  <a:lnTo>
                    <a:pt x="300" y="72"/>
                  </a:lnTo>
                  <a:lnTo>
                    <a:pt x="291" y="82"/>
                  </a:lnTo>
                  <a:lnTo>
                    <a:pt x="273" y="77"/>
                  </a:lnTo>
                  <a:lnTo>
                    <a:pt x="241" y="57"/>
                  </a:lnTo>
                  <a:lnTo>
                    <a:pt x="218" y="60"/>
                  </a:lnTo>
                  <a:lnTo>
                    <a:pt x="201" y="55"/>
                  </a:lnTo>
                  <a:lnTo>
                    <a:pt x="204" y="43"/>
                  </a:lnTo>
                  <a:lnTo>
                    <a:pt x="159" y="15"/>
                  </a:lnTo>
                  <a:lnTo>
                    <a:pt x="131" y="13"/>
                  </a:lnTo>
                  <a:lnTo>
                    <a:pt x="104" y="8"/>
                  </a:lnTo>
                  <a:lnTo>
                    <a:pt x="82" y="15"/>
                  </a:lnTo>
                  <a:lnTo>
                    <a:pt x="74" y="30"/>
                  </a:lnTo>
                  <a:lnTo>
                    <a:pt x="54" y="8"/>
                  </a:lnTo>
                  <a:lnTo>
                    <a:pt x="25" y="43"/>
                  </a:lnTo>
                  <a:lnTo>
                    <a:pt x="0" y="70"/>
                  </a:lnTo>
                  <a:lnTo>
                    <a:pt x="7" y="92"/>
                  </a:lnTo>
                  <a:lnTo>
                    <a:pt x="29" y="105"/>
                  </a:lnTo>
                  <a:lnTo>
                    <a:pt x="32" y="127"/>
                  </a:lnTo>
                  <a:lnTo>
                    <a:pt x="15" y="147"/>
                  </a:lnTo>
                  <a:lnTo>
                    <a:pt x="7" y="177"/>
                  </a:lnTo>
                  <a:lnTo>
                    <a:pt x="29" y="172"/>
                  </a:lnTo>
                  <a:lnTo>
                    <a:pt x="54" y="179"/>
                  </a:lnTo>
                  <a:lnTo>
                    <a:pt x="59" y="169"/>
                  </a:lnTo>
                  <a:lnTo>
                    <a:pt x="72" y="177"/>
                  </a:lnTo>
                  <a:lnTo>
                    <a:pt x="67" y="199"/>
                  </a:lnTo>
                  <a:lnTo>
                    <a:pt x="72" y="209"/>
                  </a:lnTo>
                  <a:lnTo>
                    <a:pt x="47" y="209"/>
                  </a:lnTo>
                  <a:lnTo>
                    <a:pt x="37" y="219"/>
                  </a:lnTo>
                  <a:lnTo>
                    <a:pt x="37" y="234"/>
                  </a:lnTo>
                  <a:lnTo>
                    <a:pt x="22" y="234"/>
                  </a:lnTo>
                  <a:lnTo>
                    <a:pt x="25" y="246"/>
                  </a:lnTo>
                  <a:lnTo>
                    <a:pt x="32" y="264"/>
                  </a:lnTo>
                  <a:lnTo>
                    <a:pt x="59" y="264"/>
                  </a:lnTo>
                  <a:lnTo>
                    <a:pt x="67" y="296"/>
                  </a:lnTo>
                  <a:lnTo>
                    <a:pt x="72" y="279"/>
                  </a:lnTo>
                  <a:lnTo>
                    <a:pt x="94" y="281"/>
                  </a:lnTo>
                  <a:lnTo>
                    <a:pt x="99" y="306"/>
                  </a:lnTo>
                  <a:lnTo>
                    <a:pt x="114" y="299"/>
                  </a:lnTo>
                  <a:lnTo>
                    <a:pt x="129" y="304"/>
                  </a:lnTo>
                  <a:lnTo>
                    <a:pt x="129" y="316"/>
                  </a:lnTo>
                  <a:lnTo>
                    <a:pt x="146" y="321"/>
                  </a:lnTo>
                  <a:lnTo>
                    <a:pt x="159" y="231"/>
                  </a:lnTo>
                  <a:lnTo>
                    <a:pt x="196" y="202"/>
                  </a:lnTo>
                  <a:lnTo>
                    <a:pt x="213" y="199"/>
                  </a:lnTo>
                  <a:lnTo>
                    <a:pt x="213" y="177"/>
                  </a:lnTo>
                  <a:lnTo>
                    <a:pt x="248" y="177"/>
                  </a:lnTo>
                  <a:lnTo>
                    <a:pt x="248" y="207"/>
                  </a:lnTo>
                  <a:lnTo>
                    <a:pt x="258" y="219"/>
                  </a:lnTo>
                  <a:lnTo>
                    <a:pt x="251" y="226"/>
                  </a:lnTo>
                  <a:lnTo>
                    <a:pt x="263" y="249"/>
                  </a:lnTo>
                  <a:lnTo>
                    <a:pt x="268" y="264"/>
                  </a:lnTo>
                  <a:lnTo>
                    <a:pt x="291" y="256"/>
                  </a:lnTo>
                  <a:lnTo>
                    <a:pt x="310" y="261"/>
                  </a:lnTo>
                  <a:lnTo>
                    <a:pt x="330" y="269"/>
                  </a:lnTo>
                  <a:lnTo>
                    <a:pt x="333" y="296"/>
                  </a:lnTo>
                  <a:lnTo>
                    <a:pt x="338" y="311"/>
                  </a:lnTo>
                  <a:lnTo>
                    <a:pt x="363" y="323"/>
                  </a:lnTo>
                  <a:lnTo>
                    <a:pt x="373" y="331"/>
                  </a:lnTo>
                  <a:lnTo>
                    <a:pt x="392" y="316"/>
                  </a:lnTo>
                  <a:lnTo>
                    <a:pt x="435" y="301"/>
                  </a:lnTo>
                  <a:lnTo>
                    <a:pt x="442" y="291"/>
                  </a:lnTo>
                  <a:lnTo>
                    <a:pt x="427" y="279"/>
                  </a:lnTo>
                  <a:lnTo>
                    <a:pt x="412" y="281"/>
                  </a:lnTo>
                  <a:lnTo>
                    <a:pt x="397" y="269"/>
                  </a:lnTo>
                  <a:lnTo>
                    <a:pt x="405" y="256"/>
                  </a:lnTo>
                  <a:lnTo>
                    <a:pt x="402" y="244"/>
                  </a:lnTo>
                  <a:lnTo>
                    <a:pt x="402" y="239"/>
                  </a:lnTo>
                  <a:lnTo>
                    <a:pt x="415" y="229"/>
                  </a:lnTo>
                  <a:lnTo>
                    <a:pt x="432" y="246"/>
                  </a:lnTo>
                  <a:lnTo>
                    <a:pt x="440" y="231"/>
                  </a:lnTo>
                  <a:lnTo>
                    <a:pt x="462" y="226"/>
                  </a:lnTo>
                  <a:lnTo>
                    <a:pt x="474" y="239"/>
                  </a:lnTo>
                  <a:lnTo>
                    <a:pt x="514" y="231"/>
                  </a:lnTo>
                  <a:lnTo>
                    <a:pt x="537" y="234"/>
                  </a:lnTo>
                  <a:lnTo>
                    <a:pt x="557" y="249"/>
                  </a:lnTo>
                  <a:lnTo>
                    <a:pt x="564" y="241"/>
                  </a:lnTo>
                  <a:lnTo>
                    <a:pt x="564" y="217"/>
                  </a:lnTo>
                  <a:lnTo>
                    <a:pt x="584" y="207"/>
                  </a:lnTo>
                  <a:lnTo>
                    <a:pt x="606" y="212"/>
                  </a:lnTo>
                  <a:lnTo>
                    <a:pt x="614" y="172"/>
                  </a:lnTo>
                  <a:lnTo>
                    <a:pt x="621" y="164"/>
                  </a:lnTo>
                  <a:lnTo>
                    <a:pt x="636" y="159"/>
                  </a:lnTo>
                  <a:lnTo>
                    <a:pt x="641" y="147"/>
                  </a:lnTo>
                  <a:lnTo>
                    <a:pt x="651" y="13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2" name="Freeform 67"/>
            <p:cNvSpPr>
              <a:spLocks/>
            </p:cNvSpPr>
            <p:nvPr/>
          </p:nvSpPr>
          <p:spPr bwMode="auto">
            <a:xfrm>
              <a:off x="5990289" y="3002182"/>
              <a:ext cx="264819" cy="201493"/>
            </a:xfrm>
            <a:custGeom>
              <a:avLst/>
              <a:gdLst>
                <a:gd name="T0" fmla="*/ 144 w 184"/>
                <a:gd name="T1" fmla="*/ 40 h 140"/>
                <a:gd name="T2" fmla="*/ 156 w 184"/>
                <a:gd name="T3" fmla="*/ 48 h 140"/>
                <a:gd name="T4" fmla="*/ 156 w 184"/>
                <a:gd name="T5" fmla="*/ 95 h 140"/>
                <a:gd name="T6" fmla="*/ 141 w 184"/>
                <a:gd name="T7" fmla="*/ 102 h 140"/>
                <a:gd name="T8" fmla="*/ 134 w 184"/>
                <a:gd name="T9" fmla="*/ 112 h 140"/>
                <a:gd name="T10" fmla="*/ 104 w 184"/>
                <a:gd name="T11" fmla="*/ 120 h 140"/>
                <a:gd name="T12" fmla="*/ 106 w 184"/>
                <a:gd name="T13" fmla="*/ 130 h 140"/>
                <a:gd name="T14" fmla="*/ 99 w 184"/>
                <a:gd name="T15" fmla="*/ 140 h 140"/>
                <a:gd name="T16" fmla="*/ 82 w 184"/>
                <a:gd name="T17" fmla="*/ 95 h 140"/>
                <a:gd name="T18" fmla="*/ 62 w 184"/>
                <a:gd name="T19" fmla="*/ 110 h 140"/>
                <a:gd name="T20" fmla="*/ 42 w 184"/>
                <a:gd name="T21" fmla="*/ 112 h 140"/>
                <a:gd name="T22" fmla="*/ 0 w 184"/>
                <a:gd name="T23" fmla="*/ 105 h 140"/>
                <a:gd name="T24" fmla="*/ 19 w 184"/>
                <a:gd name="T25" fmla="*/ 90 h 140"/>
                <a:gd name="T26" fmla="*/ 62 w 184"/>
                <a:gd name="T27" fmla="*/ 75 h 140"/>
                <a:gd name="T28" fmla="*/ 69 w 184"/>
                <a:gd name="T29" fmla="*/ 65 h 140"/>
                <a:gd name="T30" fmla="*/ 54 w 184"/>
                <a:gd name="T31" fmla="*/ 53 h 140"/>
                <a:gd name="T32" fmla="*/ 39 w 184"/>
                <a:gd name="T33" fmla="*/ 55 h 140"/>
                <a:gd name="T34" fmla="*/ 24 w 184"/>
                <a:gd name="T35" fmla="*/ 43 h 140"/>
                <a:gd name="T36" fmla="*/ 32 w 184"/>
                <a:gd name="T37" fmla="*/ 30 h 140"/>
                <a:gd name="T38" fmla="*/ 29 w 184"/>
                <a:gd name="T39" fmla="*/ 13 h 140"/>
                <a:gd name="T40" fmla="*/ 42 w 184"/>
                <a:gd name="T41" fmla="*/ 3 h 140"/>
                <a:gd name="T42" fmla="*/ 59 w 184"/>
                <a:gd name="T43" fmla="*/ 20 h 140"/>
                <a:gd name="T44" fmla="*/ 67 w 184"/>
                <a:gd name="T45" fmla="*/ 5 h 140"/>
                <a:gd name="T46" fmla="*/ 89 w 184"/>
                <a:gd name="T47" fmla="*/ 0 h 140"/>
                <a:gd name="T48" fmla="*/ 101 w 184"/>
                <a:gd name="T49" fmla="*/ 13 h 140"/>
                <a:gd name="T50" fmla="*/ 141 w 184"/>
                <a:gd name="T51" fmla="*/ 5 h 140"/>
                <a:gd name="T52" fmla="*/ 164 w 184"/>
                <a:gd name="T53" fmla="*/ 8 h 140"/>
                <a:gd name="T54" fmla="*/ 184 w 184"/>
                <a:gd name="T55" fmla="*/ 23 h 140"/>
                <a:gd name="T56" fmla="*/ 144 w 184"/>
                <a:gd name="T57" fmla="*/ 40 h 1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84" h="140">
                  <a:moveTo>
                    <a:pt x="144" y="40"/>
                  </a:moveTo>
                  <a:lnTo>
                    <a:pt x="156" y="48"/>
                  </a:lnTo>
                  <a:lnTo>
                    <a:pt x="156" y="95"/>
                  </a:lnTo>
                  <a:lnTo>
                    <a:pt x="141" y="102"/>
                  </a:lnTo>
                  <a:lnTo>
                    <a:pt x="134" y="112"/>
                  </a:lnTo>
                  <a:lnTo>
                    <a:pt x="104" y="120"/>
                  </a:lnTo>
                  <a:lnTo>
                    <a:pt x="106" y="130"/>
                  </a:lnTo>
                  <a:lnTo>
                    <a:pt x="99" y="140"/>
                  </a:lnTo>
                  <a:lnTo>
                    <a:pt x="82" y="95"/>
                  </a:lnTo>
                  <a:lnTo>
                    <a:pt x="62" y="110"/>
                  </a:lnTo>
                  <a:lnTo>
                    <a:pt x="42" y="112"/>
                  </a:lnTo>
                  <a:lnTo>
                    <a:pt x="0" y="105"/>
                  </a:lnTo>
                  <a:lnTo>
                    <a:pt x="19" y="90"/>
                  </a:lnTo>
                  <a:lnTo>
                    <a:pt x="62" y="75"/>
                  </a:lnTo>
                  <a:lnTo>
                    <a:pt x="69" y="65"/>
                  </a:lnTo>
                  <a:lnTo>
                    <a:pt x="54" y="53"/>
                  </a:lnTo>
                  <a:lnTo>
                    <a:pt x="39" y="55"/>
                  </a:lnTo>
                  <a:lnTo>
                    <a:pt x="24" y="43"/>
                  </a:lnTo>
                  <a:lnTo>
                    <a:pt x="32" y="30"/>
                  </a:lnTo>
                  <a:lnTo>
                    <a:pt x="29" y="13"/>
                  </a:lnTo>
                  <a:lnTo>
                    <a:pt x="42" y="3"/>
                  </a:lnTo>
                  <a:lnTo>
                    <a:pt x="59" y="20"/>
                  </a:lnTo>
                  <a:lnTo>
                    <a:pt x="67" y="5"/>
                  </a:lnTo>
                  <a:lnTo>
                    <a:pt x="89" y="0"/>
                  </a:lnTo>
                  <a:lnTo>
                    <a:pt x="101" y="13"/>
                  </a:lnTo>
                  <a:lnTo>
                    <a:pt x="141" y="5"/>
                  </a:lnTo>
                  <a:lnTo>
                    <a:pt x="164" y="8"/>
                  </a:lnTo>
                  <a:lnTo>
                    <a:pt x="184" y="23"/>
                  </a:lnTo>
                  <a:lnTo>
                    <a:pt x="144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3" name="Freeform 70"/>
            <p:cNvSpPr>
              <a:spLocks/>
            </p:cNvSpPr>
            <p:nvPr/>
          </p:nvSpPr>
          <p:spPr bwMode="auto">
            <a:xfrm>
              <a:off x="5203027" y="2992107"/>
              <a:ext cx="153999" cy="115139"/>
            </a:xfrm>
            <a:custGeom>
              <a:avLst/>
              <a:gdLst>
                <a:gd name="T0" fmla="*/ 0 w 107"/>
                <a:gd name="T1" fmla="*/ 22 h 80"/>
                <a:gd name="T2" fmla="*/ 37 w 107"/>
                <a:gd name="T3" fmla="*/ 0 h 80"/>
                <a:gd name="T4" fmla="*/ 59 w 107"/>
                <a:gd name="T5" fmla="*/ 12 h 80"/>
                <a:gd name="T6" fmla="*/ 74 w 107"/>
                <a:gd name="T7" fmla="*/ 12 h 80"/>
                <a:gd name="T8" fmla="*/ 89 w 107"/>
                <a:gd name="T9" fmla="*/ 27 h 80"/>
                <a:gd name="T10" fmla="*/ 107 w 107"/>
                <a:gd name="T11" fmla="*/ 47 h 80"/>
                <a:gd name="T12" fmla="*/ 97 w 107"/>
                <a:gd name="T13" fmla="*/ 70 h 80"/>
                <a:gd name="T14" fmla="*/ 77 w 107"/>
                <a:gd name="T15" fmla="*/ 77 h 80"/>
                <a:gd name="T16" fmla="*/ 54 w 107"/>
                <a:gd name="T17" fmla="*/ 80 h 80"/>
                <a:gd name="T18" fmla="*/ 49 w 107"/>
                <a:gd name="T19" fmla="*/ 62 h 80"/>
                <a:gd name="T20" fmla="*/ 42 w 107"/>
                <a:gd name="T21" fmla="*/ 47 h 80"/>
                <a:gd name="T22" fmla="*/ 17 w 107"/>
                <a:gd name="T23" fmla="*/ 40 h 80"/>
                <a:gd name="T24" fmla="*/ 0 w 107"/>
                <a:gd name="T25" fmla="*/ 22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7" h="80">
                  <a:moveTo>
                    <a:pt x="0" y="22"/>
                  </a:moveTo>
                  <a:lnTo>
                    <a:pt x="37" y="0"/>
                  </a:lnTo>
                  <a:lnTo>
                    <a:pt x="59" y="12"/>
                  </a:lnTo>
                  <a:lnTo>
                    <a:pt x="74" y="12"/>
                  </a:lnTo>
                  <a:lnTo>
                    <a:pt x="89" y="27"/>
                  </a:lnTo>
                  <a:lnTo>
                    <a:pt x="107" y="47"/>
                  </a:lnTo>
                  <a:lnTo>
                    <a:pt x="97" y="70"/>
                  </a:lnTo>
                  <a:lnTo>
                    <a:pt x="77" y="77"/>
                  </a:lnTo>
                  <a:lnTo>
                    <a:pt x="54" y="80"/>
                  </a:lnTo>
                  <a:lnTo>
                    <a:pt x="49" y="62"/>
                  </a:lnTo>
                  <a:lnTo>
                    <a:pt x="42" y="47"/>
                  </a:lnTo>
                  <a:lnTo>
                    <a:pt x="17" y="40"/>
                  </a:lnTo>
                  <a:lnTo>
                    <a:pt x="0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4" name="Freeform 71"/>
            <p:cNvSpPr>
              <a:spLocks/>
            </p:cNvSpPr>
            <p:nvPr/>
          </p:nvSpPr>
          <p:spPr bwMode="auto">
            <a:xfrm>
              <a:off x="4584155" y="2069557"/>
              <a:ext cx="27346" cy="14392"/>
            </a:xfrm>
            <a:custGeom>
              <a:avLst/>
              <a:gdLst>
                <a:gd name="T0" fmla="*/ 7 w 19"/>
                <a:gd name="T1" fmla="*/ 0 h 10"/>
                <a:gd name="T2" fmla="*/ 0 w 19"/>
                <a:gd name="T3" fmla="*/ 10 h 10"/>
                <a:gd name="T4" fmla="*/ 14 w 19"/>
                <a:gd name="T5" fmla="*/ 10 h 10"/>
                <a:gd name="T6" fmla="*/ 19 w 19"/>
                <a:gd name="T7" fmla="*/ 0 h 10"/>
                <a:gd name="T8" fmla="*/ 7 w 19"/>
                <a:gd name="T9" fmla="*/ 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" h="10">
                  <a:moveTo>
                    <a:pt x="7" y="0"/>
                  </a:moveTo>
                  <a:lnTo>
                    <a:pt x="0" y="10"/>
                  </a:lnTo>
                  <a:lnTo>
                    <a:pt x="14" y="10"/>
                  </a:lnTo>
                  <a:lnTo>
                    <a:pt x="19" y="0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5" name="Freeform 72"/>
            <p:cNvSpPr>
              <a:spLocks/>
            </p:cNvSpPr>
            <p:nvPr/>
          </p:nvSpPr>
          <p:spPr bwMode="auto">
            <a:xfrm>
              <a:off x="4633089" y="2043651"/>
              <a:ext cx="28785" cy="57569"/>
            </a:xfrm>
            <a:custGeom>
              <a:avLst/>
              <a:gdLst>
                <a:gd name="T0" fmla="*/ 0 w 20"/>
                <a:gd name="T1" fmla="*/ 0 h 40"/>
                <a:gd name="T2" fmla="*/ 3 w 20"/>
                <a:gd name="T3" fmla="*/ 18 h 40"/>
                <a:gd name="T4" fmla="*/ 13 w 20"/>
                <a:gd name="T5" fmla="*/ 20 h 40"/>
                <a:gd name="T6" fmla="*/ 15 w 20"/>
                <a:gd name="T7" fmla="*/ 40 h 40"/>
                <a:gd name="T8" fmla="*/ 20 w 20"/>
                <a:gd name="T9" fmla="*/ 28 h 40"/>
                <a:gd name="T10" fmla="*/ 20 w 20"/>
                <a:gd name="T11" fmla="*/ 15 h 40"/>
                <a:gd name="T12" fmla="*/ 18 w 20"/>
                <a:gd name="T13" fmla="*/ 0 h 40"/>
                <a:gd name="T14" fmla="*/ 0 w 20"/>
                <a:gd name="T15" fmla="*/ 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0" h="40">
                  <a:moveTo>
                    <a:pt x="0" y="0"/>
                  </a:moveTo>
                  <a:lnTo>
                    <a:pt x="3" y="18"/>
                  </a:lnTo>
                  <a:lnTo>
                    <a:pt x="13" y="20"/>
                  </a:lnTo>
                  <a:lnTo>
                    <a:pt x="15" y="40"/>
                  </a:lnTo>
                  <a:lnTo>
                    <a:pt x="20" y="28"/>
                  </a:lnTo>
                  <a:lnTo>
                    <a:pt x="20" y="15"/>
                  </a:lnTo>
                  <a:lnTo>
                    <a:pt x="18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6" name="Freeform 73"/>
            <p:cNvSpPr>
              <a:spLocks/>
            </p:cNvSpPr>
            <p:nvPr/>
          </p:nvSpPr>
          <p:spPr bwMode="auto">
            <a:xfrm>
              <a:off x="4676266" y="2047968"/>
              <a:ext cx="21589" cy="21589"/>
            </a:xfrm>
            <a:custGeom>
              <a:avLst/>
              <a:gdLst>
                <a:gd name="T0" fmla="*/ 0 w 15"/>
                <a:gd name="T1" fmla="*/ 5 h 15"/>
                <a:gd name="T2" fmla="*/ 8 w 15"/>
                <a:gd name="T3" fmla="*/ 15 h 15"/>
                <a:gd name="T4" fmla="*/ 15 w 15"/>
                <a:gd name="T5" fmla="*/ 0 h 15"/>
                <a:gd name="T6" fmla="*/ 0 w 15"/>
                <a:gd name="T7" fmla="*/ 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5" h="15">
                  <a:moveTo>
                    <a:pt x="0" y="5"/>
                  </a:moveTo>
                  <a:lnTo>
                    <a:pt x="8" y="15"/>
                  </a:lnTo>
                  <a:lnTo>
                    <a:pt x="15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7" name="Freeform 74"/>
            <p:cNvSpPr>
              <a:spLocks/>
            </p:cNvSpPr>
            <p:nvPr/>
          </p:nvSpPr>
          <p:spPr bwMode="auto">
            <a:xfrm>
              <a:off x="6802018" y="4072973"/>
              <a:ext cx="125213" cy="246109"/>
            </a:xfrm>
            <a:custGeom>
              <a:avLst/>
              <a:gdLst>
                <a:gd name="T0" fmla="*/ 55 w 87"/>
                <a:gd name="T1" fmla="*/ 57 h 171"/>
                <a:gd name="T2" fmla="*/ 30 w 87"/>
                <a:gd name="T3" fmla="*/ 44 h 171"/>
                <a:gd name="T4" fmla="*/ 15 w 87"/>
                <a:gd name="T5" fmla="*/ 0 h 171"/>
                <a:gd name="T6" fmla="*/ 0 w 87"/>
                <a:gd name="T7" fmla="*/ 17 h 171"/>
                <a:gd name="T8" fmla="*/ 2 w 87"/>
                <a:gd name="T9" fmla="*/ 44 h 171"/>
                <a:gd name="T10" fmla="*/ 10 w 87"/>
                <a:gd name="T11" fmla="*/ 114 h 171"/>
                <a:gd name="T12" fmla="*/ 32 w 87"/>
                <a:gd name="T13" fmla="*/ 144 h 171"/>
                <a:gd name="T14" fmla="*/ 50 w 87"/>
                <a:gd name="T15" fmla="*/ 164 h 171"/>
                <a:gd name="T16" fmla="*/ 87 w 87"/>
                <a:gd name="T17" fmla="*/ 171 h 171"/>
                <a:gd name="T18" fmla="*/ 87 w 87"/>
                <a:gd name="T19" fmla="*/ 156 h 171"/>
                <a:gd name="T20" fmla="*/ 82 w 87"/>
                <a:gd name="T21" fmla="*/ 97 h 171"/>
                <a:gd name="T22" fmla="*/ 55 w 87"/>
                <a:gd name="T23" fmla="*/ 57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7" h="171">
                  <a:moveTo>
                    <a:pt x="55" y="57"/>
                  </a:moveTo>
                  <a:lnTo>
                    <a:pt x="30" y="44"/>
                  </a:lnTo>
                  <a:lnTo>
                    <a:pt x="15" y="0"/>
                  </a:lnTo>
                  <a:lnTo>
                    <a:pt x="0" y="17"/>
                  </a:lnTo>
                  <a:lnTo>
                    <a:pt x="2" y="44"/>
                  </a:lnTo>
                  <a:lnTo>
                    <a:pt x="10" y="114"/>
                  </a:lnTo>
                  <a:lnTo>
                    <a:pt x="32" y="144"/>
                  </a:lnTo>
                  <a:lnTo>
                    <a:pt x="50" y="164"/>
                  </a:lnTo>
                  <a:lnTo>
                    <a:pt x="87" y="171"/>
                  </a:lnTo>
                  <a:lnTo>
                    <a:pt x="87" y="156"/>
                  </a:lnTo>
                  <a:lnTo>
                    <a:pt x="82" y="97"/>
                  </a:lnTo>
                  <a:lnTo>
                    <a:pt x="5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8" name="Freeform 75"/>
            <p:cNvSpPr>
              <a:spLocks/>
            </p:cNvSpPr>
            <p:nvPr/>
          </p:nvSpPr>
          <p:spPr bwMode="auto">
            <a:xfrm>
              <a:off x="4765499" y="4891897"/>
              <a:ext cx="240353" cy="279212"/>
            </a:xfrm>
            <a:custGeom>
              <a:avLst/>
              <a:gdLst>
                <a:gd name="T0" fmla="*/ 58 w 167"/>
                <a:gd name="T1" fmla="*/ 2 h 194"/>
                <a:gd name="T2" fmla="*/ 105 w 167"/>
                <a:gd name="T3" fmla="*/ 5 h 194"/>
                <a:gd name="T4" fmla="*/ 112 w 167"/>
                <a:gd name="T5" fmla="*/ 32 h 194"/>
                <a:gd name="T6" fmla="*/ 112 w 167"/>
                <a:gd name="T7" fmla="*/ 45 h 194"/>
                <a:gd name="T8" fmla="*/ 122 w 167"/>
                <a:gd name="T9" fmla="*/ 50 h 194"/>
                <a:gd name="T10" fmla="*/ 127 w 167"/>
                <a:gd name="T11" fmla="*/ 65 h 194"/>
                <a:gd name="T12" fmla="*/ 137 w 167"/>
                <a:gd name="T13" fmla="*/ 67 h 194"/>
                <a:gd name="T14" fmla="*/ 142 w 167"/>
                <a:gd name="T15" fmla="*/ 84 h 194"/>
                <a:gd name="T16" fmla="*/ 150 w 167"/>
                <a:gd name="T17" fmla="*/ 87 h 194"/>
                <a:gd name="T18" fmla="*/ 167 w 167"/>
                <a:gd name="T19" fmla="*/ 94 h 194"/>
                <a:gd name="T20" fmla="*/ 164 w 167"/>
                <a:gd name="T21" fmla="*/ 104 h 194"/>
                <a:gd name="T22" fmla="*/ 152 w 167"/>
                <a:gd name="T23" fmla="*/ 114 h 194"/>
                <a:gd name="T24" fmla="*/ 142 w 167"/>
                <a:gd name="T25" fmla="*/ 124 h 194"/>
                <a:gd name="T26" fmla="*/ 130 w 167"/>
                <a:gd name="T27" fmla="*/ 132 h 194"/>
                <a:gd name="T28" fmla="*/ 125 w 167"/>
                <a:gd name="T29" fmla="*/ 149 h 194"/>
                <a:gd name="T30" fmla="*/ 112 w 167"/>
                <a:gd name="T31" fmla="*/ 152 h 194"/>
                <a:gd name="T32" fmla="*/ 105 w 167"/>
                <a:gd name="T33" fmla="*/ 162 h 194"/>
                <a:gd name="T34" fmla="*/ 95 w 167"/>
                <a:gd name="T35" fmla="*/ 174 h 194"/>
                <a:gd name="T36" fmla="*/ 77 w 167"/>
                <a:gd name="T37" fmla="*/ 174 h 194"/>
                <a:gd name="T38" fmla="*/ 65 w 167"/>
                <a:gd name="T39" fmla="*/ 167 h 194"/>
                <a:gd name="T40" fmla="*/ 55 w 167"/>
                <a:gd name="T41" fmla="*/ 167 h 194"/>
                <a:gd name="T42" fmla="*/ 50 w 167"/>
                <a:gd name="T43" fmla="*/ 176 h 194"/>
                <a:gd name="T44" fmla="*/ 45 w 167"/>
                <a:gd name="T45" fmla="*/ 186 h 194"/>
                <a:gd name="T46" fmla="*/ 35 w 167"/>
                <a:gd name="T47" fmla="*/ 194 h 194"/>
                <a:gd name="T48" fmla="*/ 13 w 167"/>
                <a:gd name="T49" fmla="*/ 189 h 194"/>
                <a:gd name="T50" fmla="*/ 8 w 167"/>
                <a:gd name="T51" fmla="*/ 169 h 194"/>
                <a:gd name="T52" fmla="*/ 0 w 167"/>
                <a:gd name="T53" fmla="*/ 162 h 194"/>
                <a:gd name="T54" fmla="*/ 0 w 167"/>
                <a:gd name="T55" fmla="*/ 99 h 194"/>
                <a:gd name="T56" fmla="*/ 8 w 167"/>
                <a:gd name="T57" fmla="*/ 94 h 194"/>
                <a:gd name="T58" fmla="*/ 18 w 167"/>
                <a:gd name="T59" fmla="*/ 87 h 194"/>
                <a:gd name="T60" fmla="*/ 18 w 167"/>
                <a:gd name="T61" fmla="*/ 25 h 194"/>
                <a:gd name="T62" fmla="*/ 28 w 167"/>
                <a:gd name="T63" fmla="*/ 7 h 194"/>
                <a:gd name="T64" fmla="*/ 48 w 167"/>
                <a:gd name="T65" fmla="*/ 0 h 194"/>
                <a:gd name="T66" fmla="*/ 58 w 167"/>
                <a:gd name="T67" fmla="*/ 2 h 1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67" h="194">
                  <a:moveTo>
                    <a:pt x="58" y="2"/>
                  </a:moveTo>
                  <a:lnTo>
                    <a:pt x="105" y="5"/>
                  </a:lnTo>
                  <a:lnTo>
                    <a:pt x="112" y="32"/>
                  </a:lnTo>
                  <a:lnTo>
                    <a:pt x="112" y="45"/>
                  </a:lnTo>
                  <a:lnTo>
                    <a:pt x="122" y="50"/>
                  </a:lnTo>
                  <a:lnTo>
                    <a:pt x="127" y="65"/>
                  </a:lnTo>
                  <a:lnTo>
                    <a:pt x="137" y="67"/>
                  </a:lnTo>
                  <a:lnTo>
                    <a:pt x="142" y="84"/>
                  </a:lnTo>
                  <a:lnTo>
                    <a:pt x="150" y="87"/>
                  </a:lnTo>
                  <a:lnTo>
                    <a:pt x="167" y="94"/>
                  </a:lnTo>
                  <a:lnTo>
                    <a:pt x="164" y="104"/>
                  </a:lnTo>
                  <a:lnTo>
                    <a:pt x="152" y="114"/>
                  </a:lnTo>
                  <a:lnTo>
                    <a:pt x="142" y="124"/>
                  </a:lnTo>
                  <a:lnTo>
                    <a:pt x="130" y="132"/>
                  </a:lnTo>
                  <a:lnTo>
                    <a:pt x="125" y="149"/>
                  </a:lnTo>
                  <a:lnTo>
                    <a:pt x="112" y="152"/>
                  </a:lnTo>
                  <a:lnTo>
                    <a:pt x="105" y="162"/>
                  </a:lnTo>
                  <a:lnTo>
                    <a:pt x="95" y="174"/>
                  </a:lnTo>
                  <a:lnTo>
                    <a:pt x="77" y="174"/>
                  </a:lnTo>
                  <a:lnTo>
                    <a:pt x="65" y="167"/>
                  </a:lnTo>
                  <a:lnTo>
                    <a:pt x="55" y="167"/>
                  </a:lnTo>
                  <a:lnTo>
                    <a:pt x="50" y="176"/>
                  </a:lnTo>
                  <a:lnTo>
                    <a:pt x="45" y="186"/>
                  </a:lnTo>
                  <a:lnTo>
                    <a:pt x="35" y="194"/>
                  </a:lnTo>
                  <a:lnTo>
                    <a:pt x="13" y="189"/>
                  </a:lnTo>
                  <a:lnTo>
                    <a:pt x="8" y="169"/>
                  </a:lnTo>
                  <a:lnTo>
                    <a:pt x="0" y="162"/>
                  </a:lnTo>
                  <a:lnTo>
                    <a:pt x="0" y="99"/>
                  </a:lnTo>
                  <a:lnTo>
                    <a:pt x="8" y="94"/>
                  </a:lnTo>
                  <a:lnTo>
                    <a:pt x="18" y="87"/>
                  </a:lnTo>
                  <a:lnTo>
                    <a:pt x="18" y="25"/>
                  </a:lnTo>
                  <a:lnTo>
                    <a:pt x="28" y="7"/>
                  </a:lnTo>
                  <a:lnTo>
                    <a:pt x="48" y="0"/>
                  </a:lnTo>
                  <a:lnTo>
                    <a:pt x="58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9" name="Freeform 76"/>
            <p:cNvSpPr>
              <a:spLocks/>
            </p:cNvSpPr>
            <p:nvPr/>
          </p:nvSpPr>
          <p:spPr bwMode="auto">
            <a:xfrm>
              <a:off x="7102817" y="4670255"/>
              <a:ext cx="1016100" cy="869298"/>
            </a:xfrm>
            <a:custGeom>
              <a:avLst/>
              <a:gdLst>
                <a:gd name="T0" fmla="*/ 365 w 706"/>
                <a:gd name="T1" fmla="*/ 40 h 604"/>
                <a:gd name="T2" fmla="*/ 318 w 706"/>
                <a:gd name="T3" fmla="*/ 62 h 604"/>
                <a:gd name="T4" fmla="*/ 313 w 706"/>
                <a:gd name="T5" fmla="*/ 89 h 604"/>
                <a:gd name="T6" fmla="*/ 283 w 706"/>
                <a:gd name="T7" fmla="*/ 79 h 604"/>
                <a:gd name="T8" fmla="*/ 246 w 706"/>
                <a:gd name="T9" fmla="*/ 74 h 604"/>
                <a:gd name="T10" fmla="*/ 226 w 706"/>
                <a:gd name="T11" fmla="*/ 104 h 604"/>
                <a:gd name="T12" fmla="*/ 201 w 706"/>
                <a:gd name="T13" fmla="*/ 124 h 604"/>
                <a:gd name="T14" fmla="*/ 194 w 706"/>
                <a:gd name="T15" fmla="*/ 139 h 604"/>
                <a:gd name="T16" fmla="*/ 179 w 706"/>
                <a:gd name="T17" fmla="*/ 156 h 604"/>
                <a:gd name="T18" fmla="*/ 129 w 706"/>
                <a:gd name="T19" fmla="*/ 199 h 604"/>
                <a:gd name="T20" fmla="*/ 37 w 706"/>
                <a:gd name="T21" fmla="*/ 243 h 604"/>
                <a:gd name="T22" fmla="*/ 12 w 706"/>
                <a:gd name="T23" fmla="*/ 306 h 604"/>
                <a:gd name="T24" fmla="*/ 22 w 706"/>
                <a:gd name="T25" fmla="*/ 325 h 604"/>
                <a:gd name="T26" fmla="*/ 0 w 706"/>
                <a:gd name="T27" fmla="*/ 333 h 604"/>
                <a:gd name="T28" fmla="*/ 22 w 706"/>
                <a:gd name="T29" fmla="*/ 385 h 604"/>
                <a:gd name="T30" fmla="*/ 22 w 706"/>
                <a:gd name="T31" fmla="*/ 425 h 604"/>
                <a:gd name="T32" fmla="*/ 32 w 706"/>
                <a:gd name="T33" fmla="*/ 465 h 604"/>
                <a:gd name="T34" fmla="*/ 15 w 706"/>
                <a:gd name="T35" fmla="*/ 480 h 604"/>
                <a:gd name="T36" fmla="*/ 44 w 706"/>
                <a:gd name="T37" fmla="*/ 522 h 604"/>
                <a:gd name="T38" fmla="*/ 67 w 706"/>
                <a:gd name="T39" fmla="*/ 517 h 604"/>
                <a:gd name="T40" fmla="*/ 102 w 706"/>
                <a:gd name="T41" fmla="*/ 507 h 604"/>
                <a:gd name="T42" fmla="*/ 176 w 706"/>
                <a:gd name="T43" fmla="*/ 482 h 604"/>
                <a:gd name="T44" fmla="*/ 251 w 706"/>
                <a:gd name="T45" fmla="*/ 462 h 604"/>
                <a:gd name="T46" fmla="*/ 286 w 706"/>
                <a:gd name="T47" fmla="*/ 450 h 604"/>
                <a:gd name="T48" fmla="*/ 303 w 706"/>
                <a:gd name="T49" fmla="*/ 455 h 604"/>
                <a:gd name="T50" fmla="*/ 343 w 706"/>
                <a:gd name="T51" fmla="*/ 470 h 604"/>
                <a:gd name="T52" fmla="*/ 358 w 706"/>
                <a:gd name="T53" fmla="*/ 514 h 604"/>
                <a:gd name="T54" fmla="*/ 383 w 706"/>
                <a:gd name="T55" fmla="*/ 504 h 604"/>
                <a:gd name="T56" fmla="*/ 407 w 706"/>
                <a:gd name="T57" fmla="*/ 470 h 604"/>
                <a:gd name="T58" fmla="*/ 402 w 706"/>
                <a:gd name="T59" fmla="*/ 502 h 604"/>
                <a:gd name="T60" fmla="*/ 405 w 706"/>
                <a:gd name="T61" fmla="*/ 519 h 604"/>
                <a:gd name="T62" fmla="*/ 415 w 706"/>
                <a:gd name="T63" fmla="*/ 499 h 604"/>
                <a:gd name="T64" fmla="*/ 417 w 706"/>
                <a:gd name="T65" fmla="*/ 519 h 604"/>
                <a:gd name="T66" fmla="*/ 430 w 706"/>
                <a:gd name="T67" fmla="*/ 544 h 604"/>
                <a:gd name="T68" fmla="*/ 440 w 706"/>
                <a:gd name="T69" fmla="*/ 579 h 604"/>
                <a:gd name="T70" fmla="*/ 524 w 706"/>
                <a:gd name="T71" fmla="*/ 604 h 604"/>
                <a:gd name="T72" fmla="*/ 604 w 706"/>
                <a:gd name="T73" fmla="*/ 567 h 604"/>
                <a:gd name="T74" fmla="*/ 641 w 706"/>
                <a:gd name="T75" fmla="*/ 509 h 604"/>
                <a:gd name="T76" fmla="*/ 686 w 706"/>
                <a:gd name="T77" fmla="*/ 450 h 604"/>
                <a:gd name="T78" fmla="*/ 696 w 706"/>
                <a:gd name="T79" fmla="*/ 388 h 604"/>
                <a:gd name="T80" fmla="*/ 706 w 706"/>
                <a:gd name="T81" fmla="*/ 308 h 604"/>
                <a:gd name="T82" fmla="*/ 673 w 706"/>
                <a:gd name="T83" fmla="*/ 246 h 604"/>
                <a:gd name="T84" fmla="*/ 644 w 706"/>
                <a:gd name="T85" fmla="*/ 204 h 604"/>
                <a:gd name="T86" fmla="*/ 606 w 706"/>
                <a:gd name="T87" fmla="*/ 144 h 604"/>
                <a:gd name="T88" fmla="*/ 571 w 706"/>
                <a:gd name="T89" fmla="*/ 74 h 604"/>
                <a:gd name="T90" fmla="*/ 569 w 706"/>
                <a:gd name="T91" fmla="*/ 22 h 604"/>
                <a:gd name="T92" fmla="*/ 539 w 706"/>
                <a:gd name="T93" fmla="*/ 22 h 604"/>
                <a:gd name="T94" fmla="*/ 529 w 706"/>
                <a:gd name="T95" fmla="*/ 109 h 604"/>
                <a:gd name="T96" fmla="*/ 512 w 706"/>
                <a:gd name="T97" fmla="*/ 139 h 604"/>
                <a:gd name="T98" fmla="*/ 472 w 706"/>
                <a:gd name="T99" fmla="*/ 122 h 604"/>
                <a:gd name="T100" fmla="*/ 435 w 706"/>
                <a:gd name="T101" fmla="*/ 99 h 604"/>
                <a:gd name="T102" fmla="*/ 427 w 706"/>
                <a:gd name="T103" fmla="*/ 74 h 604"/>
                <a:gd name="T104" fmla="*/ 445 w 706"/>
                <a:gd name="T105" fmla="*/ 55 h 604"/>
                <a:gd name="T106" fmla="*/ 427 w 706"/>
                <a:gd name="T107" fmla="*/ 30 h 604"/>
                <a:gd name="T108" fmla="*/ 378 w 706"/>
                <a:gd name="T109" fmla="*/ 15 h 604"/>
                <a:gd name="T110" fmla="*/ 348 w 706"/>
                <a:gd name="T111" fmla="*/ 17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706" h="604">
                  <a:moveTo>
                    <a:pt x="360" y="25"/>
                  </a:moveTo>
                  <a:lnTo>
                    <a:pt x="365" y="40"/>
                  </a:lnTo>
                  <a:lnTo>
                    <a:pt x="330" y="45"/>
                  </a:lnTo>
                  <a:lnTo>
                    <a:pt x="318" y="62"/>
                  </a:lnTo>
                  <a:lnTo>
                    <a:pt x="315" y="72"/>
                  </a:lnTo>
                  <a:lnTo>
                    <a:pt x="313" y="89"/>
                  </a:lnTo>
                  <a:lnTo>
                    <a:pt x="291" y="94"/>
                  </a:lnTo>
                  <a:lnTo>
                    <a:pt x="283" y="79"/>
                  </a:lnTo>
                  <a:lnTo>
                    <a:pt x="273" y="67"/>
                  </a:lnTo>
                  <a:lnTo>
                    <a:pt x="246" y="74"/>
                  </a:lnTo>
                  <a:lnTo>
                    <a:pt x="241" y="89"/>
                  </a:lnTo>
                  <a:lnTo>
                    <a:pt x="226" y="104"/>
                  </a:lnTo>
                  <a:lnTo>
                    <a:pt x="211" y="112"/>
                  </a:lnTo>
                  <a:lnTo>
                    <a:pt x="201" y="124"/>
                  </a:lnTo>
                  <a:lnTo>
                    <a:pt x="201" y="139"/>
                  </a:lnTo>
                  <a:lnTo>
                    <a:pt x="194" y="139"/>
                  </a:lnTo>
                  <a:lnTo>
                    <a:pt x="184" y="124"/>
                  </a:lnTo>
                  <a:lnTo>
                    <a:pt x="179" y="156"/>
                  </a:lnTo>
                  <a:lnTo>
                    <a:pt x="154" y="189"/>
                  </a:lnTo>
                  <a:lnTo>
                    <a:pt x="129" y="199"/>
                  </a:lnTo>
                  <a:lnTo>
                    <a:pt x="67" y="216"/>
                  </a:lnTo>
                  <a:lnTo>
                    <a:pt x="37" y="243"/>
                  </a:lnTo>
                  <a:lnTo>
                    <a:pt x="7" y="246"/>
                  </a:lnTo>
                  <a:lnTo>
                    <a:pt x="12" y="306"/>
                  </a:lnTo>
                  <a:lnTo>
                    <a:pt x="25" y="313"/>
                  </a:lnTo>
                  <a:lnTo>
                    <a:pt x="22" y="325"/>
                  </a:lnTo>
                  <a:lnTo>
                    <a:pt x="2" y="313"/>
                  </a:lnTo>
                  <a:lnTo>
                    <a:pt x="0" y="333"/>
                  </a:lnTo>
                  <a:lnTo>
                    <a:pt x="10" y="365"/>
                  </a:lnTo>
                  <a:lnTo>
                    <a:pt x="22" y="385"/>
                  </a:lnTo>
                  <a:lnTo>
                    <a:pt x="22" y="408"/>
                  </a:lnTo>
                  <a:lnTo>
                    <a:pt x="22" y="425"/>
                  </a:lnTo>
                  <a:lnTo>
                    <a:pt x="30" y="430"/>
                  </a:lnTo>
                  <a:lnTo>
                    <a:pt x="32" y="465"/>
                  </a:lnTo>
                  <a:lnTo>
                    <a:pt x="22" y="465"/>
                  </a:lnTo>
                  <a:lnTo>
                    <a:pt x="15" y="480"/>
                  </a:lnTo>
                  <a:lnTo>
                    <a:pt x="7" y="490"/>
                  </a:lnTo>
                  <a:lnTo>
                    <a:pt x="44" y="522"/>
                  </a:lnTo>
                  <a:lnTo>
                    <a:pt x="59" y="527"/>
                  </a:lnTo>
                  <a:lnTo>
                    <a:pt x="67" y="517"/>
                  </a:lnTo>
                  <a:lnTo>
                    <a:pt x="74" y="504"/>
                  </a:lnTo>
                  <a:lnTo>
                    <a:pt x="102" y="507"/>
                  </a:lnTo>
                  <a:lnTo>
                    <a:pt x="164" y="497"/>
                  </a:lnTo>
                  <a:lnTo>
                    <a:pt x="176" y="482"/>
                  </a:lnTo>
                  <a:lnTo>
                    <a:pt x="194" y="467"/>
                  </a:lnTo>
                  <a:lnTo>
                    <a:pt x="251" y="462"/>
                  </a:lnTo>
                  <a:lnTo>
                    <a:pt x="263" y="450"/>
                  </a:lnTo>
                  <a:lnTo>
                    <a:pt x="286" y="450"/>
                  </a:lnTo>
                  <a:lnTo>
                    <a:pt x="300" y="445"/>
                  </a:lnTo>
                  <a:lnTo>
                    <a:pt x="303" y="455"/>
                  </a:lnTo>
                  <a:lnTo>
                    <a:pt x="328" y="457"/>
                  </a:lnTo>
                  <a:lnTo>
                    <a:pt x="343" y="470"/>
                  </a:lnTo>
                  <a:lnTo>
                    <a:pt x="355" y="492"/>
                  </a:lnTo>
                  <a:lnTo>
                    <a:pt x="358" y="514"/>
                  </a:lnTo>
                  <a:lnTo>
                    <a:pt x="368" y="512"/>
                  </a:lnTo>
                  <a:lnTo>
                    <a:pt x="383" y="504"/>
                  </a:lnTo>
                  <a:lnTo>
                    <a:pt x="397" y="490"/>
                  </a:lnTo>
                  <a:lnTo>
                    <a:pt x="407" y="470"/>
                  </a:lnTo>
                  <a:lnTo>
                    <a:pt x="407" y="487"/>
                  </a:lnTo>
                  <a:lnTo>
                    <a:pt x="402" y="502"/>
                  </a:lnTo>
                  <a:lnTo>
                    <a:pt x="390" y="517"/>
                  </a:lnTo>
                  <a:lnTo>
                    <a:pt x="405" y="519"/>
                  </a:lnTo>
                  <a:lnTo>
                    <a:pt x="407" y="507"/>
                  </a:lnTo>
                  <a:lnTo>
                    <a:pt x="415" y="499"/>
                  </a:lnTo>
                  <a:lnTo>
                    <a:pt x="415" y="507"/>
                  </a:lnTo>
                  <a:lnTo>
                    <a:pt x="417" y="519"/>
                  </a:lnTo>
                  <a:lnTo>
                    <a:pt x="427" y="529"/>
                  </a:lnTo>
                  <a:lnTo>
                    <a:pt x="430" y="544"/>
                  </a:lnTo>
                  <a:lnTo>
                    <a:pt x="422" y="562"/>
                  </a:lnTo>
                  <a:lnTo>
                    <a:pt x="440" y="579"/>
                  </a:lnTo>
                  <a:lnTo>
                    <a:pt x="479" y="594"/>
                  </a:lnTo>
                  <a:lnTo>
                    <a:pt x="524" y="604"/>
                  </a:lnTo>
                  <a:lnTo>
                    <a:pt x="554" y="591"/>
                  </a:lnTo>
                  <a:lnTo>
                    <a:pt x="604" y="567"/>
                  </a:lnTo>
                  <a:lnTo>
                    <a:pt x="619" y="529"/>
                  </a:lnTo>
                  <a:lnTo>
                    <a:pt x="641" y="509"/>
                  </a:lnTo>
                  <a:lnTo>
                    <a:pt x="656" y="480"/>
                  </a:lnTo>
                  <a:lnTo>
                    <a:pt x="686" y="450"/>
                  </a:lnTo>
                  <a:lnTo>
                    <a:pt x="696" y="437"/>
                  </a:lnTo>
                  <a:lnTo>
                    <a:pt x="696" y="388"/>
                  </a:lnTo>
                  <a:lnTo>
                    <a:pt x="706" y="323"/>
                  </a:lnTo>
                  <a:lnTo>
                    <a:pt x="706" y="308"/>
                  </a:lnTo>
                  <a:lnTo>
                    <a:pt x="683" y="281"/>
                  </a:lnTo>
                  <a:lnTo>
                    <a:pt x="673" y="246"/>
                  </a:lnTo>
                  <a:lnTo>
                    <a:pt x="649" y="236"/>
                  </a:lnTo>
                  <a:lnTo>
                    <a:pt x="644" y="204"/>
                  </a:lnTo>
                  <a:lnTo>
                    <a:pt x="609" y="184"/>
                  </a:lnTo>
                  <a:lnTo>
                    <a:pt x="606" y="144"/>
                  </a:lnTo>
                  <a:lnTo>
                    <a:pt x="594" y="99"/>
                  </a:lnTo>
                  <a:lnTo>
                    <a:pt x="571" y="74"/>
                  </a:lnTo>
                  <a:lnTo>
                    <a:pt x="562" y="40"/>
                  </a:lnTo>
                  <a:lnTo>
                    <a:pt x="569" y="22"/>
                  </a:lnTo>
                  <a:lnTo>
                    <a:pt x="552" y="0"/>
                  </a:lnTo>
                  <a:lnTo>
                    <a:pt x="539" y="22"/>
                  </a:lnTo>
                  <a:lnTo>
                    <a:pt x="529" y="35"/>
                  </a:lnTo>
                  <a:lnTo>
                    <a:pt x="529" y="109"/>
                  </a:lnTo>
                  <a:lnTo>
                    <a:pt x="519" y="127"/>
                  </a:lnTo>
                  <a:lnTo>
                    <a:pt x="512" y="139"/>
                  </a:lnTo>
                  <a:lnTo>
                    <a:pt x="492" y="139"/>
                  </a:lnTo>
                  <a:lnTo>
                    <a:pt x="472" y="122"/>
                  </a:lnTo>
                  <a:lnTo>
                    <a:pt x="450" y="114"/>
                  </a:lnTo>
                  <a:lnTo>
                    <a:pt x="435" y="99"/>
                  </a:lnTo>
                  <a:lnTo>
                    <a:pt x="420" y="94"/>
                  </a:lnTo>
                  <a:lnTo>
                    <a:pt x="427" y="74"/>
                  </a:lnTo>
                  <a:lnTo>
                    <a:pt x="432" y="60"/>
                  </a:lnTo>
                  <a:lnTo>
                    <a:pt x="445" y="55"/>
                  </a:lnTo>
                  <a:lnTo>
                    <a:pt x="452" y="35"/>
                  </a:lnTo>
                  <a:lnTo>
                    <a:pt x="427" y="30"/>
                  </a:lnTo>
                  <a:lnTo>
                    <a:pt x="405" y="27"/>
                  </a:lnTo>
                  <a:lnTo>
                    <a:pt x="378" y="15"/>
                  </a:lnTo>
                  <a:lnTo>
                    <a:pt x="350" y="10"/>
                  </a:lnTo>
                  <a:lnTo>
                    <a:pt x="348" y="17"/>
                  </a:lnTo>
                  <a:lnTo>
                    <a:pt x="36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0" name="Freeform 77"/>
            <p:cNvSpPr>
              <a:spLocks/>
            </p:cNvSpPr>
            <p:nvPr/>
          </p:nvSpPr>
          <p:spPr bwMode="auto">
            <a:xfrm>
              <a:off x="7818118" y="5611515"/>
              <a:ext cx="86354" cy="89233"/>
            </a:xfrm>
            <a:custGeom>
              <a:avLst/>
              <a:gdLst>
                <a:gd name="T0" fmla="*/ 2 w 60"/>
                <a:gd name="T1" fmla="*/ 0 h 62"/>
                <a:gd name="T2" fmla="*/ 27 w 60"/>
                <a:gd name="T3" fmla="*/ 5 h 62"/>
                <a:gd name="T4" fmla="*/ 60 w 60"/>
                <a:gd name="T5" fmla="*/ 5 h 62"/>
                <a:gd name="T6" fmla="*/ 60 w 60"/>
                <a:gd name="T7" fmla="*/ 24 h 62"/>
                <a:gd name="T8" fmla="*/ 47 w 60"/>
                <a:gd name="T9" fmla="*/ 39 h 62"/>
                <a:gd name="T10" fmla="*/ 45 w 60"/>
                <a:gd name="T11" fmla="*/ 54 h 62"/>
                <a:gd name="T12" fmla="*/ 27 w 60"/>
                <a:gd name="T13" fmla="*/ 59 h 62"/>
                <a:gd name="T14" fmla="*/ 12 w 60"/>
                <a:gd name="T15" fmla="*/ 62 h 62"/>
                <a:gd name="T16" fmla="*/ 0 w 60"/>
                <a:gd name="T17" fmla="*/ 54 h 62"/>
                <a:gd name="T18" fmla="*/ 2 w 60"/>
                <a:gd name="T19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2">
                  <a:moveTo>
                    <a:pt x="2" y="0"/>
                  </a:moveTo>
                  <a:lnTo>
                    <a:pt x="27" y="5"/>
                  </a:lnTo>
                  <a:lnTo>
                    <a:pt x="60" y="5"/>
                  </a:lnTo>
                  <a:lnTo>
                    <a:pt x="60" y="24"/>
                  </a:lnTo>
                  <a:lnTo>
                    <a:pt x="47" y="39"/>
                  </a:lnTo>
                  <a:lnTo>
                    <a:pt x="45" y="54"/>
                  </a:lnTo>
                  <a:lnTo>
                    <a:pt x="27" y="59"/>
                  </a:lnTo>
                  <a:lnTo>
                    <a:pt x="12" y="62"/>
                  </a:lnTo>
                  <a:lnTo>
                    <a:pt x="0" y="54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1" name="Freeform 78"/>
            <p:cNvSpPr>
              <a:spLocks/>
            </p:cNvSpPr>
            <p:nvPr/>
          </p:nvSpPr>
          <p:spPr bwMode="auto">
            <a:xfrm>
              <a:off x="8557885" y="5402826"/>
              <a:ext cx="119456" cy="233156"/>
            </a:xfrm>
            <a:custGeom>
              <a:avLst/>
              <a:gdLst>
                <a:gd name="T0" fmla="*/ 8 w 83"/>
                <a:gd name="T1" fmla="*/ 0 h 162"/>
                <a:gd name="T2" fmla="*/ 8 w 83"/>
                <a:gd name="T3" fmla="*/ 20 h 162"/>
                <a:gd name="T4" fmla="*/ 15 w 83"/>
                <a:gd name="T5" fmla="*/ 43 h 162"/>
                <a:gd name="T6" fmla="*/ 25 w 83"/>
                <a:gd name="T7" fmla="*/ 60 h 162"/>
                <a:gd name="T8" fmla="*/ 18 w 83"/>
                <a:gd name="T9" fmla="*/ 82 h 162"/>
                <a:gd name="T10" fmla="*/ 0 w 83"/>
                <a:gd name="T11" fmla="*/ 102 h 162"/>
                <a:gd name="T12" fmla="*/ 3 w 83"/>
                <a:gd name="T13" fmla="*/ 117 h 162"/>
                <a:gd name="T14" fmla="*/ 8 w 83"/>
                <a:gd name="T15" fmla="*/ 155 h 162"/>
                <a:gd name="T16" fmla="*/ 25 w 83"/>
                <a:gd name="T17" fmla="*/ 162 h 162"/>
                <a:gd name="T18" fmla="*/ 30 w 83"/>
                <a:gd name="T19" fmla="*/ 137 h 162"/>
                <a:gd name="T20" fmla="*/ 48 w 83"/>
                <a:gd name="T21" fmla="*/ 120 h 162"/>
                <a:gd name="T22" fmla="*/ 75 w 83"/>
                <a:gd name="T23" fmla="*/ 105 h 162"/>
                <a:gd name="T24" fmla="*/ 83 w 83"/>
                <a:gd name="T25" fmla="*/ 85 h 162"/>
                <a:gd name="T26" fmla="*/ 80 w 83"/>
                <a:gd name="T27" fmla="*/ 70 h 162"/>
                <a:gd name="T28" fmla="*/ 50 w 83"/>
                <a:gd name="T29" fmla="*/ 70 h 162"/>
                <a:gd name="T30" fmla="*/ 48 w 83"/>
                <a:gd name="T31" fmla="*/ 45 h 162"/>
                <a:gd name="T32" fmla="*/ 40 w 83"/>
                <a:gd name="T33" fmla="*/ 45 h 162"/>
                <a:gd name="T34" fmla="*/ 28 w 83"/>
                <a:gd name="T35" fmla="*/ 40 h 162"/>
                <a:gd name="T36" fmla="*/ 30 w 83"/>
                <a:gd name="T37" fmla="*/ 18 h 162"/>
                <a:gd name="T38" fmla="*/ 23 w 83"/>
                <a:gd name="T39" fmla="*/ 3 h 162"/>
                <a:gd name="T40" fmla="*/ 8 w 83"/>
                <a:gd name="T41" fmla="*/ 0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3" h="162">
                  <a:moveTo>
                    <a:pt x="8" y="0"/>
                  </a:moveTo>
                  <a:lnTo>
                    <a:pt x="8" y="20"/>
                  </a:lnTo>
                  <a:lnTo>
                    <a:pt x="15" y="43"/>
                  </a:lnTo>
                  <a:lnTo>
                    <a:pt x="25" y="60"/>
                  </a:lnTo>
                  <a:lnTo>
                    <a:pt x="18" y="82"/>
                  </a:lnTo>
                  <a:lnTo>
                    <a:pt x="0" y="102"/>
                  </a:lnTo>
                  <a:lnTo>
                    <a:pt x="3" y="117"/>
                  </a:lnTo>
                  <a:lnTo>
                    <a:pt x="8" y="155"/>
                  </a:lnTo>
                  <a:lnTo>
                    <a:pt x="25" y="162"/>
                  </a:lnTo>
                  <a:lnTo>
                    <a:pt x="30" y="137"/>
                  </a:lnTo>
                  <a:lnTo>
                    <a:pt x="48" y="120"/>
                  </a:lnTo>
                  <a:lnTo>
                    <a:pt x="75" y="105"/>
                  </a:lnTo>
                  <a:lnTo>
                    <a:pt x="83" y="85"/>
                  </a:lnTo>
                  <a:lnTo>
                    <a:pt x="80" y="70"/>
                  </a:lnTo>
                  <a:lnTo>
                    <a:pt x="50" y="70"/>
                  </a:lnTo>
                  <a:lnTo>
                    <a:pt x="48" y="45"/>
                  </a:lnTo>
                  <a:lnTo>
                    <a:pt x="40" y="45"/>
                  </a:lnTo>
                  <a:lnTo>
                    <a:pt x="28" y="40"/>
                  </a:lnTo>
                  <a:lnTo>
                    <a:pt x="30" y="18"/>
                  </a:lnTo>
                  <a:lnTo>
                    <a:pt x="23" y="3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2" name="Freeform 79"/>
            <p:cNvSpPr>
              <a:spLocks/>
            </p:cNvSpPr>
            <p:nvPr/>
          </p:nvSpPr>
          <p:spPr bwMode="auto">
            <a:xfrm>
              <a:off x="8321850" y="5597123"/>
              <a:ext cx="223081" cy="221642"/>
            </a:xfrm>
            <a:custGeom>
              <a:avLst/>
              <a:gdLst>
                <a:gd name="T0" fmla="*/ 122 w 155"/>
                <a:gd name="T1" fmla="*/ 0 h 154"/>
                <a:gd name="T2" fmla="*/ 117 w 155"/>
                <a:gd name="T3" fmla="*/ 25 h 154"/>
                <a:gd name="T4" fmla="*/ 92 w 155"/>
                <a:gd name="T5" fmla="*/ 37 h 154"/>
                <a:gd name="T6" fmla="*/ 75 w 155"/>
                <a:gd name="T7" fmla="*/ 62 h 154"/>
                <a:gd name="T8" fmla="*/ 30 w 155"/>
                <a:gd name="T9" fmla="*/ 82 h 154"/>
                <a:gd name="T10" fmla="*/ 0 w 155"/>
                <a:gd name="T11" fmla="*/ 109 h 154"/>
                <a:gd name="T12" fmla="*/ 8 w 155"/>
                <a:gd name="T13" fmla="*/ 126 h 154"/>
                <a:gd name="T14" fmla="*/ 33 w 155"/>
                <a:gd name="T15" fmla="*/ 154 h 154"/>
                <a:gd name="T16" fmla="*/ 68 w 155"/>
                <a:gd name="T17" fmla="*/ 124 h 154"/>
                <a:gd name="T18" fmla="*/ 77 w 155"/>
                <a:gd name="T19" fmla="*/ 99 h 154"/>
                <a:gd name="T20" fmla="*/ 102 w 155"/>
                <a:gd name="T21" fmla="*/ 79 h 154"/>
                <a:gd name="T22" fmla="*/ 115 w 155"/>
                <a:gd name="T23" fmla="*/ 79 h 154"/>
                <a:gd name="T24" fmla="*/ 125 w 155"/>
                <a:gd name="T25" fmla="*/ 59 h 154"/>
                <a:gd name="T26" fmla="*/ 140 w 155"/>
                <a:gd name="T27" fmla="*/ 39 h 154"/>
                <a:gd name="T28" fmla="*/ 155 w 155"/>
                <a:gd name="T29" fmla="*/ 25 h 154"/>
                <a:gd name="T30" fmla="*/ 147 w 155"/>
                <a:gd name="T31" fmla="*/ 5 h 154"/>
                <a:gd name="T32" fmla="*/ 140 w 155"/>
                <a:gd name="T33" fmla="*/ 15 h 154"/>
                <a:gd name="T34" fmla="*/ 137 w 155"/>
                <a:gd name="T35" fmla="*/ 0 h 154"/>
                <a:gd name="T36" fmla="*/ 122 w 155"/>
                <a:gd name="T37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55" h="154">
                  <a:moveTo>
                    <a:pt x="122" y="0"/>
                  </a:moveTo>
                  <a:lnTo>
                    <a:pt x="117" y="25"/>
                  </a:lnTo>
                  <a:lnTo>
                    <a:pt x="92" y="37"/>
                  </a:lnTo>
                  <a:lnTo>
                    <a:pt x="75" y="62"/>
                  </a:lnTo>
                  <a:lnTo>
                    <a:pt x="30" y="82"/>
                  </a:lnTo>
                  <a:lnTo>
                    <a:pt x="0" y="109"/>
                  </a:lnTo>
                  <a:lnTo>
                    <a:pt x="8" y="126"/>
                  </a:lnTo>
                  <a:lnTo>
                    <a:pt x="33" y="154"/>
                  </a:lnTo>
                  <a:lnTo>
                    <a:pt x="68" y="124"/>
                  </a:lnTo>
                  <a:lnTo>
                    <a:pt x="77" y="99"/>
                  </a:lnTo>
                  <a:lnTo>
                    <a:pt x="102" y="79"/>
                  </a:lnTo>
                  <a:lnTo>
                    <a:pt x="115" y="79"/>
                  </a:lnTo>
                  <a:lnTo>
                    <a:pt x="125" y="59"/>
                  </a:lnTo>
                  <a:lnTo>
                    <a:pt x="140" y="39"/>
                  </a:lnTo>
                  <a:lnTo>
                    <a:pt x="155" y="25"/>
                  </a:lnTo>
                  <a:lnTo>
                    <a:pt x="147" y="5"/>
                  </a:lnTo>
                  <a:lnTo>
                    <a:pt x="140" y="15"/>
                  </a:lnTo>
                  <a:lnTo>
                    <a:pt x="137" y="0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3" name="Freeform 80"/>
            <p:cNvSpPr>
              <a:spLocks/>
            </p:cNvSpPr>
            <p:nvPr/>
          </p:nvSpPr>
          <p:spPr bwMode="auto">
            <a:xfrm>
              <a:off x="7688587" y="2938855"/>
              <a:ext cx="122335" cy="156876"/>
            </a:xfrm>
            <a:custGeom>
              <a:avLst/>
              <a:gdLst>
                <a:gd name="T0" fmla="*/ 13 w 85"/>
                <a:gd name="T1" fmla="*/ 10 h 109"/>
                <a:gd name="T2" fmla="*/ 18 w 85"/>
                <a:gd name="T3" fmla="*/ 35 h 109"/>
                <a:gd name="T4" fmla="*/ 20 w 85"/>
                <a:gd name="T5" fmla="*/ 54 h 109"/>
                <a:gd name="T6" fmla="*/ 8 w 85"/>
                <a:gd name="T7" fmla="*/ 74 h 109"/>
                <a:gd name="T8" fmla="*/ 0 w 85"/>
                <a:gd name="T9" fmla="*/ 92 h 109"/>
                <a:gd name="T10" fmla="*/ 10 w 85"/>
                <a:gd name="T11" fmla="*/ 99 h 109"/>
                <a:gd name="T12" fmla="*/ 30 w 85"/>
                <a:gd name="T13" fmla="*/ 92 h 109"/>
                <a:gd name="T14" fmla="*/ 50 w 85"/>
                <a:gd name="T15" fmla="*/ 97 h 109"/>
                <a:gd name="T16" fmla="*/ 55 w 85"/>
                <a:gd name="T17" fmla="*/ 104 h 109"/>
                <a:gd name="T18" fmla="*/ 58 w 85"/>
                <a:gd name="T19" fmla="*/ 109 h 109"/>
                <a:gd name="T20" fmla="*/ 60 w 85"/>
                <a:gd name="T21" fmla="*/ 109 h 109"/>
                <a:gd name="T22" fmla="*/ 65 w 85"/>
                <a:gd name="T23" fmla="*/ 94 h 109"/>
                <a:gd name="T24" fmla="*/ 72 w 85"/>
                <a:gd name="T25" fmla="*/ 84 h 109"/>
                <a:gd name="T26" fmla="*/ 85 w 85"/>
                <a:gd name="T27" fmla="*/ 77 h 109"/>
                <a:gd name="T28" fmla="*/ 80 w 85"/>
                <a:gd name="T29" fmla="*/ 54 h 109"/>
                <a:gd name="T30" fmla="*/ 63 w 85"/>
                <a:gd name="T31" fmla="*/ 47 h 109"/>
                <a:gd name="T32" fmla="*/ 38 w 85"/>
                <a:gd name="T33" fmla="*/ 37 h 109"/>
                <a:gd name="T34" fmla="*/ 30 w 85"/>
                <a:gd name="T35" fmla="*/ 17 h 109"/>
                <a:gd name="T36" fmla="*/ 20 w 85"/>
                <a:gd name="T37" fmla="*/ 0 h 109"/>
                <a:gd name="T38" fmla="*/ 13 w 85"/>
                <a:gd name="T39" fmla="*/ 1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13" y="10"/>
                  </a:moveTo>
                  <a:lnTo>
                    <a:pt x="18" y="35"/>
                  </a:lnTo>
                  <a:lnTo>
                    <a:pt x="20" y="54"/>
                  </a:lnTo>
                  <a:lnTo>
                    <a:pt x="8" y="74"/>
                  </a:lnTo>
                  <a:lnTo>
                    <a:pt x="0" y="92"/>
                  </a:lnTo>
                  <a:lnTo>
                    <a:pt x="10" y="99"/>
                  </a:lnTo>
                  <a:lnTo>
                    <a:pt x="30" y="92"/>
                  </a:lnTo>
                  <a:lnTo>
                    <a:pt x="50" y="97"/>
                  </a:lnTo>
                  <a:lnTo>
                    <a:pt x="55" y="104"/>
                  </a:lnTo>
                  <a:lnTo>
                    <a:pt x="58" y="109"/>
                  </a:lnTo>
                  <a:lnTo>
                    <a:pt x="60" y="109"/>
                  </a:lnTo>
                  <a:lnTo>
                    <a:pt x="65" y="94"/>
                  </a:lnTo>
                  <a:lnTo>
                    <a:pt x="72" y="84"/>
                  </a:lnTo>
                  <a:lnTo>
                    <a:pt x="85" y="77"/>
                  </a:lnTo>
                  <a:lnTo>
                    <a:pt x="80" y="54"/>
                  </a:lnTo>
                  <a:lnTo>
                    <a:pt x="63" y="47"/>
                  </a:lnTo>
                  <a:lnTo>
                    <a:pt x="38" y="37"/>
                  </a:lnTo>
                  <a:lnTo>
                    <a:pt x="30" y="17"/>
                  </a:lnTo>
                  <a:lnTo>
                    <a:pt x="20" y="0"/>
                  </a:lnTo>
                  <a:lnTo>
                    <a:pt x="13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4" name="Freeform 81"/>
            <p:cNvSpPr>
              <a:spLocks/>
            </p:cNvSpPr>
            <p:nvPr/>
          </p:nvSpPr>
          <p:spPr bwMode="auto">
            <a:xfrm>
              <a:off x="7541785" y="3110124"/>
              <a:ext cx="240352" cy="250427"/>
            </a:xfrm>
            <a:custGeom>
              <a:avLst/>
              <a:gdLst>
                <a:gd name="T0" fmla="*/ 122 w 167"/>
                <a:gd name="T1" fmla="*/ 0 h 174"/>
                <a:gd name="T2" fmla="*/ 140 w 167"/>
                <a:gd name="T3" fmla="*/ 0 h 174"/>
                <a:gd name="T4" fmla="*/ 147 w 167"/>
                <a:gd name="T5" fmla="*/ 30 h 174"/>
                <a:gd name="T6" fmla="*/ 152 w 167"/>
                <a:gd name="T7" fmla="*/ 42 h 174"/>
                <a:gd name="T8" fmla="*/ 167 w 167"/>
                <a:gd name="T9" fmla="*/ 55 h 174"/>
                <a:gd name="T10" fmla="*/ 145 w 167"/>
                <a:gd name="T11" fmla="*/ 75 h 174"/>
                <a:gd name="T12" fmla="*/ 155 w 167"/>
                <a:gd name="T13" fmla="*/ 107 h 174"/>
                <a:gd name="T14" fmla="*/ 150 w 167"/>
                <a:gd name="T15" fmla="*/ 127 h 174"/>
                <a:gd name="T16" fmla="*/ 140 w 167"/>
                <a:gd name="T17" fmla="*/ 137 h 174"/>
                <a:gd name="T18" fmla="*/ 132 w 167"/>
                <a:gd name="T19" fmla="*/ 139 h 174"/>
                <a:gd name="T20" fmla="*/ 125 w 167"/>
                <a:gd name="T21" fmla="*/ 157 h 174"/>
                <a:gd name="T22" fmla="*/ 112 w 167"/>
                <a:gd name="T23" fmla="*/ 142 h 174"/>
                <a:gd name="T24" fmla="*/ 107 w 167"/>
                <a:gd name="T25" fmla="*/ 149 h 174"/>
                <a:gd name="T26" fmla="*/ 82 w 167"/>
                <a:gd name="T27" fmla="*/ 152 h 174"/>
                <a:gd name="T28" fmla="*/ 78 w 167"/>
                <a:gd name="T29" fmla="*/ 139 h 174"/>
                <a:gd name="T30" fmla="*/ 70 w 167"/>
                <a:gd name="T31" fmla="*/ 144 h 174"/>
                <a:gd name="T32" fmla="*/ 70 w 167"/>
                <a:gd name="T33" fmla="*/ 172 h 174"/>
                <a:gd name="T34" fmla="*/ 58 w 167"/>
                <a:gd name="T35" fmla="*/ 164 h 174"/>
                <a:gd name="T36" fmla="*/ 50 w 167"/>
                <a:gd name="T37" fmla="*/ 154 h 174"/>
                <a:gd name="T38" fmla="*/ 45 w 167"/>
                <a:gd name="T39" fmla="*/ 172 h 174"/>
                <a:gd name="T40" fmla="*/ 33 w 167"/>
                <a:gd name="T41" fmla="*/ 174 h 174"/>
                <a:gd name="T42" fmla="*/ 23 w 167"/>
                <a:gd name="T43" fmla="*/ 162 h 174"/>
                <a:gd name="T44" fmla="*/ 8 w 167"/>
                <a:gd name="T45" fmla="*/ 159 h 174"/>
                <a:gd name="T46" fmla="*/ 0 w 167"/>
                <a:gd name="T47" fmla="*/ 152 h 174"/>
                <a:gd name="T48" fmla="*/ 15 w 167"/>
                <a:gd name="T49" fmla="*/ 137 h 174"/>
                <a:gd name="T50" fmla="*/ 30 w 167"/>
                <a:gd name="T51" fmla="*/ 129 h 174"/>
                <a:gd name="T52" fmla="*/ 40 w 167"/>
                <a:gd name="T53" fmla="*/ 119 h 174"/>
                <a:gd name="T54" fmla="*/ 68 w 167"/>
                <a:gd name="T55" fmla="*/ 122 h 174"/>
                <a:gd name="T56" fmla="*/ 70 w 167"/>
                <a:gd name="T57" fmla="*/ 104 h 174"/>
                <a:gd name="T58" fmla="*/ 75 w 167"/>
                <a:gd name="T59" fmla="*/ 90 h 174"/>
                <a:gd name="T60" fmla="*/ 85 w 167"/>
                <a:gd name="T61" fmla="*/ 92 h 174"/>
                <a:gd name="T62" fmla="*/ 110 w 167"/>
                <a:gd name="T63" fmla="*/ 90 h 174"/>
                <a:gd name="T64" fmla="*/ 112 w 167"/>
                <a:gd name="T65" fmla="*/ 77 h 174"/>
                <a:gd name="T66" fmla="*/ 112 w 167"/>
                <a:gd name="T67" fmla="*/ 55 h 174"/>
                <a:gd name="T68" fmla="*/ 120 w 167"/>
                <a:gd name="T69" fmla="*/ 42 h 174"/>
                <a:gd name="T70" fmla="*/ 115 w 167"/>
                <a:gd name="T71" fmla="*/ 12 h 174"/>
                <a:gd name="T72" fmla="*/ 122 w 167"/>
                <a:gd name="T73" fmla="*/ 0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67" h="174">
                  <a:moveTo>
                    <a:pt x="122" y="0"/>
                  </a:moveTo>
                  <a:lnTo>
                    <a:pt x="140" y="0"/>
                  </a:lnTo>
                  <a:lnTo>
                    <a:pt x="147" y="30"/>
                  </a:lnTo>
                  <a:lnTo>
                    <a:pt x="152" y="42"/>
                  </a:lnTo>
                  <a:lnTo>
                    <a:pt x="167" y="55"/>
                  </a:lnTo>
                  <a:lnTo>
                    <a:pt x="145" y="75"/>
                  </a:lnTo>
                  <a:lnTo>
                    <a:pt x="155" y="107"/>
                  </a:lnTo>
                  <a:lnTo>
                    <a:pt x="150" y="127"/>
                  </a:lnTo>
                  <a:lnTo>
                    <a:pt x="140" y="137"/>
                  </a:lnTo>
                  <a:lnTo>
                    <a:pt x="132" y="139"/>
                  </a:lnTo>
                  <a:lnTo>
                    <a:pt x="125" y="157"/>
                  </a:lnTo>
                  <a:lnTo>
                    <a:pt x="112" y="142"/>
                  </a:lnTo>
                  <a:lnTo>
                    <a:pt x="107" y="149"/>
                  </a:lnTo>
                  <a:lnTo>
                    <a:pt x="82" y="152"/>
                  </a:lnTo>
                  <a:lnTo>
                    <a:pt x="78" y="139"/>
                  </a:lnTo>
                  <a:lnTo>
                    <a:pt x="70" y="144"/>
                  </a:lnTo>
                  <a:lnTo>
                    <a:pt x="70" y="172"/>
                  </a:lnTo>
                  <a:lnTo>
                    <a:pt x="58" y="164"/>
                  </a:lnTo>
                  <a:lnTo>
                    <a:pt x="50" y="154"/>
                  </a:lnTo>
                  <a:lnTo>
                    <a:pt x="45" y="172"/>
                  </a:lnTo>
                  <a:lnTo>
                    <a:pt x="33" y="174"/>
                  </a:lnTo>
                  <a:lnTo>
                    <a:pt x="23" y="162"/>
                  </a:lnTo>
                  <a:lnTo>
                    <a:pt x="8" y="159"/>
                  </a:lnTo>
                  <a:lnTo>
                    <a:pt x="0" y="152"/>
                  </a:lnTo>
                  <a:lnTo>
                    <a:pt x="15" y="137"/>
                  </a:lnTo>
                  <a:lnTo>
                    <a:pt x="30" y="129"/>
                  </a:lnTo>
                  <a:lnTo>
                    <a:pt x="40" y="119"/>
                  </a:lnTo>
                  <a:lnTo>
                    <a:pt x="68" y="122"/>
                  </a:lnTo>
                  <a:lnTo>
                    <a:pt x="70" y="104"/>
                  </a:lnTo>
                  <a:lnTo>
                    <a:pt x="75" y="90"/>
                  </a:lnTo>
                  <a:lnTo>
                    <a:pt x="85" y="92"/>
                  </a:lnTo>
                  <a:lnTo>
                    <a:pt x="110" y="90"/>
                  </a:lnTo>
                  <a:lnTo>
                    <a:pt x="112" y="77"/>
                  </a:lnTo>
                  <a:lnTo>
                    <a:pt x="112" y="55"/>
                  </a:lnTo>
                  <a:lnTo>
                    <a:pt x="120" y="42"/>
                  </a:lnTo>
                  <a:lnTo>
                    <a:pt x="115" y="12"/>
                  </a:lnTo>
                  <a:lnTo>
                    <a:pt x="1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5" name="Freeform 82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6" name="Freeform 83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  <a:gd name="T12" fmla="*/ 0 w 20"/>
                <a:gd name="T13" fmla="*/ 7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7" name="Freeform 84"/>
            <p:cNvSpPr>
              <a:spLocks/>
            </p:cNvSpPr>
            <p:nvPr/>
          </p:nvSpPr>
          <p:spPr bwMode="auto">
            <a:xfrm>
              <a:off x="7567691" y="3372065"/>
              <a:ext cx="28785" cy="27346"/>
            </a:xfrm>
            <a:custGeom>
              <a:avLst/>
              <a:gdLst>
                <a:gd name="T0" fmla="*/ 0 w 20"/>
                <a:gd name="T1" fmla="*/ 7 h 19"/>
                <a:gd name="T2" fmla="*/ 0 w 20"/>
                <a:gd name="T3" fmla="*/ 19 h 19"/>
                <a:gd name="T4" fmla="*/ 10 w 20"/>
                <a:gd name="T5" fmla="*/ 19 h 19"/>
                <a:gd name="T6" fmla="*/ 20 w 20"/>
                <a:gd name="T7" fmla="*/ 7 h 19"/>
                <a:gd name="T8" fmla="*/ 7 w 20"/>
                <a:gd name="T9" fmla="*/ 0 h 19"/>
                <a:gd name="T10" fmla="*/ 0 w 20"/>
                <a:gd name="T11" fmla="*/ 2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9">
                  <a:moveTo>
                    <a:pt x="0" y="7"/>
                  </a:moveTo>
                  <a:lnTo>
                    <a:pt x="0" y="19"/>
                  </a:lnTo>
                  <a:lnTo>
                    <a:pt x="10" y="19"/>
                  </a:lnTo>
                  <a:lnTo>
                    <a:pt x="20" y="7"/>
                  </a:lnTo>
                  <a:lnTo>
                    <a:pt x="7" y="0"/>
                  </a:lnTo>
                  <a:lnTo>
                    <a:pt x="0" y="2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8" name="Freeform 85"/>
            <p:cNvSpPr>
              <a:spLocks/>
            </p:cNvSpPr>
            <p:nvPr/>
          </p:nvSpPr>
          <p:spPr bwMode="auto">
            <a:xfrm>
              <a:off x="7485654" y="3350477"/>
              <a:ext cx="56131" cy="92111"/>
            </a:xfrm>
            <a:custGeom>
              <a:avLst/>
              <a:gdLst>
                <a:gd name="T0" fmla="*/ 17 w 39"/>
                <a:gd name="T1" fmla="*/ 5 h 64"/>
                <a:gd name="T2" fmla="*/ 10 w 39"/>
                <a:gd name="T3" fmla="*/ 17 h 64"/>
                <a:gd name="T4" fmla="*/ 0 w 39"/>
                <a:gd name="T5" fmla="*/ 24 h 64"/>
                <a:gd name="T6" fmla="*/ 7 w 39"/>
                <a:gd name="T7" fmla="*/ 42 h 64"/>
                <a:gd name="T8" fmla="*/ 17 w 39"/>
                <a:gd name="T9" fmla="*/ 34 h 64"/>
                <a:gd name="T10" fmla="*/ 25 w 39"/>
                <a:gd name="T11" fmla="*/ 37 h 64"/>
                <a:gd name="T12" fmla="*/ 22 w 39"/>
                <a:gd name="T13" fmla="*/ 49 h 64"/>
                <a:gd name="T14" fmla="*/ 30 w 39"/>
                <a:gd name="T15" fmla="*/ 64 h 64"/>
                <a:gd name="T16" fmla="*/ 39 w 39"/>
                <a:gd name="T17" fmla="*/ 57 h 64"/>
                <a:gd name="T18" fmla="*/ 39 w 39"/>
                <a:gd name="T19" fmla="*/ 37 h 64"/>
                <a:gd name="T20" fmla="*/ 37 w 39"/>
                <a:gd name="T21" fmla="*/ 10 h 64"/>
                <a:gd name="T22" fmla="*/ 32 w 39"/>
                <a:gd name="T23" fmla="*/ 0 h 64"/>
                <a:gd name="T24" fmla="*/ 17 w 39"/>
                <a:gd name="T25" fmla="*/ 5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64">
                  <a:moveTo>
                    <a:pt x="17" y="5"/>
                  </a:moveTo>
                  <a:lnTo>
                    <a:pt x="10" y="17"/>
                  </a:lnTo>
                  <a:lnTo>
                    <a:pt x="0" y="24"/>
                  </a:lnTo>
                  <a:lnTo>
                    <a:pt x="7" y="42"/>
                  </a:lnTo>
                  <a:lnTo>
                    <a:pt x="17" y="34"/>
                  </a:lnTo>
                  <a:lnTo>
                    <a:pt x="25" y="37"/>
                  </a:lnTo>
                  <a:lnTo>
                    <a:pt x="22" y="49"/>
                  </a:lnTo>
                  <a:lnTo>
                    <a:pt x="30" y="64"/>
                  </a:lnTo>
                  <a:lnTo>
                    <a:pt x="39" y="57"/>
                  </a:lnTo>
                  <a:lnTo>
                    <a:pt x="39" y="37"/>
                  </a:lnTo>
                  <a:lnTo>
                    <a:pt x="37" y="10"/>
                  </a:lnTo>
                  <a:lnTo>
                    <a:pt x="32" y="0"/>
                  </a:lnTo>
                  <a:lnTo>
                    <a:pt x="1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9" name="Freeform 86"/>
            <p:cNvSpPr>
              <a:spLocks/>
            </p:cNvSpPr>
            <p:nvPr/>
          </p:nvSpPr>
          <p:spPr bwMode="auto">
            <a:xfrm>
              <a:off x="8419718" y="4971056"/>
              <a:ext cx="63326" cy="48934"/>
            </a:xfrm>
            <a:custGeom>
              <a:avLst/>
              <a:gdLst>
                <a:gd name="T0" fmla="*/ 12 w 44"/>
                <a:gd name="T1" fmla="*/ 0 h 34"/>
                <a:gd name="T2" fmla="*/ 0 w 44"/>
                <a:gd name="T3" fmla="*/ 7 h 34"/>
                <a:gd name="T4" fmla="*/ 7 w 44"/>
                <a:gd name="T5" fmla="*/ 17 h 34"/>
                <a:gd name="T6" fmla="*/ 22 w 44"/>
                <a:gd name="T7" fmla="*/ 27 h 34"/>
                <a:gd name="T8" fmla="*/ 39 w 44"/>
                <a:gd name="T9" fmla="*/ 34 h 34"/>
                <a:gd name="T10" fmla="*/ 44 w 44"/>
                <a:gd name="T11" fmla="*/ 25 h 34"/>
                <a:gd name="T12" fmla="*/ 32 w 44"/>
                <a:gd name="T13" fmla="*/ 7 h 34"/>
                <a:gd name="T14" fmla="*/ 12 w 44"/>
                <a:gd name="T15" fmla="*/ 0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4" h="34">
                  <a:moveTo>
                    <a:pt x="12" y="0"/>
                  </a:moveTo>
                  <a:lnTo>
                    <a:pt x="0" y="7"/>
                  </a:lnTo>
                  <a:lnTo>
                    <a:pt x="7" y="17"/>
                  </a:lnTo>
                  <a:lnTo>
                    <a:pt x="22" y="27"/>
                  </a:lnTo>
                  <a:lnTo>
                    <a:pt x="39" y="34"/>
                  </a:lnTo>
                  <a:lnTo>
                    <a:pt x="44" y="25"/>
                  </a:lnTo>
                  <a:lnTo>
                    <a:pt x="32" y="7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0" name="Freeform 87"/>
            <p:cNvSpPr>
              <a:spLocks/>
            </p:cNvSpPr>
            <p:nvPr/>
          </p:nvSpPr>
          <p:spPr bwMode="auto">
            <a:xfrm>
              <a:off x="4490606" y="1561507"/>
              <a:ext cx="289286" cy="175587"/>
            </a:xfrm>
            <a:custGeom>
              <a:avLst/>
              <a:gdLst>
                <a:gd name="T0" fmla="*/ 79 w 201"/>
                <a:gd name="T1" fmla="*/ 5 h 122"/>
                <a:gd name="T2" fmla="*/ 75 w 201"/>
                <a:gd name="T3" fmla="*/ 30 h 122"/>
                <a:gd name="T4" fmla="*/ 52 w 201"/>
                <a:gd name="T5" fmla="*/ 15 h 122"/>
                <a:gd name="T6" fmla="*/ 35 w 201"/>
                <a:gd name="T7" fmla="*/ 25 h 122"/>
                <a:gd name="T8" fmla="*/ 25 w 201"/>
                <a:gd name="T9" fmla="*/ 5 h 122"/>
                <a:gd name="T10" fmla="*/ 0 w 201"/>
                <a:gd name="T11" fmla="*/ 22 h 122"/>
                <a:gd name="T12" fmla="*/ 5 w 201"/>
                <a:gd name="T13" fmla="*/ 35 h 122"/>
                <a:gd name="T14" fmla="*/ 10 w 201"/>
                <a:gd name="T15" fmla="*/ 57 h 122"/>
                <a:gd name="T16" fmla="*/ 37 w 201"/>
                <a:gd name="T17" fmla="*/ 59 h 122"/>
                <a:gd name="T18" fmla="*/ 52 w 201"/>
                <a:gd name="T19" fmla="*/ 44 h 122"/>
                <a:gd name="T20" fmla="*/ 65 w 201"/>
                <a:gd name="T21" fmla="*/ 47 h 122"/>
                <a:gd name="T22" fmla="*/ 57 w 201"/>
                <a:gd name="T23" fmla="*/ 64 h 122"/>
                <a:gd name="T24" fmla="*/ 55 w 201"/>
                <a:gd name="T25" fmla="*/ 79 h 122"/>
                <a:gd name="T26" fmla="*/ 70 w 201"/>
                <a:gd name="T27" fmla="*/ 94 h 122"/>
                <a:gd name="T28" fmla="*/ 82 w 201"/>
                <a:gd name="T29" fmla="*/ 114 h 122"/>
                <a:gd name="T30" fmla="*/ 99 w 201"/>
                <a:gd name="T31" fmla="*/ 122 h 122"/>
                <a:gd name="T32" fmla="*/ 107 w 201"/>
                <a:gd name="T33" fmla="*/ 89 h 122"/>
                <a:gd name="T34" fmla="*/ 132 w 201"/>
                <a:gd name="T35" fmla="*/ 62 h 122"/>
                <a:gd name="T36" fmla="*/ 147 w 201"/>
                <a:gd name="T37" fmla="*/ 72 h 122"/>
                <a:gd name="T38" fmla="*/ 147 w 201"/>
                <a:gd name="T39" fmla="*/ 94 h 122"/>
                <a:gd name="T40" fmla="*/ 176 w 201"/>
                <a:gd name="T41" fmla="*/ 89 h 122"/>
                <a:gd name="T42" fmla="*/ 191 w 201"/>
                <a:gd name="T43" fmla="*/ 97 h 122"/>
                <a:gd name="T44" fmla="*/ 201 w 201"/>
                <a:gd name="T45" fmla="*/ 74 h 122"/>
                <a:gd name="T46" fmla="*/ 132 w 201"/>
                <a:gd name="T47" fmla="*/ 37 h 122"/>
                <a:gd name="T48" fmla="*/ 109 w 201"/>
                <a:gd name="T49" fmla="*/ 0 h 122"/>
                <a:gd name="T50" fmla="*/ 79 w 201"/>
                <a:gd name="T5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201" h="122">
                  <a:moveTo>
                    <a:pt x="79" y="5"/>
                  </a:moveTo>
                  <a:lnTo>
                    <a:pt x="75" y="30"/>
                  </a:lnTo>
                  <a:lnTo>
                    <a:pt x="52" y="15"/>
                  </a:lnTo>
                  <a:lnTo>
                    <a:pt x="35" y="25"/>
                  </a:lnTo>
                  <a:lnTo>
                    <a:pt x="25" y="5"/>
                  </a:lnTo>
                  <a:lnTo>
                    <a:pt x="0" y="22"/>
                  </a:lnTo>
                  <a:lnTo>
                    <a:pt x="5" y="35"/>
                  </a:lnTo>
                  <a:lnTo>
                    <a:pt x="10" y="57"/>
                  </a:lnTo>
                  <a:lnTo>
                    <a:pt x="37" y="59"/>
                  </a:lnTo>
                  <a:lnTo>
                    <a:pt x="52" y="44"/>
                  </a:lnTo>
                  <a:lnTo>
                    <a:pt x="65" y="47"/>
                  </a:lnTo>
                  <a:lnTo>
                    <a:pt x="57" y="64"/>
                  </a:lnTo>
                  <a:lnTo>
                    <a:pt x="55" y="79"/>
                  </a:lnTo>
                  <a:lnTo>
                    <a:pt x="70" y="94"/>
                  </a:lnTo>
                  <a:lnTo>
                    <a:pt x="82" y="114"/>
                  </a:lnTo>
                  <a:lnTo>
                    <a:pt x="99" y="122"/>
                  </a:lnTo>
                  <a:lnTo>
                    <a:pt x="107" y="89"/>
                  </a:lnTo>
                  <a:lnTo>
                    <a:pt x="132" y="62"/>
                  </a:lnTo>
                  <a:lnTo>
                    <a:pt x="147" y="72"/>
                  </a:lnTo>
                  <a:lnTo>
                    <a:pt x="147" y="94"/>
                  </a:lnTo>
                  <a:lnTo>
                    <a:pt x="176" y="89"/>
                  </a:lnTo>
                  <a:lnTo>
                    <a:pt x="191" y="97"/>
                  </a:lnTo>
                  <a:lnTo>
                    <a:pt x="201" y="74"/>
                  </a:lnTo>
                  <a:lnTo>
                    <a:pt x="132" y="37"/>
                  </a:lnTo>
                  <a:lnTo>
                    <a:pt x="109" y="0"/>
                  </a:lnTo>
                  <a:lnTo>
                    <a:pt x="79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4683463" y="1539919"/>
              <a:ext cx="165512" cy="67644"/>
            </a:xfrm>
            <a:custGeom>
              <a:avLst/>
              <a:gdLst>
                <a:gd name="T0" fmla="*/ 0 w 115"/>
                <a:gd name="T1" fmla="*/ 5 h 47"/>
                <a:gd name="T2" fmla="*/ 8 w 115"/>
                <a:gd name="T3" fmla="*/ 35 h 47"/>
                <a:gd name="T4" fmla="*/ 52 w 115"/>
                <a:gd name="T5" fmla="*/ 47 h 47"/>
                <a:gd name="T6" fmla="*/ 87 w 115"/>
                <a:gd name="T7" fmla="*/ 35 h 47"/>
                <a:gd name="T8" fmla="*/ 115 w 115"/>
                <a:gd name="T9" fmla="*/ 7 h 47"/>
                <a:gd name="T10" fmla="*/ 65 w 115"/>
                <a:gd name="T11" fmla="*/ 7 h 47"/>
                <a:gd name="T12" fmla="*/ 37 w 115"/>
                <a:gd name="T13" fmla="*/ 0 h 47"/>
                <a:gd name="T14" fmla="*/ 0 w 115"/>
                <a:gd name="T15" fmla="*/ 5 h 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15" h="47">
                  <a:moveTo>
                    <a:pt x="0" y="5"/>
                  </a:moveTo>
                  <a:lnTo>
                    <a:pt x="8" y="35"/>
                  </a:lnTo>
                  <a:lnTo>
                    <a:pt x="52" y="47"/>
                  </a:lnTo>
                  <a:lnTo>
                    <a:pt x="87" y="35"/>
                  </a:lnTo>
                  <a:lnTo>
                    <a:pt x="115" y="7"/>
                  </a:lnTo>
                  <a:lnTo>
                    <a:pt x="65" y="7"/>
                  </a:lnTo>
                  <a:lnTo>
                    <a:pt x="37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2" name="Freeform 89"/>
            <p:cNvSpPr>
              <a:spLocks/>
            </p:cNvSpPr>
            <p:nvPr/>
          </p:nvSpPr>
          <p:spPr bwMode="auto">
            <a:xfrm>
              <a:off x="2029513" y="3851331"/>
              <a:ext cx="46056" cy="82036"/>
            </a:xfrm>
            <a:custGeom>
              <a:avLst/>
              <a:gdLst>
                <a:gd name="T0" fmla="*/ 0 w 32"/>
                <a:gd name="T1" fmla="*/ 15 h 57"/>
                <a:gd name="T2" fmla="*/ 10 w 32"/>
                <a:gd name="T3" fmla="*/ 10 h 57"/>
                <a:gd name="T4" fmla="*/ 32 w 32"/>
                <a:gd name="T5" fmla="*/ 0 h 57"/>
                <a:gd name="T6" fmla="*/ 27 w 32"/>
                <a:gd name="T7" fmla="*/ 22 h 57"/>
                <a:gd name="T8" fmla="*/ 32 w 32"/>
                <a:gd name="T9" fmla="*/ 47 h 57"/>
                <a:gd name="T10" fmla="*/ 19 w 32"/>
                <a:gd name="T11" fmla="*/ 57 h 57"/>
                <a:gd name="T12" fmla="*/ 7 w 32"/>
                <a:gd name="T13" fmla="*/ 57 h 57"/>
                <a:gd name="T14" fmla="*/ 0 w 32"/>
                <a:gd name="T15" fmla="*/ 54 h 57"/>
                <a:gd name="T16" fmla="*/ 0 w 32"/>
                <a:gd name="T17" fmla="*/ 37 h 57"/>
                <a:gd name="T18" fmla="*/ 0 w 32"/>
                <a:gd name="T19" fmla="*/ 15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7">
                  <a:moveTo>
                    <a:pt x="0" y="15"/>
                  </a:moveTo>
                  <a:lnTo>
                    <a:pt x="10" y="10"/>
                  </a:lnTo>
                  <a:lnTo>
                    <a:pt x="32" y="0"/>
                  </a:lnTo>
                  <a:lnTo>
                    <a:pt x="27" y="22"/>
                  </a:lnTo>
                  <a:lnTo>
                    <a:pt x="32" y="47"/>
                  </a:lnTo>
                  <a:lnTo>
                    <a:pt x="19" y="57"/>
                  </a:lnTo>
                  <a:lnTo>
                    <a:pt x="7" y="57"/>
                  </a:lnTo>
                  <a:lnTo>
                    <a:pt x="0" y="54"/>
                  </a:lnTo>
                  <a:lnTo>
                    <a:pt x="0" y="37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3" name="Freeform 90"/>
            <p:cNvSpPr>
              <a:spLocks/>
            </p:cNvSpPr>
            <p:nvPr/>
          </p:nvSpPr>
          <p:spPr bwMode="auto">
            <a:xfrm>
              <a:off x="2107232" y="4072973"/>
              <a:ext cx="82036" cy="53251"/>
            </a:xfrm>
            <a:custGeom>
              <a:avLst/>
              <a:gdLst>
                <a:gd name="T0" fmla="*/ 40 w 57"/>
                <a:gd name="T1" fmla="*/ 0 h 37"/>
                <a:gd name="T2" fmla="*/ 0 w 57"/>
                <a:gd name="T3" fmla="*/ 0 h 37"/>
                <a:gd name="T4" fmla="*/ 0 w 57"/>
                <a:gd name="T5" fmla="*/ 12 h 37"/>
                <a:gd name="T6" fmla="*/ 8 w 57"/>
                <a:gd name="T7" fmla="*/ 27 h 37"/>
                <a:gd name="T8" fmla="*/ 43 w 57"/>
                <a:gd name="T9" fmla="*/ 37 h 37"/>
                <a:gd name="T10" fmla="*/ 57 w 57"/>
                <a:gd name="T11" fmla="*/ 30 h 37"/>
                <a:gd name="T12" fmla="*/ 57 w 57"/>
                <a:gd name="T13" fmla="*/ 12 h 37"/>
                <a:gd name="T14" fmla="*/ 40 w 57"/>
                <a:gd name="T1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" h="37">
                  <a:moveTo>
                    <a:pt x="40" y="0"/>
                  </a:moveTo>
                  <a:lnTo>
                    <a:pt x="0" y="0"/>
                  </a:lnTo>
                  <a:lnTo>
                    <a:pt x="0" y="12"/>
                  </a:lnTo>
                  <a:lnTo>
                    <a:pt x="8" y="27"/>
                  </a:lnTo>
                  <a:lnTo>
                    <a:pt x="43" y="37"/>
                  </a:lnTo>
                  <a:lnTo>
                    <a:pt x="57" y="30"/>
                  </a:lnTo>
                  <a:lnTo>
                    <a:pt x="57" y="12"/>
                  </a:lnTo>
                  <a:lnTo>
                    <a:pt x="4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4" name="Freeform 91"/>
            <p:cNvSpPr>
              <a:spLocks/>
            </p:cNvSpPr>
            <p:nvPr/>
          </p:nvSpPr>
          <p:spPr bwMode="auto">
            <a:xfrm>
              <a:off x="2426742" y="4025478"/>
              <a:ext cx="335341" cy="341099"/>
            </a:xfrm>
            <a:custGeom>
              <a:avLst/>
              <a:gdLst>
                <a:gd name="T0" fmla="*/ 32 w 233"/>
                <a:gd name="T1" fmla="*/ 5 h 237"/>
                <a:gd name="T2" fmla="*/ 19 w 233"/>
                <a:gd name="T3" fmla="*/ 23 h 237"/>
                <a:gd name="T4" fmla="*/ 9 w 233"/>
                <a:gd name="T5" fmla="*/ 53 h 237"/>
                <a:gd name="T6" fmla="*/ 0 w 233"/>
                <a:gd name="T7" fmla="*/ 60 h 237"/>
                <a:gd name="T8" fmla="*/ 14 w 233"/>
                <a:gd name="T9" fmla="*/ 82 h 237"/>
                <a:gd name="T10" fmla="*/ 9 w 233"/>
                <a:gd name="T11" fmla="*/ 102 h 237"/>
                <a:gd name="T12" fmla="*/ 42 w 233"/>
                <a:gd name="T13" fmla="*/ 105 h 237"/>
                <a:gd name="T14" fmla="*/ 42 w 233"/>
                <a:gd name="T15" fmla="*/ 117 h 237"/>
                <a:gd name="T16" fmla="*/ 69 w 233"/>
                <a:gd name="T17" fmla="*/ 130 h 237"/>
                <a:gd name="T18" fmla="*/ 96 w 233"/>
                <a:gd name="T19" fmla="*/ 140 h 237"/>
                <a:gd name="T20" fmla="*/ 96 w 233"/>
                <a:gd name="T21" fmla="*/ 174 h 237"/>
                <a:gd name="T22" fmla="*/ 91 w 233"/>
                <a:gd name="T23" fmla="*/ 194 h 237"/>
                <a:gd name="T24" fmla="*/ 94 w 233"/>
                <a:gd name="T25" fmla="*/ 212 h 237"/>
                <a:gd name="T26" fmla="*/ 104 w 233"/>
                <a:gd name="T27" fmla="*/ 217 h 237"/>
                <a:gd name="T28" fmla="*/ 114 w 233"/>
                <a:gd name="T29" fmla="*/ 229 h 237"/>
                <a:gd name="T30" fmla="*/ 126 w 233"/>
                <a:gd name="T31" fmla="*/ 237 h 237"/>
                <a:gd name="T32" fmla="*/ 146 w 233"/>
                <a:gd name="T33" fmla="*/ 234 h 237"/>
                <a:gd name="T34" fmla="*/ 161 w 233"/>
                <a:gd name="T35" fmla="*/ 222 h 237"/>
                <a:gd name="T36" fmla="*/ 161 w 233"/>
                <a:gd name="T37" fmla="*/ 209 h 237"/>
                <a:gd name="T38" fmla="*/ 149 w 233"/>
                <a:gd name="T39" fmla="*/ 202 h 237"/>
                <a:gd name="T40" fmla="*/ 146 w 233"/>
                <a:gd name="T41" fmla="*/ 189 h 237"/>
                <a:gd name="T42" fmla="*/ 151 w 233"/>
                <a:gd name="T43" fmla="*/ 174 h 237"/>
                <a:gd name="T44" fmla="*/ 159 w 233"/>
                <a:gd name="T45" fmla="*/ 172 h 237"/>
                <a:gd name="T46" fmla="*/ 174 w 233"/>
                <a:gd name="T47" fmla="*/ 184 h 237"/>
                <a:gd name="T48" fmla="*/ 183 w 233"/>
                <a:gd name="T49" fmla="*/ 177 h 237"/>
                <a:gd name="T50" fmla="*/ 213 w 233"/>
                <a:gd name="T51" fmla="*/ 177 h 237"/>
                <a:gd name="T52" fmla="*/ 218 w 233"/>
                <a:gd name="T53" fmla="*/ 164 h 237"/>
                <a:gd name="T54" fmla="*/ 218 w 233"/>
                <a:gd name="T55" fmla="*/ 152 h 237"/>
                <a:gd name="T56" fmla="*/ 211 w 233"/>
                <a:gd name="T57" fmla="*/ 140 h 237"/>
                <a:gd name="T58" fmla="*/ 211 w 233"/>
                <a:gd name="T59" fmla="*/ 122 h 237"/>
                <a:gd name="T60" fmla="*/ 221 w 233"/>
                <a:gd name="T61" fmla="*/ 112 h 237"/>
                <a:gd name="T62" fmla="*/ 226 w 233"/>
                <a:gd name="T63" fmla="*/ 105 h 237"/>
                <a:gd name="T64" fmla="*/ 233 w 233"/>
                <a:gd name="T65" fmla="*/ 97 h 237"/>
                <a:gd name="T66" fmla="*/ 231 w 233"/>
                <a:gd name="T67" fmla="*/ 77 h 237"/>
                <a:gd name="T68" fmla="*/ 226 w 233"/>
                <a:gd name="T69" fmla="*/ 75 h 237"/>
                <a:gd name="T70" fmla="*/ 218 w 233"/>
                <a:gd name="T71" fmla="*/ 58 h 237"/>
                <a:gd name="T72" fmla="*/ 211 w 233"/>
                <a:gd name="T73" fmla="*/ 48 h 237"/>
                <a:gd name="T74" fmla="*/ 216 w 233"/>
                <a:gd name="T75" fmla="*/ 43 h 237"/>
                <a:gd name="T76" fmla="*/ 216 w 233"/>
                <a:gd name="T77" fmla="*/ 33 h 237"/>
                <a:gd name="T78" fmla="*/ 188 w 233"/>
                <a:gd name="T79" fmla="*/ 33 h 237"/>
                <a:gd name="T80" fmla="*/ 166 w 233"/>
                <a:gd name="T81" fmla="*/ 35 h 237"/>
                <a:gd name="T82" fmla="*/ 156 w 233"/>
                <a:gd name="T83" fmla="*/ 45 h 237"/>
                <a:gd name="T84" fmla="*/ 141 w 233"/>
                <a:gd name="T85" fmla="*/ 43 h 237"/>
                <a:gd name="T86" fmla="*/ 104 w 233"/>
                <a:gd name="T87" fmla="*/ 40 h 237"/>
                <a:gd name="T88" fmla="*/ 101 w 233"/>
                <a:gd name="T89" fmla="*/ 30 h 237"/>
                <a:gd name="T90" fmla="*/ 89 w 233"/>
                <a:gd name="T91" fmla="*/ 28 h 237"/>
                <a:gd name="T92" fmla="*/ 74 w 233"/>
                <a:gd name="T93" fmla="*/ 23 h 237"/>
                <a:gd name="T94" fmla="*/ 72 w 233"/>
                <a:gd name="T95" fmla="*/ 10 h 237"/>
                <a:gd name="T96" fmla="*/ 59 w 233"/>
                <a:gd name="T97" fmla="*/ 8 h 237"/>
                <a:gd name="T98" fmla="*/ 59 w 233"/>
                <a:gd name="T99" fmla="*/ 0 h 237"/>
                <a:gd name="T100" fmla="*/ 52 w 233"/>
                <a:gd name="T101" fmla="*/ 8 h 237"/>
                <a:gd name="T102" fmla="*/ 32 w 233"/>
                <a:gd name="T103" fmla="*/ 5 h 2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33" h="237">
                  <a:moveTo>
                    <a:pt x="32" y="5"/>
                  </a:moveTo>
                  <a:lnTo>
                    <a:pt x="19" y="23"/>
                  </a:lnTo>
                  <a:lnTo>
                    <a:pt x="9" y="53"/>
                  </a:lnTo>
                  <a:lnTo>
                    <a:pt x="0" y="60"/>
                  </a:lnTo>
                  <a:lnTo>
                    <a:pt x="14" y="82"/>
                  </a:lnTo>
                  <a:lnTo>
                    <a:pt x="9" y="102"/>
                  </a:lnTo>
                  <a:lnTo>
                    <a:pt x="42" y="105"/>
                  </a:lnTo>
                  <a:lnTo>
                    <a:pt x="42" y="117"/>
                  </a:lnTo>
                  <a:lnTo>
                    <a:pt x="69" y="130"/>
                  </a:lnTo>
                  <a:lnTo>
                    <a:pt x="96" y="140"/>
                  </a:lnTo>
                  <a:lnTo>
                    <a:pt x="96" y="174"/>
                  </a:lnTo>
                  <a:lnTo>
                    <a:pt x="91" y="194"/>
                  </a:lnTo>
                  <a:lnTo>
                    <a:pt x="94" y="212"/>
                  </a:lnTo>
                  <a:lnTo>
                    <a:pt x="104" y="217"/>
                  </a:lnTo>
                  <a:lnTo>
                    <a:pt x="114" y="229"/>
                  </a:lnTo>
                  <a:lnTo>
                    <a:pt x="126" y="237"/>
                  </a:lnTo>
                  <a:lnTo>
                    <a:pt x="146" y="234"/>
                  </a:lnTo>
                  <a:lnTo>
                    <a:pt x="161" y="222"/>
                  </a:lnTo>
                  <a:lnTo>
                    <a:pt x="161" y="209"/>
                  </a:lnTo>
                  <a:lnTo>
                    <a:pt x="149" y="202"/>
                  </a:lnTo>
                  <a:lnTo>
                    <a:pt x="146" y="189"/>
                  </a:lnTo>
                  <a:lnTo>
                    <a:pt x="151" y="174"/>
                  </a:lnTo>
                  <a:lnTo>
                    <a:pt x="159" y="172"/>
                  </a:lnTo>
                  <a:lnTo>
                    <a:pt x="174" y="184"/>
                  </a:lnTo>
                  <a:lnTo>
                    <a:pt x="183" y="177"/>
                  </a:lnTo>
                  <a:lnTo>
                    <a:pt x="213" y="177"/>
                  </a:lnTo>
                  <a:lnTo>
                    <a:pt x="218" y="164"/>
                  </a:lnTo>
                  <a:lnTo>
                    <a:pt x="218" y="152"/>
                  </a:lnTo>
                  <a:lnTo>
                    <a:pt x="211" y="140"/>
                  </a:lnTo>
                  <a:lnTo>
                    <a:pt x="211" y="122"/>
                  </a:lnTo>
                  <a:lnTo>
                    <a:pt x="221" y="112"/>
                  </a:lnTo>
                  <a:lnTo>
                    <a:pt x="226" y="105"/>
                  </a:lnTo>
                  <a:lnTo>
                    <a:pt x="233" y="97"/>
                  </a:lnTo>
                  <a:lnTo>
                    <a:pt x="231" y="77"/>
                  </a:lnTo>
                  <a:lnTo>
                    <a:pt x="226" y="75"/>
                  </a:lnTo>
                  <a:lnTo>
                    <a:pt x="218" y="58"/>
                  </a:lnTo>
                  <a:lnTo>
                    <a:pt x="211" y="48"/>
                  </a:lnTo>
                  <a:lnTo>
                    <a:pt x="216" y="43"/>
                  </a:lnTo>
                  <a:lnTo>
                    <a:pt x="216" y="33"/>
                  </a:lnTo>
                  <a:lnTo>
                    <a:pt x="188" y="33"/>
                  </a:lnTo>
                  <a:lnTo>
                    <a:pt x="166" y="35"/>
                  </a:lnTo>
                  <a:lnTo>
                    <a:pt x="156" y="45"/>
                  </a:lnTo>
                  <a:lnTo>
                    <a:pt x="141" y="43"/>
                  </a:lnTo>
                  <a:lnTo>
                    <a:pt x="104" y="40"/>
                  </a:lnTo>
                  <a:lnTo>
                    <a:pt x="101" y="30"/>
                  </a:lnTo>
                  <a:lnTo>
                    <a:pt x="89" y="28"/>
                  </a:lnTo>
                  <a:lnTo>
                    <a:pt x="74" y="23"/>
                  </a:lnTo>
                  <a:lnTo>
                    <a:pt x="72" y="10"/>
                  </a:lnTo>
                  <a:lnTo>
                    <a:pt x="59" y="8"/>
                  </a:lnTo>
                  <a:lnTo>
                    <a:pt x="59" y="0"/>
                  </a:lnTo>
                  <a:lnTo>
                    <a:pt x="52" y="8"/>
                  </a:lnTo>
                  <a:lnTo>
                    <a:pt x="32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5" name="Freeform 92"/>
            <p:cNvSpPr>
              <a:spLocks/>
            </p:cNvSpPr>
            <p:nvPr/>
          </p:nvSpPr>
          <p:spPr bwMode="auto">
            <a:xfrm>
              <a:off x="2644066" y="6054800"/>
              <a:ext cx="60448" cy="64766"/>
            </a:xfrm>
            <a:custGeom>
              <a:avLst/>
              <a:gdLst>
                <a:gd name="T0" fmla="*/ 40 w 42"/>
                <a:gd name="T1" fmla="*/ 7 h 45"/>
                <a:gd name="T2" fmla="*/ 28 w 42"/>
                <a:gd name="T3" fmla="*/ 45 h 45"/>
                <a:gd name="T4" fmla="*/ 0 w 42"/>
                <a:gd name="T5" fmla="*/ 30 h 45"/>
                <a:gd name="T6" fmla="*/ 8 w 42"/>
                <a:gd name="T7" fmla="*/ 7 h 45"/>
                <a:gd name="T8" fmla="*/ 20 w 42"/>
                <a:gd name="T9" fmla="*/ 0 h 45"/>
                <a:gd name="T10" fmla="*/ 42 w 42"/>
                <a:gd name="T11" fmla="*/ 7 h 45"/>
                <a:gd name="T12" fmla="*/ 40 w 42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40" y="7"/>
                  </a:moveTo>
                  <a:lnTo>
                    <a:pt x="28" y="45"/>
                  </a:lnTo>
                  <a:lnTo>
                    <a:pt x="0" y="30"/>
                  </a:lnTo>
                  <a:lnTo>
                    <a:pt x="8" y="7"/>
                  </a:lnTo>
                  <a:lnTo>
                    <a:pt x="20" y="0"/>
                  </a:lnTo>
                  <a:lnTo>
                    <a:pt x="42" y="7"/>
                  </a:lnTo>
                  <a:lnTo>
                    <a:pt x="4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6" name="Freeform 93"/>
            <p:cNvSpPr>
              <a:spLocks/>
            </p:cNvSpPr>
            <p:nvPr/>
          </p:nvSpPr>
          <p:spPr bwMode="auto">
            <a:xfrm>
              <a:off x="2836924" y="5281931"/>
              <a:ext cx="136728" cy="153998"/>
            </a:xfrm>
            <a:custGeom>
              <a:avLst/>
              <a:gdLst>
                <a:gd name="T0" fmla="*/ 23 w 95"/>
                <a:gd name="T1" fmla="*/ 0 h 107"/>
                <a:gd name="T2" fmla="*/ 30 w 95"/>
                <a:gd name="T3" fmla="*/ 10 h 107"/>
                <a:gd name="T4" fmla="*/ 48 w 95"/>
                <a:gd name="T5" fmla="*/ 17 h 107"/>
                <a:gd name="T6" fmla="*/ 85 w 95"/>
                <a:gd name="T7" fmla="*/ 52 h 107"/>
                <a:gd name="T8" fmla="*/ 92 w 95"/>
                <a:gd name="T9" fmla="*/ 67 h 107"/>
                <a:gd name="T10" fmla="*/ 95 w 95"/>
                <a:gd name="T11" fmla="*/ 79 h 107"/>
                <a:gd name="T12" fmla="*/ 85 w 95"/>
                <a:gd name="T13" fmla="*/ 87 h 107"/>
                <a:gd name="T14" fmla="*/ 80 w 95"/>
                <a:gd name="T15" fmla="*/ 92 h 107"/>
                <a:gd name="T16" fmla="*/ 80 w 95"/>
                <a:gd name="T17" fmla="*/ 99 h 107"/>
                <a:gd name="T18" fmla="*/ 65 w 95"/>
                <a:gd name="T19" fmla="*/ 102 h 107"/>
                <a:gd name="T20" fmla="*/ 60 w 95"/>
                <a:gd name="T21" fmla="*/ 107 h 107"/>
                <a:gd name="T22" fmla="*/ 53 w 95"/>
                <a:gd name="T23" fmla="*/ 102 h 107"/>
                <a:gd name="T24" fmla="*/ 35 w 95"/>
                <a:gd name="T25" fmla="*/ 97 h 107"/>
                <a:gd name="T26" fmla="*/ 23 w 95"/>
                <a:gd name="T27" fmla="*/ 89 h 107"/>
                <a:gd name="T28" fmla="*/ 15 w 95"/>
                <a:gd name="T29" fmla="*/ 97 h 107"/>
                <a:gd name="T30" fmla="*/ 8 w 95"/>
                <a:gd name="T31" fmla="*/ 99 h 107"/>
                <a:gd name="T32" fmla="*/ 3 w 95"/>
                <a:gd name="T33" fmla="*/ 77 h 107"/>
                <a:gd name="T34" fmla="*/ 0 w 95"/>
                <a:gd name="T35" fmla="*/ 50 h 107"/>
                <a:gd name="T36" fmla="*/ 3 w 95"/>
                <a:gd name="T37" fmla="*/ 30 h 107"/>
                <a:gd name="T38" fmla="*/ 13 w 95"/>
                <a:gd name="T39" fmla="*/ 12 h 107"/>
                <a:gd name="T40" fmla="*/ 23 w 95"/>
                <a:gd name="T41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5" h="107">
                  <a:moveTo>
                    <a:pt x="23" y="0"/>
                  </a:moveTo>
                  <a:lnTo>
                    <a:pt x="30" y="10"/>
                  </a:lnTo>
                  <a:lnTo>
                    <a:pt x="48" y="17"/>
                  </a:lnTo>
                  <a:lnTo>
                    <a:pt x="85" y="52"/>
                  </a:lnTo>
                  <a:lnTo>
                    <a:pt x="92" y="67"/>
                  </a:lnTo>
                  <a:lnTo>
                    <a:pt x="95" y="79"/>
                  </a:lnTo>
                  <a:lnTo>
                    <a:pt x="85" y="87"/>
                  </a:lnTo>
                  <a:lnTo>
                    <a:pt x="80" y="92"/>
                  </a:lnTo>
                  <a:lnTo>
                    <a:pt x="80" y="99"/>
                  </a:lnTo>
                  <a:lnTo>
                    <a:pt x="65" y="102"/>
                  </a:lnTo>
                  <a:lnTo>
                    <a:pt x="60" y="107"/>
                  </a:lnTo>
                  <a:lnTo>
                    <a:pt x="53" y="102"/>
                  </a:lnTo>
                  <a:lnTo>
                    <a:pt x="35" y="97"/>
                  </a:lnTo>
                  <a:lnTo>
                    <a:pt x="23" y="89"/>
                  </a:lnTo>
                  <a:lnTo>
                    <a:pt x="15" y="97"/>
                  </a:lnTo>
                  <a:lnTo>
                    <a:pt x="8" y="99"/>
                  </a:lnTo>
                  <a:lnTo>
                    <a:pt x="3" y="77"/>
                  </a:lnTo>
                  <a:lnTo>
                    <a:pt x="0" y="50"/>
                  </a:lnTo>
                  <a:lnTo>
                    <a:pt x="3" y="30"/>
                  </a:lnTo>
                  <a:lnTo>
                    <a:pt x="13" y="12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7" name="Freeform 94"/>
            <p:cNvSpPr>
              <a:spLocks/>
            </p:cNvSpPr>
            <p:nvPr/>
          </p:nvSpPr>
          <p:spPr bwMode="auto">
            <a:xfrm>
              <a:off x="2523170" y="4677452"/>
              <a:ext cx="313753" cy="392911"/>
            </a:xfrm>
            <a:custGeom>
              <a:avLst/>
              <a:gdLst>
                <a:gd name="T0" fmla="*/ 201 w 218"/>
                <a:gd name="T1" fmla="*/ 211 h 273"/>
                <a:gd name="T2" fmla="*/ 208 w 218"/>
                <a:gd name="T3" fmla="*/ 209 h 273"/>
                <a:gd name="T4" fmla="*/ 216 w 218"/>
                <a:gd name="T5" fmla="*/ 196 h 273"/>
                <a:gd name="T6" fmla="*/ 218 w 218"/>
                <a:gd name="T7" fmla="*/ 174 h 273"/>
                <a:gd name="T8" fmla="*/ 211 w 218"/>
                <a:gd name="T9" fmla="*/ 169 h 273"/>
                <a:gd name="T10" fmla="*/ 208 w 218"/>
                <a:gd name="T11" fmla="*/ 156 h 273"/>
                <a:gd name="T12" fmla="*/ 199 w 218"/>
                <a:gd name="T13" fmla="*/ 154 h 273"/>
                <a:gd name="T14" fmla="*/ 199 w 218"/>
                <a:gd name="T15" fmla="*/ 142 h 273"/>
                <a:gd name="T16" fmla="*/ 174 w 218"/>
                <a:gd name="T17" fmla="*/ 142 h 273"/>
                <a:gd name="T18" fmla="*/ 169 w 218"/>
                <a:gd name="T19" fmla="*/ 134 h 273"/>
                <a:gd name="T20" fmla="*/ 164 w 218"/>
                <a:gd name="T21" fmla="*/ 134 h 273"/>
                <a:gd name="T22" fmla="*/ 161 w 218"/>
                <a:gd name="T23" fmla="*/ 109 h 273"/>
                <a:gd name="T24" fmla="*/ 171 w 218"/>
                <a:gd name="T25" fmla="*/ 102 h 273"/>
                <a:gd name="T26" fmla="*/ 161 w 218"/>
                <a:gd name="T27" fmla="*/ 99 h 273"/>
                <a:gd name="T28" fmla="*/ 159 w 218"/>
                <a:gd name="T29" fmla="*/ 82 h 273"/>
                <a:gd name="T30" fmla="*/ 151 w 218"/>
                <a:gd name="T31" fmla="*/ 79 h 273"/>
                <a:gd name="T32" fmla="*/ 131 w 218"/>
                <a:gd name="T33" fmla="*/ 77 h 273"/>
                <a:gd name="T34" fmla="*/ 129 w 218"/>
                <a:gd name="T35" fmla="*/ 67 h 273"/>
                <a:gd name="T36" fmla="*/ 116 w 218"/>
                <a:gd name="T37" fmla="*/ 64 h 273"/>
                <a:gd name="T38" fmla="*/ 114 w 218"/>
                <a:gd name="T39" fmla="*/ 59 h 273"/>
                <a:gd name="T40" fmla="*/ 87 w 218"/>
                <a:gd name="T41" fmla="*/ 59 h 273"/>
                <a:gd name="T42" fmla="*/ 84 w 218"/>
                <a:gd name="T43" fmla="*/ 55 h 273"/>
                <a:gd name="T44" fmla="*/ 77 w 218"/>
                <a:gd name="T45" fmla="*/ 40 h 273"/>
                <a:gd name="T46" fmla="*/ 74 w 218"/>
                <a:gd name="T47" fmla="*/ 2 h 273"/>
                <a:gd name="T48" fmla="*/ 49 w 218"/>
                <a:gd name="T49" fmla="*/ 0 h 273"/>
                <a:gd name="T50" fmla="*/ 49 w 218"/>
                <a:gd name="T51" fmla="*/ 15 h 273"/>
                <a:gd name="T52" fmla="*/ 39 w 218"/>
                <a:gd name="T53" fmla="*/ 12 h 273"/>
                <a:gd name="T54" fmla="*/ 34 w 218"/>
                <a:gd name="T55" fmla="*/ 22 h 273"/>
                <a:gd name="T56" fmla="*/ 29 w 218"/>
                <a:gd name="T57" fmla="*/ 27 h 273"/>
                <a:gd name="T58" fmla="*/ 17 w 218"/>
                <a:gd name="T59" fmla="*/ 32 h 273"/>
                <a:gd name="T60" fmla="*/ 5 w 218"/>
                <a:gd name="T61" fmla="*/ 30 h 273"/>
                <a:gd name="T62" fmla="*/ 17 w 218"/>
                <a:gd name="T63" fmla="*/ 50 h 273"/>
                <a:gd name="T64" fmla="*/ 17 w 218"/>
                <a:gd name="T65" fmla="*/ 69 h 273"/>
                <a:gd name="T66" fmla="*/ 7 w 218"/>
                <a:gd name="T67" fmla="*/ 77 h 273"/>
                <a:gd name="T68" fmla="*/ 7 w 218"/>
                <a:gd name="T69" fmla="*/ 99 h 273"/>
                <a:gd name="T70" fmla="*/ 5 w 218"/>
                <a:gd name="T71" fmla="*/ 132 h 273"/>
                <a:gd name="T72" fmla="*/ 12 w 218"/>
                <a:gd name="T73" fmla="*/ 142 h 273"/>
                <a:gd name="T74" fmla="*/ 5 w 218"/>
                <a:gd name="T75" fmla="*/ 144 h 273"/>
                <a:gd name="T76" fmla="*/ 0 w 218"/>
                <a:gd name="T77" fmla="*/ 159 h 273"/>
                <a:gd name="T78" fmla="*/ 10 w 218"/>
                <a:gd name="T79" fmla="*/ 169 h 273"/>
                <a:gd name="T80" fmla="*/ 12 w 218"/>
                <a:gd name="T81" fmla="*/ 186 h 273"/>
                <a:gd name="T82" fmla="*/ 29 w 218"/>
                <a:gd name="T83" fmla="*/ 201 h 273"/>
                <a:gd name="T84" fmla="*/ 29 w 218"/>
                <a:gd name="T85" fmla="*/ 241 h 273"/>
                <a:gd name="T86" fmla="*/ 42 w 218"/>
                <a:gd name="T87" fmla="*/ 266 h 273"/>
                <a:gd name="T88" fmla="*/ 54 w 218"/>
                <a:gd name="T89" fmla="*/ 273 h 273"/>
                <a:gd name="T90" fmla="*/ 67 w 218"/>
                <a:gd name="T91" fmla="*/ 251 h 273"/>
                <a:gd name="T92" fmla="*/ 82 w 218"/>
                <a:gd name="T93" fmla="*/ 263 h 273"/>
                <a:gd name="T94" fmla="*/ 104 w 218"/>
                <a:gd name="T95" fmla="*/ 271 h 273"/>
                <a:gd name="T96" fmla="*/ 124 w 218"/>
                <a:gd name="T97" fmla="*/ 253 h 273"/>
                <a:gd name="T98" fmla="*/ 131 w 218"/>
                <a:gd name="T99" fmla="*/ 224 h 273"/>
                <a:gd name="T100" fmla="*/ 136 w 218"/>
                <a:gd name="T101" fmla="*/ 209 h 273"/>
                <a:gd name="T102" fmla="*/ 159 w 218"/>
                <a:gd name="T103" fmla="*/ 199 h 273"/>
                <a:gd name="T104" fmla="*/ 171 w 218"/>
                <a:gd name="T105" fmla="*/ 189 h 273"/>
                <a:gd name="T106" fmla="*/ 194 w 218"/>
                <a:gd name="T107" fmla="*/ 196 h 273"/>
                <a:gd name="T108" fmla="*/ 201 w 218"/>
                <a:gd name="T109" fmla="*/ 21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8" h="273">
                  <a:moveTo>
                    <a:pt x="201" y="211"/>
                  </a:moveTo>
                  <a:lnTo>
                    <a:pt x="208" y="209"/>
                  </a:lnTo>
                  <a:lnTo>
                    <a:pt x="216" y="196"/>
                  </a:lnTo>
                  <a:lnTo>
                    <a:pt x="218" y="174"/>
                  </a:lnTo>
                  <a:lnTo>
                    <a:pt x="211" y="169"/>
                  </a:lnTo>
                  <a:lnTo>
                    <a:pt x="208" y="156"/>
                  </a:lnTo>
                  <a:lnTo>
                    <a:pt x="199" y="154"/>
                  </a:lnTo>
                  <a:lnTo>
                    <a:pt x="199" y="142"/>
                  </a:lnTo>
                  <a:lnTo>
                    <a:pt x="174" y="142"/>
                  </a:lnTo>
                  <a:lnTo>
                    <a:pt x="169" y="134"/>
                  </a:lnTo>
                  <a:lnTo>
                    <a:pt x="164" y="134"/>
                  </a:lnTo>
                  <a:lnTo>
                    <a:pt x="161" y="109"/>
                  </a:lnTo>
                  <a:lnTo>
                    <a:pt x="171" y="102"/>
                  </a:lnTo>
                  <a:lnTo>
                    <a:pt x="161" y="99"/>
                  </a:lnTo>
                  <a:lnTo>
                    <a:pt x="159" y="82"/>
                  </a:lnTo>
                  <a:lnTo>
                    <a:pt x="151" y="79"/>
                  </a:lnTo>
                  <a:lnTo>
                    <a:pt x="131" y="77"/>
                  </a:lnTo>
                  <a:lnTo>
                    <a:pt x="129" y="67"/>
                  </a:lnTo>
                  <a:lnTo>
                    <a:pt x="116" y="64"/>
                  </a:lnTo>
                  <a:lnTo>
                    <a:pt x="114" y="59"/>
                  </a:lnTo>
                  <a:lnTo>
                    <a:pt x="87" y="59"/>
                  </a:lnTo>
                  <a:lnTo>
                    <a:pt x="84" y="55"/>
                  </a:lnTo>
                  <a:lnTo>
                    <a:pt x="77" y="40"/>
                  </a:lnTo>
                  <a:lnTo>
                    <a:pt x="74" y="2"/>
                  </a:lnTo>
                  <a:lnTo>
                    <a:pt x="49" y="0"/>
                  </a:lnTo>
                  <a:lnTo>
                    <a:pt x="49" y="15"/>
                  </a:lnTo>
                  <a:lnTo>
                    <a:pt x="39" y="12"/>
                  </a:lnTo>
                  <a:lnTo>
                    <a:pt x="34" y="22"/>
                  </a:lnTo>
                  <a:lnTo>
                    <a:pt x="29" y="27"/>
                  </a:lnTo>
                  <a:lnTo>
                    <a:pt x="17" y="32"/>
                  </a:lnTo>
                  <a:lnTo>
                    <a:pt x="5" y="30"/>
                  </a:lnTo>
                  <a:lnTo>
                    <a:pt x="17" y="50"/>
                  </a:lnTo>
                  <a:lnTo>
                    <a:pt x="17" y="69"/>
                  </a:lnTo>
                  <a:lnTo>
                    <a:pt x="7" y="77"/>
                  </a:lnTo>
                  <a:lnTo>
                    <a:pt x="7" y="99"/>
                  </a:lnTo>
                  <a:lnTo>
                    <a:pt x="5" y="132"/>
                  </a:lnTo>
                  <a:lnTo>
                    <a:pt x="12" y="142"/>
                  </a:lnTo>
                  <a:lnTo>
                    <a:pt x="5" y="144"/>
                  </a:lnTo>
                  <a:lnTo>
                    <a:pt x="0" y="159"/>
                  </a:lnTo>
                  <a:lnTo>
                    <a:pt x="10" y="169"/>
                  </a:lnTo>
                  <a:lnTo>
                    <a:pt x="12" y="186"/>
                  </a:lnTo>
                  <a:lnTo>
                    <a:pt x="29" y="201"/>
                  </a:lnTo>
                  <a:lnTo>
                    <a:pt x="29" y="241"/>
                  </a:lnTo>
                  <a:lnTo>
                    <a:pt x="42" y="266"/>
                  </a:lnTo>
                  <a:lnTo>
                    <a:pt x="54" y="273"/>
                  </a:lnTo>
                  <a:lnTo>
                    <a:pt x="67" y="251"/>
                  </a:lnTo>
                  <a:lnTo>
                    <a:pt x="82" y="263"/>
                  </a:lnTo>
                  <a:lnTo>
                    <a:pt x="104" y="271"/>
                  </a:lnTo>
                  <a:lnTo>
                    <a:pt x="124" y="253"/>
                  </a:lnTo>
                  <a:lnTo>
                    <a:pt x="131" y="224"/>
                  </a:lnTo>
                  <a:lnTo>
                    <a:pt x="136" y="209"/>
                  </a:lnTo>
                  <a:lnTo>
                    <a:pt x="159" y="199"/>
                  </a:lnTo>
                  <a:lnTo>
                    <a:pt x="171" y="189"/>
                  </a:lnTo>
                  <a:lnTo>
                    <a:pt x="194" y="196"/>
                  </a:lnTo>
                  <a:lnTo>
                    <a:pt x="201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8" name="Freeform 95"/>
            <p:cNvSpPr>
              <a:spLocks/>
            </p:cNvSpPr>
            <p:nvPr/>
          </p:nvSpPr>
          <p:spPr bwMode="auto">
            <a:xfrm>
              <a:off x="2468479" y="4906290"/>
              <a:ext cx="182783" cy="1191687"/>
            </a:xfrm>
            <a:custGeom>
              <a:avLst/>
              <a:gdLst>
                <a:gd name="T0" fmla="*/ 70 w 127"/>
                <a:gd name="T1" fmla="*/ 768 h 828"/>
                <a:gd name="T2" fmla="*/ 50 w 127"/>
                <a:gd name="T3" fmla="*/ 733 h 828"/>
                <a:gd name="T4" fmla="*/ 58 w 127"/>
                <a:gd name="T5" fmla="*/ 676 h 828"/>
                <a:gd name="T6" fmla="*/ 60 w 127"/>
                <a:gd name="T7" fmla="*/ 587 h 828"/>
                <a:gd name="T8" fmla="*/ 53 w 127"/>
                <a:gd name="T9" fmla="*/ 537 h 828"/>
                <a:gd name="T10" fmla="*/ 40 w 127"/>
                <a:gd name="T11" fmla="*/ 487 h 828"/>
                <a:gd name="T12" fmla="*/ 55 w 127"/>
                <a:gd name="T13" fmla="*/ 455 h 828"/>
                <a:gd name="T14" fmla="*/ 50 w 127"/>
                <a:gd name="T15" fmla="*/ 400 h 828"/>
                <a:gd name="T16" fmla="*/ 50 w 127"/>
                <a:gd name="T17" fmla="*/ 378 h 828"/>
                <a:gd name="T18" fmla="*/ 60 w 127"/>
                <a:gd name="T19" fmla="*/ 348 h 828"/>
                <a:gd name="T20" fmla="*/ 50 w 127"/>
                <a:gd name="T21" fmla="*/ 326 h 828"/>
                <a:gd name="T22" fmla="*/ 58 w 127"/>
                <a:gd name="T23" fmla="*/ 288 h 828"/>
                <a:gd name="T24" fmla="*/ 53 w 127"/>
                <a:gd name="T25" fmla="*/ 244 h 828"/>
                <a:gd name="T26" fmla="*/ 60 w 127"/>
                <a:gd name="T27" fmla="*/ 214 h 828"/>
                <a:gd name="T28" fmla="*/ 77 w 127"/>
                <a:gd name="T29" fmla="*/ 189 h 828"/>
                <a:gd name="T30" fmla="*/ 80 w 127"/>
                <a:gd name="T31" fmla="*/ 164 h 828"/>
                <a:gd name="T32" fmla="*/ 90 w 127"/>
                <a:gd name="T33" fmla="*/ 137 h 828"/>
                <a:gd name="T34" fmla="*/ 80 w 127"/>
                <a:gd name="T35" fmla="*/ 107 h 828"/>
                <a:gd name="T36" fmla="*/ 67 w 127"/>
                <a:gd name="T37" fmla="*/ 42 h 828"/>
                <a:gd name="T38" fmla="*/ 48 w 127"/>
                <a:gd name="T39" fmla="*/ 10 h 828"/>
                <a:gd name="T40" fmla="*/ 25 w 127"/>
                <a:gd name="T41" fmla="*/ 12 h 828"/>
                <a:gd name="T42" fmla="*/ 35 w 127"/>
                <a:gd name="T43" fmla="*/ 47 h 828"/>
                <a:gd name="T44" fmla="*/ 28 w 127"/>
                <a:gd name="T45" fmla="*/ 127 h 828"/>
                <a:gd name="T46" fmla="*/ 35 w 127"/>
                <a:gd name="T47" fmla="*/ 137 h 828"/>
                <a:gd name="T48" fmla="*/ 30 w 127"/>
                <a:gd name="T49" fmla="*/ 179 h 828"/>
                <a:gd name="T50" fmla="*/ 15 w 127"/>
                <a:gd name="T51" fmla="*/ 229 h 828"/>
                <a:gd name="T52" fmla="*/ 18 w 127"/>
                <a:gd name="T53" fmla="*/ 263 h 828"/>
                <a:gd name="T54" fmla="*/ 18 w 127"/>
                <a:gd name="T55" fmla="*/ 328 h 828"/>
                <a:gd name="T56" fmla="*/ 5 w 127"/>
                <a:gd name="T57" fmla="*/ 418 h 828"/>
                <a:gd name="T58" fmla="*/ 13 w 127"/>
                <a:gd name="T59" fmla="*/ 537 h 828"/>
                <a:gd name="T60" fmla="*/ 18 w 127"/>
                <a:gd name="T61" fmla="*/ 554 h 828"/>
                <a:gd name="T62" fmla="*/ 25 w 127"/>
                <a:gd name="T63" fmla="*/ 611 h 828"/>
                <a:gd name="T64" fmla="*/ 15 w 127"/>
                <a:gd name="T65" fmla="*/ 656 h 828"/>
                <a:gd name="T66" fmla="*/ 15 w 127"/>
                <a:gd name="T67" fmla="*/ 693 h 828"/>
                <a:gd name="T68" fmla="*/ 35 w 127"/>
                <a:gd name="T69" fmla="*/ 743 h 828"/>
                <a:gd name="T70" fmla="*/ 50 w 127"/>
                <a:gd name="T71" fmla="*/ 768 h 828"/>
                <a:gd name="T72" fmla="*/ 67 w 127"/>
                <a:gd name="T73" fmla="*/ 783 h 828"/>
                <a:gd name="T74" fmla="*/ 90 w 127"/>
                <a:gd name="T75" fmla="*/ 803 h 828"/>
                <a:gd name="T76" fmla="*/ 107 w 127"/>
                <a:gd name="T77" fmla="*/ 828 h 828"/>
                <a:gd name="T78" fmla="*/ 127 w 127"/>
                <a:gd name="T79" fmla="*/ 798 h 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27" h="828">
                  <a:moveTo>
                    <a:pt x="122" y="766"/>
                  </a:moveTo>
                  <a:lnTo>
                    <a:pt x="70" y="768"/>
                  </a:lnTo>
                  <a:lnTo>
                    <a:pt x="65" y="743"/>
                  </a:lnTo>
                  <a:lnTo>
                    <a:pt x="50" y="733"/>
                  </a:lnTo>
                  <a:lnTo>
                    <a:pt x="48" y="679"/>
                  </a:lnTo>
                  <a:lnTo>
                    <a:pt x="58" y="676"/>
                  </a:lnTo>
                  <a:lnTo>
                    <a:pt x="60" y="661"/>
                  </a:lnTo>
                  <a:lnTo>
                    <a:pt x="60" y="587"/>
                  </a:lnTo>
                  <a:lnTo>
                    <a:pt x="53" y="567"/>
                  </a:lnTo>
                  <a:lnTo>
                    <a:pt x="53" y="537"/>
                  </a:lnTo>
                  <a:lnTo>
                    <a:pt x="48" y="505"/>
                  </a:lnTo>
                  <a:lnTo>
                    <a:pt x="40" y="487"/>
                  </a:lnTo>
                  <a:lnTo>
                    <a:pt x="43" y="472"/>
                  </a:lnTo>
                  <a:lnTo>
                    <a:pt x="55" y="455"/>
                  </a:lnTo>
                  <a:lnTo>
                    <a:pt x="38" y="420"/>
                  </a:lnTo>
                  <a:lnTo>
                    <a:pt x="50" y="400"/>
                  </a:lnTo>
                  <a:lnTo>
                    <a:pt x="58" y="388"/>
                  </a:lnTo>
                  <a:lnTo>
                    <a:pt x="50" y="378"/>
                  </a:lnTo>
                  <a:lnTo>
                    <a:pt x="50" y="350"/>
                  </a:lnTo>
                  <a:lnTo>
                    <a:pt x="60" y="348"/>
                  </a:lnTo>
                  <a:lnTo>
                    <a:pt x="60" y="328"/>
                  </a:lnTo>
                  <a:lnTo>
                    <a:pt x="50" y="326"/>
                  </a:lnTo>
                  <a:lnTo>
                    <a:pt x="50" y="296"/>
                  </a:lnTo>
                  <a:lnTo>
                    <a:pt x="58" y="288"/>
                  </a:lnTo>
                  <a:lnTo>
                    <a:pt x="55" y="273"/>
                  </a:lnTo>
                  <a:lnTo>
                    <a:pt x="53" y="244"/>
                  </a:lnTo>
                  <a:lnTo>
                    <a:pt x="58" y="231"/>
                  </a:lnTo>
                  <a:lnTo>
                    <a:pt x="60" y="214"/>
                  </a:lnTo>
                  <a:lnTo>
                    <a:pt x="72" y="206"/>
                  </a:lnTo>
                  <a:lnTo>
                    <a:pt x="77" y="189"/>
                  </a:lnTo>
                  <a:lnTo>
                    <a:pt x="70" y="176"/>
                  </a:lnTo>
                  <a:lnTo>
                    <a:pt x="80" y="164"/>
                  </a:lnTo>
                  <a:lnTo>
                    <a:pt x="80" y="139"/>
                  </a:lnTo>
                  <a:lnTo>
                    <a:pt x="90" y="137"/>
                  </a:lnTo>
                  <a:lnTo>
                    <a:pt x="92" y="114"/>
                  </a:lnTo>
                  <a:lnTo>
                    <a:pt x="80" y="107"/>
                  </a:lnTo>
                  <a:lnTo>
                    <a:pt x="67" y="82"/>
                  </a:lnTo>
                  <a:lnTo>
                    <a:pt x="67" y="42"/>
                  </a:lnTo>
                  <a:lnTo>
                    <a:pt x="50" y="27"/>
                  </a:lnTo>
                  <a:lnTo>
                    <a:pt x="48" y="10"/>
                  </a:lnTo>
                  <a:lnTo>
                    <a:pt x="38" y="0"/>
                  </a:lnTo>
                  <a:lnTo>
                    <a:pt x="25" y="12"/>
                  </a:lnTo>
                  <a:lnTo>
                    <a:pt x="30" y="37"/>
                  </a:lnTo>
                  <a:lnTo>
                    <a:pt x="35" y="47"/>
                  </a:lnTo>
                  <a:lnTo>
                    <a:pt x="35" y="117"/>
                  </a:lnTo>
                  <a:lnTo>
                    <a:pt x="28" y="127"/>
                  </a:lnTo>
                  <a:lnTo>
                    <a:pt x="28" y="137"/>
                  </a:lnTo>
                  <a:lnTo>
                    <a:pt x="35" y="137"/>
                  </a:lnTo>
                  <a:lnTo>
                    <a:pt x="35" y="179"/>
                  </a:lnTo>
                  <a:lnTo>
                    <a:pt x="30" y="179"/>
                  </a:lnTo>
                  <a:lnTo>
                    <a:pt x="28" y="229"/>
                  </a:lnTo>
                  <a:lnTo>
                    <a:pt x="15" y="229"/>
                  </a:lnTo>
                  <a:lnTo>
                    <a:pt x="23" y="241"/>
                  </a:lnTo>
                  <a:lnTo>
                    <a:pt x="18" y="263"/>
                  </a:lnTo>
                  <a:lnTo>
                    <a:pt x="13" y="326"/>
                  </a:lnTo>
                  <a:lnTo>
                    <a:pt x="18" y="328"/>
                  </a:lnTo>
                  <a:lnTo>
                    <a:pt x="10" y="405"/>
                  </a:lnTo>
                  <a:lnTo>
                    <a:pt x="5" y="418"/>
                  </a:lnTo>
                  <a:lnTo>
                    <a:pt x="0" y="425"/>
                  </a:lnTo>
                  <a:lnTo>
                    <a:pt x="13" y="537"/>
                  </a:lnTo>
                  <a:lnTo>
                    <a:pt x="5" y="554"/>
                  </a:lnTo>
                  <a:lnTo>
                    <a:pt x="18" y="554"/>
                  </a:lnTo>
                  <a:lnTo>
                    <a:pt x="23" y="557"/>
                  </a:lnTo>
                  <a:lnTo>
                    <a:pt x="25" y="611"/>
                  </a:lnTo>
                  <a:lnTo>
                    <a:pt x="18" y="629"/>
                  </a:lnTo>
                  <a:lnTo>
                    <a:pt x="15" y="656"/>
                  </a:lnTo>
                  <a:lnTo>
                    <a:pt x="28" y="664"/>
                  </a:lnTo>
                  <a:lnTo>
                    <a:pt x="15" y="693"/>
                  </a:lnTo>
                  <a:lnTo>
                    <a:pt x="25" y="726"/>
                  </a:lnTo>
                  <a:lnTo>
                    <a:pt x="35" y="743"/>
                  </a:lnTo>
                  <a:lnTo>
                    <a:pt x="48" y="748"/>
                  </a:lnTo>
                  <a:lnTo>
                    <a:pt x="50" y="768"/>
                  </a:lnTo>
                  <a:lnTo>
                    <a:pt x="55" y="778"/>
                  </a:lnTo>
                  <a:lnTo>
                    <a:pt x="67" y="783"/>
                  </a:lnTo>
                  <a:lnTo>
                    <a:pt x="75" y="793"/>
                  </a:lnTo>
                  <a:lnTo>
                    <a:pt x="90" y="803"/>
                  </a:lnTo>
                  <a:lnTo>
                    <a:pt x="100" y="813"/>
                  </a:lnTo>
                  <a:lnTo>
                    <a:pt x="107" y="828"/>
                  </a:lnTo>
                  <a:lnTo>
                    <a:pt x="115" y="805"/>
                  </a:lnTo>
                  <a:lnTo>
                    <a:pt x="127" y="798"/>
                  </a:lnTo>
                  <a:lnTo>
                    <a:pt x="122" y="76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9" name="Freeform 96"/>
            <p:cNvSpPr>
              <a:spLocks/>
            </p:cNvSpPr>
            <p:nvPr/>
          </p:nvSpPr>
          <p:spPr bwMode="auto">
            <a:xfrm>
              <a:off x="2901690" y="4219775"/>
              <a:ext cx="86354" cy="113699"/>
            </a:xfrm>
            <a:custGeom>
              <a:avLst/>
              <a:gdLst>
                <a:gd name="T0" fmla="*/ 10 w 60"/>
                <a:gd name="T1" fmla="*/ 2 h 79"/>
                <a:gd name="T2" fmla="*/ 5 w 60"/>
                <a:gd name="T3" fmla="*/ 12 h 79"/>
                <a:gd name="T4" fmla="*/ 5 w 60"/>
                <a:gd name="T5" fmla="*/ 62 h 79"/>
                <a:gd name="T6" fmla="*/ 0 w 60"/>
                <a:gd name="T7" fmla="*/ 69 h 79"/>
                <a:gd name="T8" fmla="*/ 8 w 60"/>
                <a:gd name="T9" fmla="*/ 77 h 79"/>
                <a:gd name="T10" fmla="*/ 25 w 60"/>
                <a:gd name="T11" fmla="*/ 79 h 79"/>
                <a:gd name="T12" fmla="*/ 30 w 60"/>
                <a:gd name="T13" fmla="*/ 67 h 79"/>
                <a:gd name="T14" fmla="*/ 35 w 60"/>
                <a:gd name="T15" fmla="*/ 57 h 79"/>
                <a:gd name="T16" fmla="*/ 45 w 60"/>
                <a:gd name="T17" fmla="*/ 47 h 79"/>
                <a:gd name="T18" fmla="*/ 60 w 60"/>
                <a:gd name="T19" fmla="*/ 47 h 79"/>
                <a:gd name="T20" fmla="*/ 55 w 60"/>
                <a:gd name="T21" fmla="*/ 34 h 79"/>
                <a:gd name="T22" fmla="*/ 45 w 60"/>
                <a:gd name="T23" fmla="*/ 27 h 79"/>
                <a:gd name="T24" fmla="*/ 42 w 60"/>
                <a:gd name="T25" fmla="*/ 17 h 79"/>
                <a:gd name="T26" fmla="*/ 32 w 60"/>
                <a:gd name="T27" fmla="*/ 12 h 79"/>
                <a:gd name="T28" fmla="*/ 20 w 60"/>
                <a:gd name="T29" fmla="*/ 10 h 79"/>
                <a:gd name="T30" fmla="*/ 18 w 60"/>
                <a:gd name="T31" fmla="*/ 0 h 79"/>
                <a:gd name="T32" fmla="*/ 10 w 60"/>
                <a:gd name="T33" fmla="*/ 2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0" h="79">
                  <a:moveTo>
                    <a:pt x="10" y="2"/>
                  </a:moveTo>
                  <a:lnTo>
                    <a:pt x="5" y="12"/>
                  </a:lnTo>
                  <a:lnTo>
                    <a:pt x="5" y="62"/>
                  </a:lnTo>
                  <a:lnTo>
                    <a:pt x="0" y="69"/>
                  </a:lnTo>
                  <a:lnTo>
                    <a:pt x="8" y="77"/>
                  </a:lnTo>
                  <a:lnTo>
                    <a:pt x="25" y="79"/>
                  </a:lnTo>
                  <a:lnTo>
                    <a:pt x="30" y="67"/>
                  </a:lnTo>
                  <a:lnTo>
                    <a:pt x="35" y="57"/>
                  </a:lnTo>
                  <a:lnTo>
                    <a:pt x="45" y="47"/>
                  </a:lnTo>
                  <a:lnTo>
                    <a:pt x="60" y="47"/>
                  </a:lnTo>
                  <a:lnTo>
                    <a:pt x="55" y="34"/>
                  </a:lnTo>
                  <a:lnTo>
                    <a:pt x="45" y="27"/>
                  </a:lnTo>
                  <a:lnTo>
                    <a:pt x="42" y="17"/>
                  </a:lnTo>
                  <a:lnTo>
                    <a:pt x="32" y="12"/>
                  </a:lnTo>
                  <a:lnTo>
                    <a:pt x="20" y="10"/>
                  </a:lnTo>
                  <a:lnTo>
                    <a:pt x="18" y="0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0" name="Freeform 97"/>
            <p:cNvSpPr>
              <a:spLocks/>
            </p:cNvSpPr>
            <p:nvPr/>
          </p:nvSpPr>
          <p:spPr bwMode="auto">
            <a:xfrm>
              <a:off x="2836924" y="5965567"/>
              <a:ext cx="93551" cy="63326"/>
            </a:xfrm>
            <a:custGeom>
              <a:avLst/>
              <a:gdLst>
                <a:gd name="T0" fmla="*/ 20 w 65"/>
                <a:gd name="T1" fmla="*/ 12 h 44"/>
                <a:gd name="T2" fmla="*/ 0 w 65"/>
                <a:gd name="T3" fmla="*/ 15 h 44"/>
                <a:gd name="T4" fmla="*/ 0 w 65"/>
                <a:gd name="T5" fmla="*/ 32 h 44"/>
                <a:gd name="T6" fmla="*/ 3 w 65"/>
                <a:gd name="T7" fmla="*/ 44 h 44"/>
                <a:gd name="T8" fmla="*/ 15 w 65"/>
                <a:gd name="T9" fmla="*/ 32 h 44"/>
                <a:gd name="T10" fmla="*/ 25 w 65"/>
                <a:gd name="T11" fmla="*/ 37 h 44"/>
                <a:gd name="T12" fmla="*/ 50 w 65"/>
                <a:gd name="T13" fmla="*/ 30 h 44"/>
                <a:gd name="T14" fmla="*/ 65 w 65"/>
                <a:gd name="T15" fmla="*/ 22 h 44"/>
                <a:gd name="T16" fmla="*/ 48 w 65"/>
                <a:gd name="T17" fmla="*/ 12 h 44"/>
                <a:gd name="T18" fmla="*/ 35 w 65"/>
                <a:gd name="T19" fmla="*/ 0 h 44"/>
                <a:gd name="T20" fmla="*/ 35 w 65"/>
                <a:gd name="T21" fmla="*/ 12 h 44"/>
                <a:gd name="T22" fmla="*/ 20 w 65"/>
                <a:gd name="T23" fmla="*/ 1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65" h="44">
                  <a:moveTo>
                    <a:pt x="20" y="12"/>
                  </a:moveTo>
                  <a:lnTo>
                    <a:pt x="0" y="15"/>
                  </a:lnTo>
                  <a:lnTo>
                    <a:pt x="0" y="32"/>
                  </a:lnTo>
                  <a:lnTo>
                    <a:pt x="3" y="44"/>
                  </a:lnTo>
                  <a:lnTo>
                    <a:pt x="15" y="32"/>
                  </a:lnTo>
                  <a:lnTo>
                    <a:pt x="25" y="37"/>
                  </a:lnTo>
                  <a:lnTo>
                    <a:pt x="50" y="30"/>
                  </a:lnTo>
                  <a:lnTo>
                    <a:pt x="65" y="22"/>
                  </a:lnTo>
                  <a:lnTo>
                    <a:pt x="48" y="12"/>
                  </a:lnTo>
                  <a:lnTo>
                    <a:pt x="35" y="0"/>
                  </a:lnTo>
                  <a:lnTo>
                    <a:pt x="35" y="12"/>
                  </a:lnTo>
                  <a:lnTo>
                    <a:pt x="20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3052809" y="2047968"/>
              <a:ext cx="63326" cy="31663"/>
            </a:xfrm>
            <a:custGeom>
              <a:avLst/>
              <a:gdLst>
                <a:gd name="T0" fmla="*/ 14 w 44"/>
                <a:gd name="T1" fmla="*/ 0 h 22"/>
                <a:gd name="T2" fmla="*/ 0 w 44"/>
                <a:gd name="T3" fmla="*/ 22 h 22"/>
                <a:gd name="T4" fmla="*/ 22 w 44"/>
                <a:gd name="T5" fmla="*/ 22 h 22"/>
                <a:gd name="T6" fmla="*/ 44 w 44"/>
                <a:gd name="T7" fmla="*/ 12 h 22"/>
                <a:gd name="T8" fmla="*/ 14 w 44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22">
                  <a:moveTo>
                    <a:pt x="14" y="0"/>
                  </a:moveTo>
                  <a:lnTo>
                    <a:pt x="0" y="22"/>
                  </a:lnTo>
                  <a:lnTo>
                    <a:pt x="22" y="22"/>
                  </a:lnTo>
                  <a:lnTo>
                    <a:pt x="44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397420" y="2000474"/>
              <a:ext cx="833317" cy="690833"/>
            </a:xfrm>
            <a:custGeom>
              <a:avLst/>
              <a:gdLst>
                <a:gd name="T0" fmla="*/ 276 w 579"/>
                <a:gd name="T1" fmla="*/ 13 h 480"/>
                <a:gd name="T2" fmla="*/ 229 w 579"/>
                <a:gd name="T3" fmla="*/ 30 h 480"/>
                <a:gd name="T4" fmla="*/ 172 w 579"/>
                <a:gd name="T5" fmla="*/ 68 h 480"/>
                <a:gd name="T6" fmla="*/ 104 w 579"/>
                <a:gd name="T7" fmla="*/ 92 h 480"/>
                <a:gd name="T8" fmla="*/ 189 w 579"/>
                <a:gd name="T9" fmla="*/ 140 h 480"/>
                <a:gd name="T10" fmla="*/ 127 w 579"/>
                <a:gd name="T11" fmla="*/ 152 h 480"/>
                <a:gd name="T12" fmla="*/ 97 w 579"/>
                <a:gd name="T13" fmla="*/ 142 h 480"/>
                <a:gd name="T14" fmla="*/ 67 w 579"/>
                <a:gd name="T15" fmla="*/ 155 h 480"/>
                <a:gd name="T16" fmla="*/ 77 w 579"/>
                <a:gd name="T17" fmla="*/ 177 h 480"/>
                <a:gd name="T18" fmla="*/ 84 w 579"/>
                <a:gd name="T19" fmla="*/ 204 h 480"/>
                <a:gd name="T20" fmla="*/ 147 w 579"/>
                <a:gd name="T21" fmla="*/ 189 h 480"/>
                <a:gd name="T22" fmla="*/ 144 w 579"/>
                <a:gd name="T23" fmla="*/ 207 h 480"/>
                <a:gd name="T24" fmla="*/ 112 w 579"/>
                <a:gd name="T25" fmla="*/ 229 h 480"/>
                <a:gd name="T26" fmla="*/ 92 w 579"/>
                <a:gd name="T27" fmla="*/ 234 h 480"/>
                <a:gd name="T28" fmla="*/ 65 w 579"/>
                <a:gd name="T29" fmla="*/ 264 h 480"/>
                <a:gd name="T30" fmla="*/ 47 w 579"/>
                <a:gd name="T31" fmla="*/ 294 h 480"/>
                <a:gd name="T32" fmla="*/ 42 w 579"/>
                <a:gd name="T33" fmla="*/ 311 h 480"/>
                <a:gd name="T34" fmla="*/ 77 w 579"/>
                <a:gd name="T35" fmla="*/ 326 h 480"/>
                <a:gd name="T36" fmla="*/ 84 w 579"/>
                <a:gd name="T37" fmla="*/ 336 h 480"/>
                <a:gd name="T38" fmla="*/ 80 w 579"/>
                <a:gd name="T39" fmla="*/ 371 h 480"/>
                <a:gd name="T40" fmla="*/ 117 w 579"/>
                <a:gd name="T41" fmla="*/ 368 h 480"/>
                <a:gd name="T42" fmla="*/ 142 w 579"/>
                <a:gd name="T43" fmla="*/ 391 h 480"/>
                <a:gd name="T44" fmla="*/ 20 w 579"/>
                <a:gd name="T45" fmla="*/ 458 h 480"/>
                <a:gd name="T46" fmla="*/ 0 w 579"/>
                <a:gd name="T47" fmla="*/ 480 h 480"/>
                <a:gd name="T48" fmla="*/ 164 w 579"/>
                <a:gd name="T49" fmla="*/ 406 h 480"/>
                <a:gd name="T50" fmla="*/ 189 w 579"/>
                <a:gd name="T51" fmla="*/ 388 h 480"/>
                <a:gd name="T52" fmla="*/ 209 w 579"/>
                <a:gd name="T53" fmla="*/ 356 h 480"/>
                <a:gd name="T54" fmla="*/ 268 w 579"/>
                <a:gd name="T55" fmla="*/ 289 h 480"/>
                <a:gd name="T56" fmla="*/ 254 w 579"/>
                <a:gd name="T57" fmla="*/ 331 h 480"/>
                <a:gd name="T58" fmla="*/ 249 w 579"/>
                <a:gd name="T59" fmla="*/ 351 h 480"/>
                <a:gd name="T60" fmla="*/ 268 w 579"/>
                <a:gd name="T61" fmla="*/ 361 h 480"/>
                <a:gd name="T62" fmla="*/ 291 w 579"/>
                <a:gd name="T63" fmla="*/ 346 h 480"/>
                <a:gd name="T64" fmla="*/ 306 w 579"/>
                <a:gd name="T65" fmla="*/ 329 h 480"/>
                <a:gd name="T66" fmla="*/ 323 w 579"/>
                <a:gd name="T67" fmla="*/ 301 h 480"/>
                <a:gd name="T68" fmla="*/ 350 w 579"/>
                <a:gd name="T69" fmla="*/ 304 h 480"/>
                <a:gd name="T70" fmla="*/ 368 w 579"/>
                <a:gd name="T71" fmla="*/ 321 h 480"/>
                <a:gd name="T72" fmla="*/ 428 w 579"/>
                <a:gd name="T73" fmla="*/ 329 h 480"/>
                <a:gd name="T74" fmla="*/ 447 w 579"/>
                <a:gd name="T75" fmla="*/ 346 h 480"/>
                <a:gd name="T76" fmla="*/ 465 w 579"/>
                <a:gd name="T77" fmla="*/ 358 h 480"/>
                <a:gd name="T78" fmla="*/ 485 w 579"/>
                <a:gd name="T79" fmla="*/ 378 h 480"/>
                <a:gd name="T80" fmla="*/ 500 w 579"/>
                <a:gd name="T81" fmla="*/ 378 h 480"/>
                <a:gd name="T82" fmla="*/ 517 w 579"/>
                <a:gd name="T83" fmla="*/ 378 h 480"/>
                <a:gd name="T84" fmla="*/ 522 w 579"/>
                <a:gd name="T85" fmla="*/ 388 h 480"/>
                <a:gd name="T86" fmla="*/ 529 w 579"/>
                <a:gd name="T87" fmla="*/ 413 h 480"/>
                <a:gd name="T88" fmla="*/ 539 w 579"/>
                <a:gd name="T89" fmla="*/ 428 h 480"/>
                <a:gd name="T90" fmla="*/ 567 w 579"/>
                <a:gd name="T91" fmla="*/ 435 h 480"/>
                <a:gd name="T92" fmla="*/ 557 w 579"/>
                <a:gd name="T93" fmla="*/ 418 h 480"/>
                <a:gd name="T94" fmla="*/ 539 w 579"/>
                <a:gd name="T95" fmla="*/ 383 h 480"/>
                <a:gd name="T96" fmla="*/ 510 w 579"/>
                <a:gd name="T97" fmla="*/ 334 h 480"/>
                <a:gd name="T98" fmla="*/ 495 w 579"/>
                <a:gd name="T99" fmla="*/ 344 h 480"/>
                <a:gd name="T100" fmla="*/ 480 w 579"/>
                <a:gd name="T101" fmla="*/ 353 h 480"/>
                <a:gd name="T102" fmla="*/ 460 w 579"/>
                <a:gd name="T103" fmla="*/ 321 h 480"/>
                <a:gd name="T104" fmla="*/ 438 w 579"/>
                <a:gd name="T105" fmla="*/ 321 h 480"/>
                <a:gd name="T106" fmla="*/ 497 w 579"/>
                <a:gd name="T107" fmla="*/ 33 h 480"/>
                <a:gd name="T108" fmla="*/ 435 w 579"/>
                <a:gd name="T109" fmla="*/ 40 h 480"/>
                <a:gd name="T110" fmla="*/ 368 w 579"/>
                <a:gd name="T111" fmla="*/ 30 h 480"/>
                <a:gd name="T112" fmla="*/ 331 w 579"/>
                <a:gd name="T113" fmla="*/ 23 h 480"/>
                <a:gd name="T114" fmla="*/ 303 w 579"/>
                <a:gd name="T115" fmla="*/ 3 h 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79" h="480">
                  <a:moveTo>
                    <a:pt x="291" y="0"/>
                  </a:moveTo>
                  <a:lnTo>
                    <a:pt x="276" y="13"/>
                  </a:lnTo>
                  <a:lnTo>
                    <a:pt x="239" y="13"/>
                  </a:lnTo>
                  <a:lnTo>
                    <a:pt x="229" y="30"/>
                  </a:lnTo>
                  <a:lnTo>
                    <a:pt x="186" y="35"/>
                  </a:lnTo>
                  <a:lnTo>
                    <a:pt x="172" y="68"/>
                  </a:lnTo>
                  <a:lnTo>
                    <a:pt x="109" y="78"/>
                  </a:lnTo>
                  <a:lnTo>
                    <a:pt x="104" y="92"/>
                  </a:lnTo>
                  <a:lnTo>
                    <a:pt x="137" y="117"/>
                  </a:lnTo>
                  <a:lnTo>
                    <a:pt x="189" y="140"/>
                  </a:lnTo>
                  <a:lnTo>
                    <a:pt x="152" y="145"/>
                  </a:lnTo>
                  <a:lnTo>
                    <a:pt x="127" y="152"/>
                  </a:lnTo>
                  <a:lnTo>
                    <a:pt x="117" y="137"/>
                  </a:lnTo>
                  <a:lnTo>
                    <a:pt x="97" y="142"/>
                  </a:lnTo>
                  <a:lnTo>
                    <a:pt x="97" y="152"/>
                  </a:lnTo>
                  <a:lnTo>
                    <a:pt x="67" y="155"/>
                  </a:lnTo>
                  <a:lnTo>
                    <a:pt x="57" y="167"/>
                  </a:lnTo>
                  <a:lnTo>
                    <a:pt x="77" y="177"/>
                  </a:lnTo>
                  <a:lnTo>
                    <a:pt x="72" y="194"/>
                  </a:lnTo>
                  <a:lnTo>
                    <a:pt x="84" y="204"/>
                  </a:lnTo>
                  <a:lnTo>
                    <a:pt x="122" y="204"/>
                  </a:lnTo>
                  <a:lnTo>
                    <a:pt x="147" y="189"/>
                  </a:lnTo>
                  <a:lnTo>
                    <a:pt x="157" y="197"/>
                  </a:lnTo>
                  <a:lnTo>
                    <a:pt x="144" y="207"/>
                  </a:lnTo>
                  <a:lnTo>
                    <a:pt x="142" y="229"/>
                  </a:lnTo>
                  <a:lnTo>
                    <a:pt x="112" y="229"/>
                  </a:lnTo>
                  <a:lnTo>
                    <a:pt x="107" y="247"/>
                  </a:lnTo>
                  <a:lnTo>
                    <a:pt x="92" y="234"/>
                  </a:lnTo>
                  <a:lnTo>
                    <a:pt x="67" y="247"/>
                  </a:lnTo>
                  <a:lnTo>
                    <a:pt x="65" y="264"/>
                  </a:lnTo>
                  <a:lnTo>
                    <a:pt x="40" y="279"/>
                  </a:lnTo>
                  <a:lnTo>
                    <a:pt x="47" y="294"/>
                  </a:lnTo>
                  <a:lnTo>
                    <a:pt x="65" y="299"/>
                  </a:lnTo>
                  <a:lnTo>
                    <a:pt x="42" y="311"/>
                  </a:lnTo>
                  <a:lnTo>
                    <a:pt x="57" y="329"/>
                  </a:lnTo>
                  <a:lnTo>
                    <a:pt x="77" y="326"/>
                  </a:lnTo>
                  <a:lnTo>
                    <a:pt x="84" y="311"/>
                  </a:lnTo>
                  <a:lnTo>
                    <a:pt x="84" y="336"/>
                  </a:lnTo>
                  <a:lnTo>
                    <a:pt x="77" y="351"/>
                  </a:lnTo>
                  <a:lnTo>
                    <a:pt x="80" y="371"/>
                  </a:lnTo>
                  <a:lnTo>
                    <a:pt x="107" y="361"/>
                  </a:lnTo>
                  <a:lnTo>
                    <a:pt x="117" y="368"/>
                  </a:lnTo>
                  <a:lnTo>
                    <a:pt x="137" y="361"/>
                  </a:lnTo>
                  <a:lnTo>
                    <a:pt x="142" y="391"/>
                  </a:lnTo>
                  <a:lnTo>
                    <a:pt x="70" y="435"/>
                  </a:lnTo>
                  <a:lnTo>
                    <a:pt x="20" y="458"/>
                  </a:lnTo>
                  <a:lnTo>
                    <a:pt x="0" y="470"/>
                  </a:lnTo>
                  <a:lnTo>
                    <a:pt x="0" y="480"/>
                  </a:lnTo>
                  <a:lnTo>
                    <a:pt x="77" y="465"/>
                  </a:lnTo>
                  <a:lnTo>
                    <a:pt x="164" y="406"/>
                  </a:lnTo>
                  <a:lnTo>
                    <a:pt x="174" y="398"/>
                  </a:lnTo>
                  <a:lnTo>
                    <a:pt x="189" y="388"/>
                  </a:lnTo>
                  <a:lnTo>
                    <a:pt x="214" y="373"/>
                  </a:lnTo>
                  <a:lnTo>
                    <a:pt x="209" y="356"/>
                  </a:lnTo>
                  <a:lnTo>
                    <a:pt x="236" y="331"/>
                  </a:lnTo>
                  <a:lnTo>
                    <a:pt x="268" y="289"/>
                  </a:lnTo>
                  <a:lnTo>
                    <a:pt x="298" y="296"/>
                  </a:lnTo>
                  <a:lnTo>
                    <a:pt x="254" y="331"/>
                  </a:lnTo>
                  <a:lnTo>
                    <a:pt x="261" y="341"/>
                  </a:lnTo>
                  <a:lnTo>
                    <a:pt x="249" y="351"/>
                  </a:lnTo>
                  <a:lnTo>
                    <a:pt x="261" y="361"/>
                  </a:lnTo>
                  <a:lnTo>
                    <a:pt x="268" y="361"/>
                  </a:lnTo>
                  <a:lnTo>
                    <a:pt x="276" y="358"/>
                  </a:lnTo>
                  <a:lnTo>
                    <a:pt x="291" y="346"/>
                  </a:lnTo>
                  <a:lnTo>
                    <a:pt x="301" y="334"/>
                  </a:lnTo>
                  <a:lnTo>
                    <a:pt x="306" y="329"/>
                  </a:lnTo>
                  <a:lnTo>
                    <a:pt x="321" y="321"/>
                  </a:lnTo>
                  <a:lnTo>
                    <a:pt x="323" y="301"/>
                  </a:lnTo>
                  <a:lnTo>
                    <a:pt x="346" y="294"/>
                  </a:lnTo>
                  <a:lnTo>
                    <a:pt x="350" y="304"/>
                  </a:lnTo>
                  <a:lnTo>
                    <a:pt x="368" y="306"/>
                  </a:lnTo>
                  <a:lnTo>
                    <a:pt x="368" y="321"/>
                  </a:lnTo>
                  <a:lnTo>
                    <a:pt x="423" y="326"/>
                  </a:lnTo>
                  <a:lnTo>
                    <a:pt x="428" y="329"/>
                  </a:lnTo>
                  <a:lnTo>
                    <a:pt x="430" y="341"/>
                  </a:lnTo>
                  <a:lnTo>
                    <a:pt x="447" y="346"/>
                  </a:lnTo>
                  <a:lnTo>
                    <a:pt x="450" y="358"/>
                  </a:lnTo>
                  <a:lnTo>
                    <a:pt x="465" y="358"/>
                  </a:lnTo>
                  <a:lnTo>
                    <a:pt x="470" y="371"/>
                  </a:lnTo>
                  <a:lnTo>
                    <a:pt x="485" y="378"/>
                  </a:lnTo>
                  <a:lnTo>
                    <a:pt x="492" y="366"/>
                  </a:lnTo>
                  <a:lnTo>
                    <a:pt x="500" y="378"/>
                  </a:lnTo>
                  <a:lnTo>
                    <a:pt x="510" y="383"/>
                  </a:lnTo>
                  <a:lnTo>
                    <a:pt x="517" y="378"/>
                  </a:lnTo>
                  <a:lnTo>
                    <a:pt x="525" y="381"/>
                  </a:lnTo>
                  <a:lnTo>
                    <a:pt x="522" y="388"/>
                  </a:lnTo>
                  <a:lnTo>
                    <a:pt x="522" y="403"/>
                  </a:lnTo>
                  <a:lnTo>
                    <a:pt x="529" y="413"/>
                  </a:lnTo>
                  <a:lnTo>
                    <a:pt x="539" y="413"/>
                  </a:lnTo>
                  <a:lnTo>
                    <a:pt x="539" y="428"/>
                  </a:lnTo>
                  <a:lnTo>
                    <a:pt x="554" y="435"/>
                  </a:lnTo>
                  <a:lnTo>
                    <a:pt x="567" y="435"/>
                  </a:lnTo>
                  <a:lnTo>
                    <a:pt x="579" y="423"/>
                  </a:lnTo>
                  <a:lnTo>
                    <a:pt x="557" y="418"/>
                  </a:lnTo>
                  <a:lnTo>
                    <a:pt x="549" y="388"/>
                  </a:lnTo>
                  <a:lnTo>
                    <a:pt x="539" y="383"/>
                  </a:lnTo>
                  <a:lnTo>
                    <a:pt x="534" y="363"/>
                  </a:lnTo>
                  <a:lnTo>
                    <a:pt x="510" y="334"/>
                  </a:lnTo>
                  <a:lnTo>
                    <a:pt x="500" y="331"/>
                  </a:lnTo>
                  <a:lnTo>
                    <a:pt x="495" y="344"/>
                  </a:lnTo>
                  <a:lnTo>
                    <a:pt x="485" y="344"/>
                  </a:lnTo>
                  <a:lnTo>
                    <a:pt x="480" y="353"/>
                  </a:lnTo>
                  <a:lnTo>
                    <a:pt x="465" y="344"/>
                  </a:lnTo>
                  <a:lnTo>
                    <a:pt x="460" y="321"/>
                  </a:lnTo>
                  <a:lnTo>
                    <a:pt x="452" y="314"/>
                  </a:lnTo>
                  <a:lnTo>
                    <a:pt x="438" y="321"/>
                  </a:lnTo>
                  <a:lnTo>
                    <a:pt x="517" y="50"/>
                  </a:lnTo>
                  <a:lnTo>
                    <a:pt x="497" y="33"/>
                  </a:lnTo>
                  <a:lnTo>
                    <a:pt x="455" y="38"/>
                  </a:lnTo>
                  <a:lnTo>
                    <a:pt x="435" y="40"/>
                  </a:lnTo>
                  <a:lnTo>
                    <a:pt x="423" y="28"/>
                  </a:lnTo>
                  <a:lnTo>
                    <a:pt x="368" y="30"/>
                  </a:lnTo>
                  <a:lnTo>
                    <a:pt x="350" y="8"/>
                  </a:lnTo>
                  <a:lnTo>
                    <a:pt x="331" y="23"/>
                  </a:lnTo>
                  <a:lnTo>
                    <a:pt x="306" y="20"/>
                  </a:lnTo>
                  <a:lnTo>
                    <a:pt x="303" y="3"/>
                  </a:lnTo>
                  <a:lnTo>
                    <a:pt x="291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237933" y="2874089"/>
              <a:ext cx="1427722" cy="801655"/>
            </a:xfrm>
            <a:custGeom>
              <a:avLst/>
              <a:gdLst>
                <a:gd name="T0" fmla="*/ 535 w 992"/>
                <a:gd name="T1" fmla="*/ 12 h 557"/>
                <a:gd name="T2" fmla="*/ 647 w 992"/>
                <a:gd name="T3" fmla="*/ 17 h 557"/>
                <a:gd name="T4" fmla="*/ 719 w 992"/>
                <a:gd name="T5" fmla="*/ 87 h 557"/>
                <a:gd name="T6" fmla="*/ 706 w 992"/>
                <a:gd name="T7" fmla="*/ 167 h 557"/>
                <a:gd name="T8" fmla="*/ 786 w 992"/>
                <a:gd name="T9" fmla="*/ 129 h 557"/>
                <a:gd name="T10" fmla="*/ 848 w 992"/>
                <a:gd name="T11" fmla="*/ 92 h 557"/>
                <a:gd name="T12" fmla="*/ 942 w 992"/>
                <a:gd name="T13" fmla="*/ 62 h 557"/>
                <a:gd name="T14" fmla="*/ 980 w 992"/>
                <a:gd name="T15" fmla="*/ 87 h 557"/>
                <a:gd name="T16" fmla="*/ 967 w 992"/>
                <a:gd name="T17" fmla="*/ 107 h 557"/>
                <a:gd name="T18" fmla="*/ 942 w 992"/>
                <a:gd name="T19" fmla="*/ 127 h 557"/>
                <a:gd name="T20" fmla="*/ 920 w 992"/>
                <a:gd name="T21" fmla="*/ 154 h 557"/>
                <a:gd name="T22" fmla="*/ 885 w 992"/>
                <a:gd name="T23" fmla="*/ 179 h 557"/>
                <a:gd name="T24" fmla="*/ 853 w 992"/>
                <a:gd name="T25" fmla="*/ 206 h 557"/>
                <a:gd name="T26" fmla="*/ 828 w 992"/>
                <a:gd name="T27" fmla="*/ 254 h 557"/>
                <a:gd name="T28" fmla="*/ 821 w 992"/>
                <a:gd name="T29" fmla="*/ 278 h 557"/>
                <a:gd name="T30" fmla="*/ 806 w 992"/>
                <a:gd name="T31" fmla="*/ 336 h 557"/>
                <a:gd name="T32" fmla="*/ 756 w 992"/>
                <a:gd name="T33" fmla="*/ 353 h 557"/>
                <a:gd name="T34" fmla="*/ 721 w 992"/>
                <a:gd name="T35" fmla="*/ 385 h 557"/>
                <a:gd name="T36" fmla="*/ 716 w 992"/>
                <a:gd name="T37" fmla="*/ 455 h 557"/>
                <a:gd name="T38" fmla="*/ 729 w 992"/>
                <a:gd name="T39" fmla="*/ 495 h 557"/>
                <a:gd name="T40" fmla="*/ 719 w 992"/>
                <a:gd name="T41" fmla="*/ 544 h 557"/>
                <a:gd name="T42" fmla="*/ 684 w 992"/>
                <a:gd name="T43" fmla="*/ 485 h 557"/>
                <a:gd name="T44" fmla="*/ 656 w 992"/>
                <a:gd name="T45" fmla="*/ 428 h 557"/>
                <a:gd name="T46" fmla="*/ 579 w 992"/>
                <a:gd name="T47" fmla="*/ 425 h 557"/>
                <a:gd name="T48" fmla="*/ 555 w 992"/>
                <a:gd name="T49" fmla="*/ 455 h 557"/>
                <a:gd name="T50" fmla="*/ 520 w 992"/>
                <a:gd name="T51" fmla="*/ 433 h 557"/>
                <a:gd name="T52" fmla="*/ 492 w 992"/>
                <a:gd name="T53" fmla="*/ 433 h 557"/>
                <a:gd name="T54" fmla="*/ 458 w 992"/>
                <a:gd name="T55" fmla="*/ 467 h 557"/>
                <a:gd name="T56" fmla="*/ 420 w 992"/>
                <a:gd name="T57" fmla="*/ 517 h 557"/>
                <a:gd name="T58" fmla="*/ 376 w 992"/>
                <a:gd name="T59" fmla="*/ 485 h 557"/>
                <a:gd name="T60" fmla="*/ 341 w 992"/>
                <a:gd name="T61" fmla="*/ 433 h 557"/>
                <a:gd name="T62" fmla="*/ 308 w 992"/>
                <a:gd name="T63" fmla="*/ 425 h 557"/>
                <a:gd name="T64" fmla="*/ 281 w 992"/>
                <a:gd name="T65" fmla="*/ 403 h 557"/>
                <a:gd name="T66" fmla="*/ 249 w 992"/>
                <a:gd name="T67" fmla="*/ 395 h 557"/>
                <a:gd name="T68" fmla="*/ 199 w 992"/>
                <a:gd name="T69" fmla="*/ 415 h 557"/>
                <a:gd name="T70" fmla="*/ 137 w 992"/>
                <a:gd name="T71" fmla="*/ 383 h 557"/>
                <a:gd name="T72" fmla="*/ 97 w 992"/>
                <a:gd name="T73" fmla="*/ 355 h 557"/>
                <a:gd name="T74" fmla="*/ 42 w 992"/>
                <a:gd name="T75" fmla="*/ 328 h 557"/>
                <a:gd name="T76" fmla="*/ 25 w 992"/>
                <a:gd name="T77" fmla="*/ 286 h 557"/>
                <a:gd name="T78" fmla="*/ 5 w 992"/>
                <a:gd name="T79" fmla="*/ 239 h 557"/>
                <a:gd name="T80" fmla="*/ 5 w 992"/>
                <a:gd name="T81" fmla="*/ 169 h 557"/>
                <a:gd name="T82" fmla="*/ 10 w 992"/>
                <a:gd name="T83" fmla="*/ 132 h 557"/>
                <a:gd name="T84" fmla="*/ 28 w 992"/>
                <a:gd name="T85" fmla="*/ 87 h 557"/>
                <a:gd name="T86" fmla="*/ 32 w 992"/>
                <a:gd name="T87" fmla="*/ 32 h 557"/>
                <a:gd name="T88" fmla="*/ 60 w 992"/>
                <a:gd name="T89" fmla="*/ 27 h 5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92" h="557">
                  <a:moveTo>
                    <a:pt x="70" y="2"/>
                  </a:moveTo>
                  <a:lnTo>
                    <a:pt x="537" y="0"/>
                  </a:lnTo>
                  <a:lnTo>
                    <a:pt x="535" y="12"/>
                  </a:lnTo>
                  <a:lnTo>
                    <a:pt x="567" y="12"/>
                  </a:lnTo>
                  <a:lnTo>
                    <a:pt x="617" y="17"/>
                  </a:lnTo>
                  <a:lnTo>
                    <a:pt x="647" y="17"/>
                  </a:lnTo>
                  <a:lnTo>
                    <a:pt x="671" y="37"/>
                  </a:lnTo>
                  <a:lnTo>
                    <a:pt x="701" y="52"/>
                  </a:lnTo>
                  <a:lnTo>
                    <a:pt x="719" y="87"/>
                  </a:lnTo>
                  <a:lnTo>
                    <a:pt x="736" y="122"/>
                  </a:lnTo>
                  <a:lnTo>
                    <a:pt x="716" y="152"/>
                  </a:lnTo>
                  <a:lnTo>
                    <a:pt x="706" y="167"/>
                  </a:lnTo>
                  <a:lnTo>
                    <a:pt x="734" y="179"/>
                  </a:lnTo>
                  <a:lnTo>
                    <a:pt x="771" y="144"/>
                  </a:lnTo>
                  <a:lnTo>
                    <a:pt x="786" y="129"/>
                  </a:lnTo>
                  <a:lnTo>
                    <a:pt x="826" y="132"/>
                  </a:lnTo>
                  <a:lnTo>
                    <a:pt x="833" y="104"/>
                  </a:lnTo>
                  <a:lnTo>
                    <a:pt x="848" y="92"/>
                  </a:lnTo>
                  <a:lnTo>
                    <a:pt x="920" y="97"/>
                  </a:lnTo>
                  <a:lnTo>
                    <a:pt x="932" y="80"/>
                  </a:lnTo>
                  <a:lnTo>
                    <a:pt x="942" y="62"/>
                  </a:lnTo>
                  <a:lnTo>
                    <a:pt x="952" y="32"/>
                  </a:lnTo>
                  <a:lnTo>
                    <a:pt x="977" y="37"/>
                  </a:lnTo>
                  <a:lnTo>
                    <a:pt x="980" y="87"/>
                  </a:lnTo>
                  <a:lnTo>
                    <a:pt x="992" y="94"/>
                  </a:lnTo>
                  <a:lnTo>
                    <a:pt x="982" y="104"/>
                  </a:lnTo>
                  <a:lnTo>
                    <a:pt x="967" y="107"/>
                  </a:lnTo>
                  <a:lnTo>
                    <a:pt x="960" y="117"/>
                  </a:lnTo>
                  <a:lnTo>
                    <a:pt x="945" y="117"/>
                  </a:lnTo>
                  <a:lnTo>
                    <a:pt x="942" y="127"/>
                  </a:lnTo>
                  <a:lnTo>
                    <a:pt x="930" y="127"/>
                  </a:lnTo>
                  <a:lnTo>
                    <a:pt x="922" y="142"/>
                  </a:lnTo>
                  <a:lnTo>
                    <a:pt x="920" y="154"/>
                  </a:lnTo>
                  <a:lnTo>
                    <a:pt x="932" y="167"/>
                  </a:lnTo>
                  <a:lnTo>
                    <a:pt x="917" y="176"/>
                  </a:lnTo>
                  <a:lnTo>
                    <a:pt x="885" y="179"/>
                  </a:lnTo>
                  <a:lnTo>
                    <a:pt x="878" y="194"/>
                  </a:lnTo>
                  <a:lnTo>
                    <a:pt x="873" y="204"/>
                  </a:lnTo>
                  <a:lnTo>
                    <a:pt x="853" y="206"/>
                  </a:lnTo>
                  <a:lnTo>
                    <a:pt x="845" y="219"/>
                  </a:lnTo>
                  <a:lnTo>
                    <a:pt x="840" y="249"/>
                  </a:lnTo>
                  <a:lnTo>
                    <a:pt x="828" y="254"/>
                  </a:lnTo>
                  <a:lnTo>
                    <a:pt x="821" y="261"/>
                  </a:lnTo>
                  <a:lnTo>
                    <a:pt x="813" y="273"/>
                  </a:lnTo>
                  <a:lnTo>
                    <a:pt x="821" y="278"/>
                  </a:lnTo>
                  <a:lnTo>
                    <a:pt x="821" y="316"/>
                  </a:lnTo>
                  <a:lnTo>
                    <a:pt x="808" y="323"/>
                  </a:lnTo>
                  <a:lnTo>
                    <a:pt x="806" y="336"/>
                  </a:lnTo>
                  <a:lnTo>
                    <a:pt x="786" y="336"/>
                  </a:lnTo>
                  <a:lnTo>
                    <a:pt x="776" y="346"/>
                  </a:lnTo>
                  <a:lnTo>
                    <a:pt x="756" y="353"/>
                  </a:lnTo>
                  <a:lnTo>
                    <a:pt x="751" y="370"/>
                  </a:lnTo>
                  <a:lnTo>
                    <a:pt x="736" y="373"/>
                  </a:lnTo>
                  <a:lnTo>
                    <a:pt x="721" y="385"/>
                  </a:lnTo>
                  <a:lnTo>
                    <a:pt x="716" y="403"/>
                  </a:lnTo>
                  <a:lnTo>
                    <a:pt x="716" y="433"/>
                  </a:lnTo>
                  <a:lnTo>
                    <a:pt x="716" y="455"/>
                  </a:lnTo>
                  <a:lnTo>
                    <a:pt x="724" y="457"/>
                  </a:lnTo>
                  <a:lnTo>
                    <a:pt x="724" y="487"/>
                  </a:lnTo>
                  <a:lnTo>
                    <a:pt x="729" y="495"/>
                  </a:lnTo>
                  <a:lnTo>
                    <a:pt x="736" y="539"/>
                  </a:lnTo>
                  <a:lnTo>
                    <a:pt x="729" y="557"/>
                  </a:lnTo>
                  <a:lnTo>
                    <a:pt x="719" y="544"/>
                  </a:lnTo>
                  <a:lnTo>
                    <a:pt x="701" y="534"/>
                  </a:lnTo>
                  <a:lnTo>
                    <a:pt x="694" y="510"/>
                  </a:lnTo>
                  <a:lnTo>
                    <a:pt x="684" y="485"/>
                  </a:lnTo>
                  <a:lnTo>
                    <a:pt x="686" y="455"/>
                  </a:lnTo>
                  <a:lnTo>
                    <a:pt x="674" y="442"/>
                  </a:lnTo>
                  <a:lnTo>
                    <a:pt x="656" y="428"/>
                  </a:lnTo>
                  <a:lnTo>
                    <a:pt x="637" y="433"/>
                  </a:lnTo>
                  <a:lnTo>
                    <a:pt x="619" y="423"/>
                  </a:lnTo>
                  <a:lnTo>
                    <a:pt x="579" y="425"/>
                  </a:lnTo>
                  <a:lnTo>
                    <a:pt x="567" y="435"/>
                  </a:lnTo>
                  <a:lnTo>
                    <a:pt x="574" y="455"/>
                  </a:lnTo>
                  <a:lnTo>
                    <a:pt x="555" y="455"/>
                  </a:lnTo>
                  <a:lnTo>
                    <a:pt x="535" y="450"/>
                  </a:lnTo>
                  <a:lnTo>
                    <a:pt x="532" y="425"/>
                  </a:lnTo>
                  <a:lnTo>
                    <a:pt x="520" y="433"/>
                  </a:lnTo>
                  <a:lnTo>
                    <a:pt x="515" y="450"/>
                  </a:lnTo>
                  <a:lnTo>
                    <a:pt x="505" y="447"/>
                  </a:lnTo>
                  <a:lnTo>
                    <a:pt x="492" y="433"/>
                  </a:lnTo>
                  <a:lnTo>
                    <a:pt x="480" y="440"/>
                  </a:lnTo>
                  <a:lnTo>
                    <a:pt x="470" y="450"/>
                  </a:lnTo>
                  <a:lnTo>
                    <a:pt x="458" y="467"/>
                  </a:lnTo>
                  <a:lnTo>
                    <a:pt x="448" y="480"/>
                  </a:lnTo>
                  <a:lnTo>
                    <a:pt x="428" y="487"/>
                  </a:lnTo>
                  <a:lnTo>
                    <a:pt x="420" y="517"/>
                  </a:lnTo>
                  <a:lnTo>
                    <a:pt x="395" y="517"/>
                  </a:lnTo>
                  <a:lnTo>
                    <a:pt x="390" y="492"/>
                  </a:lnTo>
                  <a:lnTo>
                    <a:pt x="376" y="485"/>
                  </a:lnTo>
                  <a:lnTo>
                    <a:pt x="371" y="460"/>
                  </a:lnTo>
                  <a:lnTo>
                    <a:pt x="361" y="445"/>
                  </a:lnTo>
                  <a:lnTo>
                    <a:pt x="341" y="433"/>
                  </a:lnTo>
                  <a:lnTo>
                    <a:pt x="336" y="455"/>
                  </a:lnTo>
                  <a:lnTo>
                    <a:pt x="318" y="455"/>
                  </a:lnTo>
                  <a:lnTo>
                    <a:pt x="308" y="425"/>
                  </a:lnTo>
                  <a:lnTo>
                    <a:pt x="298" y="423"/>
                  </a:lnTo>
                  <a:lnTo>
                    <a:pt x="296" y="408"/>
                  </a:lnTo>
                  <a:lnTo>
                    <a:pt x="281" y="403"/>
                  </a:lnTo>
                  <a:lnTo>
                    <a:pt x="276" y="385"/>
                  </a:lnTo>
                  <a:lnTo>
                    <a:pt x="264" y="395"/>
                  </a:lnTo>
                  <a:lnTo>
                    <a:pt x="249" y="395"/>
                  </a:lnTo>
                  <a:lnTo>
                    <a:pt x="246" y="408"/>
                  </a:lnTo>
                  <a:lnTo>
                    <a:pt x="219" y="408"/>
                  </a:lnTo>
                  <a:lnTo>
                    <a:pt x="199" y="415"/>
                  </a:lnTo>
                  <a:lnTo>
                    <a:pt x="172" y="408"/>
                  </a:lnTo>
                  <a:lnTo>
                    <a:pt x="152" y="390"/>
                  </a:lnTo>
                  <a:lnTo>
                    <a:pt x="137" y="383"/>
                  </a:lnTo>
                  <a:lnTo>
                    <a:pt x="132" y="373"/>
                  </a:lnTo>
                  <a:lnTo>
                    <a:pt x="95" y="370"/>
                  </a:lnTo>
                  <a:lnTo>
                    <a:pt x="97" y="355"/>
                  </a:lnTo>
                  <a:lnTo>
                    <a:pt x="72" y="348"/>
                  </a:lnTo>
                  <a:lnTo>
                    <a:pt x="57" y="336"/>
                  </a:lnTo>
                  <a:lnTo>
                    <a:pt x="42" y="328"/>
                  </a:lnTo>
                  <a:lnTo>
                    <a:pt x="45" y="303"/>
                  </a:lnTo>
                  <a:lnTo>
                    <a:pt x="23" y="298"/>
                  </a:lnTo>
                  <a:lnTo>
                    <a:pt x="25" y="286"/>
                  </a:lnTo>
                  <a:lnTo>
                    <a:pt x="30" y="268"/>
                  </a:lnTo>
                  <a:lnTo>
                    <a:pt x="20" y="254"/>
                  </a:lnTo>
                  <a:lnTo>
                    <a:pt x="5" y="239"/>
                  </a:lnTo>
                  <a:lnTo>
                    <a:pt x="0" y="186"/>
                  </a:lnTo>
                  <a:lnTo>
                    <a:pt x="13" y="179"/>
                  </a:lnTo>
                  <a:lnTo>
                    <a:pt x="5" y="169"/>
                  </a:lnTo>
                  <a:lnTo>
                    <a:pt x="3" y="162"/>
                  </a:lnTo>
                  <a:lnTo>
                    <a:pt x="8" y="152"/>
                  </a:lnTo>
                  <a:lnTo>
                    <a:pt x="10" y="132"/>
                  </a:lnTo>
                  <a:lnTo>
                    <a:pt x="20" y="127"/>
                  </a:lnTo>
                  <a:lnTo>
                    <a:pt x="20" y="94"/>
                  </a:lnTo>
                  <a:lnTo>
                    <a:pt x="28" y="87"/>
                  </a:lnTo>
                  <a:lnTo>
                    <a:pt x="35" y="52"/>
                  </a:lnTo>
                  <a:lnTo>
                    <a:pt x="45" y="50"/>
                  </a:lnTo>
                  <a:lnTo>
                    <a:pt x="32" y="32"/>
                  </a:lnTo>
                  <a:lnTo>
                    <a:pt x="32" y="17"/>
                  </a:lnTo>
                  <a:lnTo>
                    <a:pt x="50" y="15"/>
                  </a:lnTo>
                  <a:lnTo>
                    <a:pt x="60" y="27"/>
                  </a:lnTo>
                  <a:lnTo>
                    <a:pt x="67" y="37"/>
                  </a:lnTo>
                  <a:lnTo>
                    <a:pt x="7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027805" y="1983203"/>
              <a:ext cx="1931454" cy="1148510"/>
            </a:xfrm>
            <a:custGeom>
              <a:avLst/>
              <a:gdLst>
                <a:gd name="T0" fmla="*/ 1252 w 1342"/>
                <a:gd name="T1" fmla="*/ 368 h 798"/>
                <a:gd name="T2" fmla="*/ 1257 w 1342"/>
                <a:gd name="T3" fmla="*/ 418 h 798"/>
                <a:gd name="T4" fmla="*/ 1302 w 1342"/>
                <a:gd name="T5" fmla="*/ 457 h 798"/>
                <a:gd name="T6" fmla="*/ 1300 w 1342"/>
                <a:gd name="T7" fmla="*/ 497 h 798"/>
                <a:gd name="T8" fmla="*/ 1322 w 1342"/>
                <a:gd name="T9" fmla="*/ 495 h 798"/>
                <a:gd name="T10" fmla="*/ 1342 w 1342"/>
                <a:gd name="T11" fmla="*/ 544 h 798"/>
                <a:gd name="T12" fmla="*/ 1277 w 1342"/>
                <a:gd name="T13" fmla="*/ 579 h 798"/>
                <a:gd name="T14" fmla="*/ 1155 w 1342"/>
                <a:gd name="T15" fmla="*/ 597 h 798"/>
                <a:gd name="T16" fmla="*/ 1168 w 1342"/>
                <a:gd name="T17" fmla="*/ 607 h 798"/>
                <a:gd name="T18" fmla="*/ 1245 w 1342"/>
                <a:gd name="T19" fmla="*/ 689 h 798"/>
                <a:gd name="T20" fmla="*/ 1200 w 1342"/>
                <a:gd name="T21" fmla="*/ 681 h 798"/>
                <a:gd name="T22" fmla="*/ 1126 w 1342"/>
                <a:gd name="T23" fmla="*/ 706 h 798"/>
                <a:gd name="T24" fmla="*/ 1078 w 1342"/>
                <a:gd name="T25" fmla="*/ 699 h 798"/>
                <a:gd name="T26" fmla="*/ 972 w 1342"/>
                <a:gd name="T27" fmla="*/ 751 h 798"/>
                <a:gd name="T28" fmla="*/ 852 w 1342"/>
                <a:gd name="T29" fmla="*/ 786 h 798"/>
                <a:gd name="T30" fmla="*/ 847 w 1342"/>
                <a:gd name="T31" fmla="*/ 671 h 798"/>
                <a:gd name="T32" fmla="*/ 713 w 1342"/>
                <a:gd name="T33" fmla="*/ 631 h 798"/>
                <a:gd name="T34" fmla="*/ 193 w 1342"/>
                <a:gd name="T35" fmla="*/ 592 h 798"/>
                <a:gd name="T36" fmla="*/ 149 w 1342"/>
                <a:gd name="T37" fmla="*/ 507 h 798"/>
                <a:gd name="T38" fmla="*/ 121 w 1342"/>
                <a:gd name="T39" fmla="*/ 462 h 798"/>
                <a:gd name="T40" fmla="*/ 111 w 1342"/>
                <a:gd name="T41" fmla="*/ 400 h 798"/>
                <a:gd name="T42" fmla="*/ 62 w 1342"/>
                <a:gd name="T43" fmla="*/ 343 h 798"/>
                <a:gd name="T44" fmla="*/ 27 w 1342"/>
                <a:gd name="T45" fmla="*/ 356 h 798"/>
                <a:gd name="T46" fmla="*/ 79 w 1342"/>
                <a:gd name="T47" fmla="*/ 62 h 798"/>
                <a:gd name="T48" fmla="*/ 196 w 1342"/>
                <a:gd name="T49" fmla="*/ 77 h 798"/>
                <a:gd name="T50" fmla="*/ 236 w 1342"/>
                <a:gd name="T51" fmla="*/ 65 h 798"/>
                <a:gd name="T52" fmla="*/ 298 w 1342"/>
                <a:gd name="T53" fmla="*/ 32 h 798"/>
                <a:gd name="T54" fmla="*/ 355 w 1342"/>
                <a:gd name="T55" fmla="*/ 67 h 798"/>
                <a:gd name="T56" fmla="*/ 509 w 1342"/>
                <a:gd name="T57" fmla="*/ 95 h 798"/>
                <a:gd name="T58" fmla="*/ 596 w 1342"/>
                <a:gd name="T59" fmla="*/ 132 h 798"/>
                <a:gd name="T60" fmla="*/ 723 w 1342"/>
                <a:gd name="T61" fmla="*/ 117 h 798"/>
                <a:gd name="T62" fmla="*/ 790 w 1342"/>
                <a:gd name="T63" fmla="*/ 104 h 798"/>
                <a:gd name="T64" fmla="*/ 793 w 1342"/>
                <a:gd name="T65" fmla="*/ 30 h 798"/>
                <a:gd name="T66" fmla="*/ 842 w 1342"/>
                <a:gd name="T67" fmla="*/ 40 h 798"/>
                <a:gd name="T68" fmla="*/ 889 w 1342"/>
                <a:gd name="T69" fmla="*/ 72 h 798"/>
                <a:gd name="T70" fmla="*/ 919 w 1342"/>
                <a:gd name="T71" fmla="*/ 109 h 798"/>
                <a:gd name="T72" fmla="*/ 999 w 1342"/>
                <a:gd name="T73" fmla="*/ 90 h 798"/>
                <a:gd name="T74" fmla="*/ 934 w 1342"/>
                <a:gd name="T75" fmla="*/ 149 h 798"/>
                <a:gd name="T76" fmla="*/ 865 w 1342"/>
                <a:gd name="T77" fmla="*/ 162 h 798"/>
                <a:gd name="T78" fmla="*/ 875 w 1342"/>
                <a:gd name="T79" fmla="*/ 214 h 798"/>
                <a:gd name="T80" fmla="*/ 788 w 1342"/>
                <a:gd name="T81" fmla="*/ 276 h 798"/>
                <a:gd name="T82" fmla="*/ 758 w 1342"/>
                <a:gd name="T83" fmla="*/ 365 h 798"/>
                <a:gd name="T84" fmla="*/ 865 w 1342"/>
                <a:gd name="T85" fmla="*/ 447 h 798"/>
                <a:gd name="T86" fmla="*/ 909 w 1342"/>
                <a:gd name="T87" fmla="*/ 537 h 798"/>
                <a:gd name="T88" fmla="*/ 959 w 1342"/>
                <a:gd name="T89" fmla="*/ 562 h 798"/>
                <a:gd name="T90" fmla="*/ 974 w 1342"/>
                <a:gd name="T91" fmla="*/ 467 h 798"/>
                <a:gd name="T92" fmla="*/ 1004 w 1342"/>
                <a:gd name="T93" fmla="*/ 398 h 798"/>
                <a:gd name="T94" fmla="*/ 991 w 1342"/>
                <a:gd name="T95" fmla="*/ 365 h 798"/>
                <a:gd name="T96" fmla="*/ 1014 w 1342"/>
                <a:gd name="T97" fmla="*/ 281 h 798"/>
                <a:gd name="T98" fmla="*/ 1116 w 1342"/>
                <a:gd name="T99" fmla="*/ 286 h 798"/>
                <a:gd name="T100" fmla="*/ 1146 w 1342"/>
                <a:gd name="T101" fmla="*/ 373 h 798"/>
                <a:gd name="T102" fmla="*/ 1225 w 1342"/>
                <a:gd name="T103" fmla="*/ 331 h 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342" h="798">
                  <a:moveTo>
                    <a:pt x="1225" y="331"/>
                  </a:moveTo>
                  <a:lnTo>
                    <a:pt x="1235" y="343"/>
                  </a:lnTo>
                  <a:lnTo>
                    <a:pt x="1240" y="368"/>
                  </a:lnTo>
                  <a:lnTo>
                    <a:pt x="1252" y="368"/>
                  </a:lnTo>
                  <a:lnTo>
                    <a:pt x="1257" y="400"/>
                  </a:lnTo>
                  <a:lnTo>
                    <a:pt x="1267" y="398"/>
                  </a:lnTo>
                  <a:lnTo>
                    <a:pt x="1267" y="410"/>
                  </a:lnTo>
                  <a:lnTo>
                    <a:pt x="1257" y="418"/>
                  </a:lnTo>
                  <a:lnTo>
                    <a:pt x="1260" y="430"/>
                  </a:lnTo>
                  <a:lnTo>
                    <a:pt x="1272" y="433"/>
                  </a:lnTo>
                  <a:lnTo>
                    <a:pt x="1277" y="462"/>
                  </a:lnTo>
                  <a:lnTo>
                    <a:pt x="1302" y="457"/>
                  </a:lnTo>
                  <a:lnTo>
                    <a:pt x="1297" y="470"/>
                  </a:lnTo>
                  <a:lnTo>
                    <a:pt x="1317" y="467"/>
                  </a:lnTo>
                  <a:lnTo>
                    <a:pt x="1305" y="485"/>
                  </a:lnTo>
                  <a:lnTo>
                    <a:pt x="1300" y="497"/>
                  </a:lnTo>
                  <a:lnTo>
                    <a:pt x="1275" y="502"/>
                  </a:lnTo>
                  <a:lnTo>
                    <a:pt x="1285" y="510"/>
                  </a:lnTo>
                  <a:lnTo>
                    <a:pt x="1305" y="502"/>
                  </a:lnTo>
                  <a:lnTo>
                    <a:pt x="1322" y="495"/>
                  </a:lnTo>
                  <a:lnTo>
                    <a:pt x="1337" y="495"/>
                  </a:lnTo>
                  <a:lnTo>
                    <a:pt x="1342" y="510"/>
                  </a:lnTo>
                  <a:lnTo>
                    <a:pt x="1342" y="532"/>
                  </a:lnTo>
                  <a:lnTo>
                    <a:pt x="1342" y="544"/>
                  </a:lnTo>
                  <a:lnTo>
                    <a:pt x="1342" y="554"/>
                  </a:lnTo>
                  <a:lnTo>
                    <a:pt x="1320" y="559"/>
                  </a:lnTo>
                  <a:lnTo>
                    <a:pt x="1302" y="559"/>
                  </a:lnTo>
                  <a:lnTo>
                    <a:pt x="1277" y="579"/>
                  </a:lnTo>
                  <a:lnTo>
                    <a:pt x="1235" y="584"/>
                  </a:lnTo>
                  <a:lnTo>
                    <a:pt x="1193" y="584"/>
                  </a:lnTo>
                  <a:lnTo>
                    <a:pt x="1170" y="582"/>
                  </a:lnTo>
                  <a:lnTo>
                    <a:pt x="1155" y="597"/>
                  </a:lnTo>
                  <a:lnTo>
                    <a:pt x="1131" y="607"/>
                  </a:lnTo>
                  <a:lnTo>
                    <a:pt x="1111" y="634"/>
                  </a:lnTo>
                  <a:lnTo>
                    <a:pt x="1148" y="619"/>
                  </a:lnTo>
                  <a:lnTo>
                    <a:pt x="1168" y="607"/>
                  </a:lnTo>
                  <a:lnTo>
                    <a:pt x="1190" y="619"/>
                  </a:lnTo>
                  <a:lnTo>
                    <a:pt x="1175" y="641"/>
                  </a:lnTo>
                  <a:lnTo>
                    <a:pt x="1198" y="664"/>
                  </a:lnTo>
                  <a:lnTo>
                    <a:pt x="1245" y="689"/>
                  </a:lnTo>
                  <a:lnTo>
                    <a:pt x="1200" y="713"/>
                  </a:lnTo>
                  <a:lnTo>
                    <a:pt x="1158" y="741"/>
                  </a:lnTo>
                  <a:lnTo>
                    <a:pt x="1148" y="731"/>
                  </a:lnTo>
                  <a:lnTo>
                    <a:pt x="1200" y="681"/>
                  </a:lnTo>
                  <a:lnTo>
                    <a:pt x="1198" y="674"/>
                  </a:lnTo>
                  <a:lnTo>
                    <a:pt x="1183" y="674"/>
                  </a:lnTo>
                  <a:lnTo>
                    <a:pt x="1138" y="713"/>
                  </a:lnTo>
                  <a:lnTo>
                    <a:pt x="1126" y="706"/>
                  </a:lnTo>
                  <a:lnTo>
                    <a:pt x="1123" y="656"/>
                  </a:lnTo>
                  <a:lnTo>
                    <a:pt x="1098" y="651"/>
                  </a:lnTo>
                  <a:lnTo>
                    <a:pt x="1088" y="681"/>
                  </a:lnTo>
                  <a:lnTo>
                    <a:pt x="1078" y="699"/>
                  </a:lnTo>
                  <a:lnTo>
                    <a:pt x="1066" y="716"/>
                  </a:lnTo>
                  <a:lnTo>
                    <a:pt x="994" y="711"/>
                  </a:lnTo>
                  <a:lnTo>
                    <a:pt x="979" y="723"/>
                  </a:lnTo>
                  <a:lnTo>
                    <a:pt x="972" y="751"/>
                  </a:lnTo>
                  <a:lnTo>
                    <a:pt x="932" y="748"/>
                  </a:lnTo>
                  <a:lnTo>
                    <a:pt x="917" y="763"/>
                  </a:lnTo>
                  <a:lnTo>
                    <a:pt x="880" y="798"/>
                  </a:lnTo>
                  <a:lnTo>
                    <a:pt x="852" y="786"/>
                  </a:lnTo>
                  <a:lnTo>
                    <a:pt x="862" y="771"/>
                  </a:lnTo>
                  <a:lnTo>
                    <a:pt x="882" y="741"/>
                  </a:lnTo>
                  <a:lnTo>
                    <a:pt x="865" y="706"/>
                  </a:lnTo>
                  <a:lnTo>
                    <a:pt x="847" y="671"/>
                  </a:lnTo>
                  <a:lnTo>
                    <a:pt x="817" y="656"/>
                  </a:lnTo>
                  <a:lnTo>
                    <a:pt x="793" y="636"/>
                  </a:lnTo>
                  <a:lnTo>
                    <a:pt x="763" y="636"/>
                  </a:lnTo>
                  <a:lnTo>
                    <a:pt x="713" y="631"/>
                  </a:lnTo>
                  <a:lnTo>
                    <a:pt x="681" y="631"/>
                  </a:lnTo>
                  <a:lnTo>
                    <a:pt x="683" y="619"/>
                  </a:lnTo>
                  <a:lnTo>
                    <a:pt x="216" y="621"/>
                  </a:lnTo>
                  <a:lnTo>
                    <a:pt x="193" y="592"/>
                  </a:lnTo>
                  <a:lnTo>
                    <a:pt x="171" y="577"/>
                  </a:lnTo>
                  <a:lnTo>
                    <a:pt x="151" y="557"/>
                  </a:lnTo>
                  <a:lnTo>
                    <a:pt x="151" y="530"/>
                  </a:lnTo>
                  <a:lnTo>
                    <a:pt x="149" y="507"/>
                  </a:lnTo>
                  <a:lnTo>
                    <a:pt x="131" y="510"/>
                  </a:lnTo>
                  <a:lnTo>
                    <a:pt x="129" y="492"/>
                  </a:lnTo>
                  <a:lnTo>
                    <a:pt x="119" y="487"/>
                  </a:lnTo>
                  <a:lnTo>
                    <a:pt x="121" y="462"/>
                  </a:lnTo>
                  <a:lnTo>
                    <a:pt x="129" y="447"/>
                  </a:lnTo>
                  <a:lnTo>
                    <a:pt x="141" y="435"/>
                  </a:lnTo>
                  <a:lnTo>
                    <a:pt x="119" y="430"/>
                  </a:lnTo>
                  <a:lnTo>
                    <a:pt x="111" y="400"/>
                  </a:lnTo>
                  <a:lnTo>
                    <a:pt x="101" y="395"/>
                  </a:lnTo>
                  <a:lnTo>
                    <a:pt x="96" y="375"/>
                  </a:lnTo>
                  <a:lnTo>
                    <a:pt x="72" y="346"/>
                  </a:lnTo>
                  <a:lnTo>
                    <a:pt x="62" y="343"/>
                  </a:lnTo>
                  <a:lnTo>
                    <a:pt x="57" y="356"/>
                  </a:lnTo>
                  <a:lnTo>
                    <a:pt x="47" y="356"/>
                  </a:lnTo>
                  <a:lnTo>
                    <a:pt x="42" y="365"/>
                  </a:lnTo>
                  <a:lnTo>
                    <a:pt x="27" y="356"/>
                  </a:lnTo>
                  <a:lnTo>
                    <a:pt x="22" y="333"/>
                  </a:lnTo>
                  <a:lnTo>
                    <a:pt x="14" y="326"/>
                  </a:lnTo>
                  <a:lnTo>
                    <a:pt x="0" y="333"/>
                  </a:lnTo>
                  <a:lnTo>
                    <a:pt x="79" y="62"/>
                  </a:lnTo>
                  <a:lnTo>
                    <a:pt x="129" y="72"/>
                  </a:lnTo>
                  <a:lnTo>
                    <a:pt x="174" y="95"/>
                  </a:lnTo>
                  <a:lnTo>
                    <a:pt x="193" y="95"/>
                  </a:lnTo>
                  <a:lnTo>
                    <a:pt x="196" y="77"/>
                  </a:lnTo>
                  <a:lnTo>
                    <a:pt x="211" y="65"/>
                  </a:lnTo>
                  <a:lnTo>
                    <a:pt x="253" y="35"/>
                  </a:lnTo>
                  <a:lnTo>
                    <a:pt x="268" y="42"/>
                  </a:lnTo>
                  <a:lnTo>
                    <a:pt x="236" y="65"/>
                  </a:lnTo>
                  <a:lnTo>
                    <a:pt x="268" y="62"/>
                  </a:lnTo>
                  <a:lnTo>
                    <a:pt x="280" y="50"/>
                  </a:lnTo>
                  <a:lnTo>
                    <a:pt x="288" y="35"/>
                  </a:lnTo>
                  <a:lnTo>
                    <a:pt x="298" y="32"/>
                  </a:lnTo>
                  <a:lnTo>
                    <a:pt x="315" y="57"/>
                  </a:lnTo>
                  <a:lnTo>
                    <a:pt x="335" y="60"/>
                  </a:lnTo>
                  <a:lnTo>
                    <a:pt x="345" y="50"/>
                  </a:lnTo>
                  <a:lnTo>
                    <a:pt x="355" y="67"/>
                  </a:lnTo>
                  <a:lnTo>
                    <a:pt x="370" y="57"/>
                  </a:lnTo>
                  <a:lnTo>
                    <a:pt x="437" y="77"/>
                  </a:lnTo>
                  <a:lnTo>
                    <a:pt x="479" y="80"/>
                  </a:lnTo>
                  <a:lnTo>
                    <a:pt x="509" y="95"/>
                  </a:lnTo>
                  <a:lnTo>
                    <a:pt x="504" y="117"/>
                  </a:lnTo>
                  <a:lnTo>
                    <a:pt x="544" y="104"/>
                  </a:lnTo>
                  <a:lnTo>
                    <a:pt x="574" y="134"/>
                  </a:lnTo>
                  <a:lnTo>
                    <a:pt x="596" y="132"/>
                  </a:lnTo>
                  <a:lnTo>
                    <a:pt x="594" y="117"/>
                  </a:lnTo>
                  <a:lnTo>
                    <a:pt x="619" y="92"/>
                  </a:lnTo>
                  <a:lnTo>
                    <a:pt x="643" y="112"/>
                  </a:lnTo>
                  <a:lnTo>
                    <a:pt x="723" y="117"/>
                  </a:lnTo>
                  <a:lnTo>
                    <a:pt x="735" y="99"/>
                  </a:lnTo>
                  <a:lnTo>
                    <a:pt x="758" y="97"/>
                  </a:lnTo>
                  <a:lnTo>
                    <a:pt x="770" y="114"/>
                  </a:lnTo>
                  <a:lnTo>
                    <a:pt x="790" y="104"/>
                  </a:lnTo>
                  <a:lnTo>
                    <a:pt x="807" y="92"/>
                  </a:lnTo>
                  <a:lnTo>
                    <a:pt x="798" y="57"/>
                  </a:lnTo>
                  <a:lnTo>
                    <a:pt x="775" y="40"/>
                  </a:lnTo>
                  <a:lnTo>
                    <a:pt x="793" y="30"/>
                  </a:lnTo>
                  <a:lnTo>
                    <a:pt x="802" y="15"/>
                  </a:lnTo>
                  <a:lnTo>
                    <a:pt x="825" y="0"/>
                  </a:lnTo>
                  <a:lnTo>
                    <a:pt x="850" y="20"/>
                  </a:lnTo>
                  <a:lnTo>
                    <a:pt x="842" y="40"/>
                  </a:lnTo>
                  <a:lnTo>
                    <a:pt x="847" y="57"/>
                  </a:lnTo>
                  <a:lnTo>
                    <a:pt x="862" y="72"/>
                  </a:lnTo>
                  <a:lnTo>
                    <a:pt x="870" y="97"/>
                  </a:lnTo>
                  <a:lnTo>
                    <a:pt x="889" y="72"/>
                  </a:lnTo>
                  <a:lnTo>
                    <a:pt x="899" y="95"/>
                  </a:lnTo>
                  <a:lnTo>
                    <a:pt x="899" y="127"/>
                  </a:lnTo>
                  <a:lnTo>
                    <a:pt x="914" y="127"/>
                  </a:lnTo>
                  <a:lnTo>
                    <a:pt x="919" y="109"/>
                  </a:lnTo>
                  <a:lnTo>
                    <a:pt x="942" y="87"/>
                  </a:lnTo>
                  <a:lnTo>
                    <a:pt x="952" y="57"/>
                  </a:lnTo>
                  <a:lnTo>
                    <a:pt x="989" y="62"/>
                  </a:lnTo>
                  <a:lnTo>
                    <a:pt x="999" y="90"/>
                  </a:lnTo>
                  <a:lnTo>
                    <a:pt x="984" y="99"/>
                  </a:lnTo>
                  <a:lnTo>
                    <a:pt x="991" y="134"/>
                  </a:lnTo>
                  <a:lnTo>
                    <a:pt x="942" y="159"/>
                  </a:lnTo>
                  <a:lnTo>
                    <a:pt x="934" y="149"/>
                  </a:lnTo>
                  <a:lnTo>
                    <a:pt x="909" y="149"/>
                  </a:lnTo>
                  <a:lnTo>
                    <a:pt x="904" y="172"/>
                  </a:lnTo>
                  <a:lnTo>
                    <a:pt x="875" y="172"/>
                  </a:lnTo>
                  <a:lnTo>
                    <a:pt x="865" y="162"/>
                  </a:lnTo>
                  <a:lnTo>
                    <a:pt x="852" y="164"/>
                  </a:lnTo>
                  <a:lnTo>
                    <a:pt x="855" y="177"/>
                  </a:lnTo>
                  <a:lnTo>
                    <a:pt x="882" y="186"/>
                  </a:lnTo>
                  <a:lnTo>
                    <a:pt x="875" y="214"/>
                  </a:lnTo>
                  <a:lnTo>
                    <a:pt x="860" y="226"/>
                  </a:lnTo>
                  <a:lnTo>
                    <a:pt x="835" y="229"/>
                  </a:lnTo>
                  <a:lnTo>
                    <a:pt x="822" y="251"/>
                  </a:lnTo>
                  <a:lnTo>
                    <a:pt x="788" y="276"/>
                  </a:lnTo>
                  <a:lnTo>
                    <a:pt x="760" y="301"/>
                  </a:lnTo>
                  <a:lnTo>
                    <a:pt x="738" y="336"/>
                  </a:lnTo>
                  <a:lnTo>
                    <a:pt x="735" y="363"/>
                  </a:lnTo>
                  <a:lnTo>
                    <a:pt x="758" y="365"/>
                  </a:lnTo>
                  <a:lnTo>
                    <a:pt x="768" y="410"/>
                  </a:lnTo>
                  <a:lnTo>
                    <a:pt x="815" y="415"/>
                  </a:lnTo>
                  <a:lnTo>
                    <a:pt x="847" y="445"/>
                  </a:lnTo>
                  <a:lnTo>
                    <a:pt x="865" y="447"/>
                  </a:lnTo>
                  <a:lnTo>
                    <a:pt x="882" y="467"/>
                  </a:lnTo>
                  <a:lnTo>
                    <a:pt x="917" y="465"/>
                  </a:lnTo>
                  <a:lnTo>
                    <a:pt x="912" y="502"/>
                  </a:lnTo>
                  <a:lnTo>
                    <a:pt x="909" y="537"/>
                  </a:lnTo>
                  <a:lnTo>
                    <a:pt x="922" y="562"/>
                  </a:lnTo>
                  <a:lnTo>
                    <a:pt x="934" y="564"/>
                  </a:lnTo>
                  <a:lnTo>
                    <a:pt x="947" y="549"/>
                  </a:lnTo>
                  <a:lnTo>
                    <a:pt x="959" y="562"/>
                  </a:lnTo>
                  <a:lnTo>
                    <a:pt x="967" y="547"/>
                  </a:lnTo>
                  <a:lnTo>
                    <a:pt x="974" y="510"/>
                  </a:lnTo>
                  <a:lnTo>
                    <a:pt x="972" y="495"/>
                  </a:lnTo>
                  <a:lnTo>
                    <a:pt x="974" y="467"/>
                  </a:lnTo>
                  <a:lnTo>
                    <a:pt x="1001" y="455"/>
                  </a:lnTo>
                  <a:lnTo>
                    <a:pt x="1004" y="443"/>
                  </a:lnTo>
                  <a:lnTo>
                    <a:pt x="1006" y="413"/>
                  </a:lnTo>
                  <a:lnTo>
                    <a:pt x="1004" y="398"/>
                  </a:lnTo>
                  <a:lnTo>
                    <a:pt x="1004" y="383"/>
                  </a:lnTo>
                  <a:lnTo>
                    <a:pt x="999" y="373"/>
                  </a:lnTo>
                  <a:lnTo>
                    <a:pt x="996" y="368"/>
                  </a:lnTo>
                  <a:lnTo>
                    <a:pt x="991" y="365"/>
                  </a:lnTo>
                  <a:lnTo>
                    <a:pt x="1009" y="358"/>
                  </a:lnTo>
                  <a:lnTo>
                    <a:pt x="1014" y="323"/>
                  </a:lnTo>
                  <a:lnTo>
                    <a:pt x="1011" y="308"/>
                  </a:lnTo>
                  <a:lnTo>
                    <a:pt x="1014" y="281"/>
                  </a:lnTo>
                  <a:lnTo>
                    <a:pt x="1034" y="254"/>
                  </a:lnTo>
                  <a:lnTo>
                    <a:pt x="1061" y="269"/>
                  </a:lnTo>
                  <a:lnTo>
                    <a:pt x="1098" y="269"/>
                  </a:lnTo>
                  <a:lnTo>
                    <a:pt x="1116" y="286"/>
                  </a:lnTo>
                  <a:lnTo>
                    <a:pt x="1131" y="301"/>
                  </a:lnTo>
                  <a:lnTo>
                    <a:pt x="1155" y="311"/>
                  </a:lnTo>
                  <a:lnTo>
                    <a:pt x="1146" y="326"/>
                  </a:lnTo>
                  <a:lnTo>
                    <a:pt x="1146" y="373"/>
                  </a:lnTo>
                  <a:lnTo>
                    <a:pt x="1173" y="380"/>
                  </a:lnTo>
                  <a:lnTo>
                    <a:pt x="1200" y="370"/>
                  </a:lnTo>
                  <a:lnTo>
                    <a:pt x="1210" y="356"/>
                  </a:lnTo>
                  <a:lnTo>
                    <a:pt x="1225" y="33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665118" y="2563214"/>
              <a:ext cx="47494" cy="50374"/>
            </a:xfrm>
            <a:custGeom>
              <a:avLst/>
              <a:gdLst>
                <a:gd name="T0" fmla="*/ 10 w 33"/>
                <a:gd name="T1" fmla="*/ 10 h 35"/>
                <a:gd name="T2" fmla="*/ 15 w 33"/>
                <a:gd name="T3" fmla="*/ 0 h 35"/>
                <a:gd name="T4" fmla="*/ 33 w 33"/>
                <a:gd name="T5" fmla="*/ 0 h 35"/>
                <a:gd name="T6" fmla="*/ 33 w 33"/>
                <a:gd name="T7" fmla="*/ 15 h 35"/>
                <a:gd name="T8" fmla="*/ 13 w 33"/>
                <a:gd name="T9" fmla="*/ 35 h 35"/>
                <a:gd name="T10" fmla="*/ 0 w 33"/>
                <a:gd name="T11" fmla="*/ 20 h 35"/>
                <a:gd name="T12" fmla="*/ 10 w 33"/>
                <a:gd name="T13" fmla="*/ 1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3" h="35">
                  <a:moveTo>
                    <a:pt x="10" y="10"/>
                  </a:moveTo>
                  <a:lnTo>
                    <a:pt x="15" y="0"/>
                  </a:lnTo>
                  <a:lnTo>
                    <a:pt x="33" y="0"/>
                  </a:lnTo>
                  <a:lnTo>
                    <a:pt x="33" y="15"/>
                  </a:lnTo>
                  <a:lnTo>
                    <a:pt x="13" y="35"/>
                  </a:lnTo>
                  <a:lnTo>
                    <a:pt x="0" y="2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2862830" y="2802128"/>
              <a:ext cx="142485" cy="151120"/>
            </a:xfrm>
            <a:custGeom>
              <a:avLst/>
              <a:gdLst>
                <a:gd name="T0" fmla="*/ 54 w 99"/>
                <a:gd name="T1" fmla="*/ 0 h 105"/>
                <a:gd name="T2" fmla="*/ 42 w 99"/>
                <a:gd name="T3" fmla="*/ 5 h 105"/>
                <a:gd name="T4" fmla="*/ 35 w 99"/>
                <a:gd name="T5" fmla="*/ 18 h 105"/>
                <a:gd name="T6" fmla="*/ 22 w 99"/>
                <a:gd name="T7" fmla="*/ 30 h 105"/>
                <a:gd name="T8" fmla="*/ 7 w 99"/>
                <a:gd name="T9" fmla="*/ 38 h 105"/>
                <a:gd name="T10" fmla="*/ 0 w 99"/>
                <a:gd name="T11" fmla="*/ 55 h 105"/>
                <a:gd name="T12" fmla="*/ 0 w 99"/>
                <a:gd name="T13" fmla="*/ 80 h 105"/>
                <a:gd name="T14" fmla="*/ 20 w 99"/>
                <a:gd name="T15" fmla="*/ 82 h 105"/>
                <a:gd name="T16" fmla="*/ 37 w 99"/>
                <a:gd name="T17" fmla="*/ 75 h 105"/>
                <a:gd name="T18" fmla="*/ 50 w 99"/>
                <a:gd name="T19" fmla="*/ 75 h 105"/>
                <a:gd name="T20" fmla="*/ 54 w 99"/>
                <a:gd name="T21" fmla="*/ 100 h 105"/>
                <a:gd name="T22" fmla="*/ 67 w 99"/>
                <a:gd name="T23" fmla="*/ 105 h 105"/>
                <a:gd name="T24" fmla="*/ 67 w 99"/>
                <a:gd name="T25" fmla="*/ 87 h 105"/>
                <a:gd name="T26" fmla="*/ 77 w 99"/>
                <a:gd name="T27" fmla="*/ 90 h 105"/>
                <a:gd name="T28" fmla="*/ 82 w 99"/>
                <a:gd name="T29" fmla="*/ 105 h 105"/>
                <a:gd name="T30" fmla="*/ 89 w 99"/>
                <a:gd name="T31" fmla="*/ 82 h 105"/>
                <a:gd name="T32" fmla="*/ 99 w 99"/>
                <a:gd name="T33" fmla="*/ 62 h 105"/>
                <a:gd name="T34" fmla="*/ 94 w 99"/>
                <a:gd name="T35" fmla="*/ 38 h 105"/>
                <a:gd name="T36" fmla="*/ 82 w 99"/>
                <a:gd name="T37" fmla="*/ 33 h 105"/>
                <a:gd name="T38" fmla="*/ 67 w 99"/>
                <a:gd name="T39" fmla="*/ 33 h 105"/>
                <a:gd name="T40" fmla="*/ 59 w 99"/>
                <a:gd name="T41" fmla="*/ 18 h 105"/>
                <a:gd name="T42" fmla="*/ 62 w 99"/>
                <a:gd name="T43" fmla="*/ 5 h 105"/>
                <a:gd name="T44" fmla="*/ 50 w 99"/>
                <a:gd name="T45" fmla="*/ 0 h 105"/>
                <a:gd name="T46" fmla="*/ 54 w 99"/>
                <a:gd name="T47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9" h="105">
                  <a:moveTo>
                    <a:pt x="54" y="0"/>
                  </a:moveTo>
                  <a:lnTo>
                    <a:pt x="42" y="5"/>
                  </a:lnTo>
                  <a:lnTo>
                    <a:pt x="35" y="18"/>
                  </a:lnTo>
                  <a:lnTo>
                    <a:pt x="22" y="30"/>
                  </a:lnTo>
                  <a:lnTo>
                    <a:pt x="7" y="38"/>
                  </a:lnTo>
                  <a:lnTo>
                    <a:pt x="0" y="55"/>
                  </a:lnTo>
                  <a:lnTo>
                    <a:pt x="0" y="80"/>
                  </a:lnTo>
                  <a:lnTo>
                    <a:pt x="20" y="82"/>
                  </a:lnTo>
                  <a:lnTo>
                    <a:pt x="37" y="75"/>
                  </a:lnTo>
                  <a:lnTo>
                    <a:pt x="50" y="75"/>
                  </a:lnTo>
                  <a:lnTo>
                    <a:pt x="54" y="100"/>
                  </a:lnTo>
                  <a:lnTo>
                    <a:pt x="67" y="105"/>
                  </a:lnTo>
                  <a:lnTo>
                    <a:pt x="67" y="87"/>
                  </a:lnTo>
                  <a:lnTo>
                    <a:pt x="77" y="90"/>
                  </a:lnTo>
                  <a:lnTo>
                    <a:pt x="82" y="105"/>
                  </a:lnTo>
                  <a:lnTo>
                    <a:pt x="89" y="82"/>
                  </a:lnTo>
                  <a:lnTo>
                    <a:pt x="99" y="62"/>
                  </a:lnTo>
                  <a:lnTo>
                    <a:pt x="94" y="38"/>
                  </a:lnTo>
                  <a:lnTo>
                    <a:pt x="82" y="33"/>
                  </a:lnTo>
                  <a:lnTo>
                    <a:pt x="67" y="33"/>
                  </a:lnTo>
                  <a:lnTo>
                    <a:pt x="59" y="18"/>
                  </a:lnTo>
                  <a:lnTo>
                    <a:pt x="62" y="5"/>
                  </a:lnTo>
                  <a:lnTo>
                    <a:pt x="50" y="0"/>
                  </a:lnTo>
                  <a:lnTo>
                    <a:pt x="54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8" name="Freeform 106"/>
            <p:cNvSpPr>
              <a:spLocks/>
            </p:cNvSpPr>
            <p:nvPr/>
          </p:nvSpPr>
          <p:spPr bwMode="auto">
            <a:xfrm>
              <a:off x="2990922" y="2917266"/>
              <a:ext cx="21588" cy="38860"/>
            </a:xfrm>
            <a:custGeom>
              <a:avLst/>
              <a:gdLst>
                <a:gd name="T0" fmla="*/ 15 w 15"/>
                <a:gd name="T1" fmla="*/ 0 h 27"/>
                <a:gd name="T2" fmla="*/ 15 w 15"/>
                <a:gd name="T3" fmla="*/ 10 h 27"/>
                <a:gd name="T4" fmla="*/ 13 w 15"/>
                <a:gd name="T5" fmla="*/ 25 h 27"/>
                <a:gd name="T6" fmla="*/ 0 w 15"/>
                <a:gd name="T7" fmla="*/ 27 h 27"/>
                <a:gd name="T8" fmla="*/ 15 w 15"/>
                <a:gd name="T9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5" h="27">
                  <a:moveTo>
                    <a:pt x="15" y="0"/>
                  </a:moveTo>
                  <a:lnTo>
                    <a:pt x="15" y="10"/>
                  </a:lnTo>
                  <a:lnTo>
                    <a:pt x="13" y="25"/>
                  </a:lnTo>
                  <a:lnTo>
                    <a:pt x="0" y="27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99" name="Freeform 107"/>
            <p:cNvSpPr>
              <a:spLocks/>
            </p:cNvSpPr>
            <p:nvPr/>
          </p:nvSpPr>
          <p:spPr bwMode="auto">
            <a:xfrm>
              <a:off x="1521462" y="1826326"/>
              <a:ext cx="246110" cy="171269"/>
            </a:xfrm>
            <a:custGeom>
              <a:avLst/>
              <a:gdLst>
                <a:gd name="T0" fmla="*/ 54 w 171"/>
                <a:gd name="T1" fmla="*/ 5 h 119"/>
                <a:gd name="T2" fmla="*/ 32 w 171"/>
                <a:gd name="T3" fmla="*/ 39 h 119"/>
                <a:gd name="T4" fmla="*/ 19 w 171"/>
                <a:gd name="T5" fmla="*/ 62 h 119"/>
                <a:gd name="T6" fmla="*/ 0 w 171"/>
                <a:gd name="T7" fmla="*/ 87 h 119"/>
                <a:gd name="T8" fmla="*/ 14 w 171"/>
                <a:gd name="T9" fmla="*/ 104 h 119"/>
                <a:gd name="T10" fmla="*/ 39 w 171"/>
                <a:gd name="T11" fmla="*/ 119 h 119"/>
                <a:gd name="T12" fmla="*/ 87 w 171"/>
                <a:gd name="T13" fmla="*/ 97 h 119"/>
                <a:gd name="T14" fmla="*/ 109 w 171"/>
                <a:gd name="T15" fmla="*/ 79 h 119"/>
                <a:gd name="T16" fmla="*/ 146 w 171"/>
                <a:gd name="T17" fmla="*/ 69 h 119"/>
                <a:gd name="T18" fmla="*/ 171 w 171"/>
                <a:gd name="T19" fmla="*/ 52 h 119"/>
                <a:gd name="T20" fmla="*/ 141 w 171"/>
                <a:gd name="T21" fmla="*/ 25 h 119"/>
                <a:gd name="T22" fmla="*/ 101 w 171"/>
                <a:gd name="T23" fmla="*/ 15 h 119"/>
                <a:gd name="T24" fmla="*/ 87 w 171"/>
                <a:gd name="T25" fmla="*/ 0 h 119"/>
                <a:gd name="T26" fmla="*/ 67 w 171"/>
                <a:gd name="T27" fmla="*/ 20 h 119"/>
                <a:gd name="T28" fmla="*/ 54 w 171"/>
                <a:gd name="T29" fmla="*/ 5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71" h="119">
                  <a:moveTo>
                    <a:pt x="54" y="5"/>
                  </a:moveTo>
                  <a:lnTo>
                    <a:pt x="32" y="39"/>
                  </a:lnTo>
                  <a:lnTo>
                    <a:pt x="19" y="62"/>
                  </a:lnTo>
                  <a:lnTo>
                    <a:pt x="0" y="87"/>
                  </a:lnTo>
                  <a:lnTo>
                    <a:pt x="14" y="104"/>
                  </a:lnTo>
                  <a:lnTo>
                    <a:pt x="39" y="119"/>
                  </a:lnTo>
                  <a:lnTo>
                    <a:pt x="87" y="97"/>
                  </a:lnTo>
                  <a:lnTo>
                    <a:pt x="109" y="79"/>
                  </a:lnTo>
                  <a:lnTo>
                    <a:pt x="146" y="69"/>
                  </a:lnTo>
                  <a:lnTo>
                    <a:pt x="171" y="52"/>
                  </a:lnTo>
                  <a:lnTo>
                    <a:pt x="141" y="25"/>
                  </a:lnTo>
                  <a:lnTo>
                    <a:pt x="101" y="15"/>
                  </a:lnTo>
                  <a:lnTo>
                    <a:pt x="87" y="0"/>
                  </a:lnTo>
                  <a:lnTo>
                    <a:pt x="67" y="20"/>
                  </a:lnTo>
                  <a:lnTo>
                    <a:pt x="54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0" name="Freeform 108"/>
            <p:cNvSpPr>
              <a:spLocks/>
            </p:cNvSpPr>
            <p:nvPr/>
          </p:nvSpPr>
          <p:spPr bwMode="auto">
            <a:xfrm>
              <a:off x="1678340" y="1901166"/>
              <a:ext cx="361248" cy="189979"/>
            </a:xfrm>
            <a:custGeom>
              <a:avLst/>
              <a:gdLst>
                <a:gd name="T0" fmla="*/ 77 w 251"/>
                <a:gd name="T1" fmla="*/ 12 h 132"/>
                <a:gd name="T2" fmla="*/ 45 w 251"/>
                <a:gd name="T3" fmla="*/ 30 h 132"/>
                <a:gd name="T4" fmla="*/ 45 w 251"/>
                <a:gd name="T5" fmla="*/ 47 h 132"/>
                <a:gd name="T6" fmla="*/ 5 w 251"/>
                <a:gd name="T7" fmla="*/ 50 h 132"/>
                <a:gd name="T8" fmla="*/ 0 w 251"/>
                <a:gd name="T9" fmla="*/ 65 h 132"/>
                <a:gd name="T10" fmla="*/ 65 w 251"/>
                <a:gd name="T11" fmla="*/ 77 h 132"/>
                <a:gd name="T12" fmla="*/ 17 w 251"/>
                <a:gd name="T13" fmla="*/ 89 h 132"/>
                <a:gd name="T14" fmla="*/ 7 w 251"/>
                <a:gd name="T15" fmla="*/ 99 h 132"/>
                <a:gd name="T16" fmla="*/ 42 w 251"/>
                <a:gd name="T17" fmla="*/ 117 h 132"/>
                <a:gd name="T18" fmla="*/ 72 w 251"/>
                <a:gd name="T19" fmla="*/ 132 h 132"/>
                <a:gd name="T20" fmla="*/ 114 w 251"/>
                <a:gd name="T21" fmla="*/ 132 h 132"/>
                <a:gd name="T22" fmla="*/ 189 w 251"/>
                <a:gd name="T23" fmla="*/ 129 h 132"/>
                <a:gd name="T24" fmla="*/ 234 w 251"/>
                <a:gd name="T25" fmla="*/ 119 h 132"/>
                <a:gd name="T26" fmla="*/ 221 w 251"/>
                <a:gd name="T27" fmla="*/ 89 h 132"/>
                <a:gd name="T28" fmla="*/ 251 w 251"/>
                <a:gd name="T29" fmla="*/ 84 h 132"/>
                <a:gd name="T30" fmla="*/ 219 w 251"/>
                <a:gd name="T31" fmla="*/ 65 h 132"/>
                <a:gd name="T32" fmla="*/ 201 w 251"/>
                <a:gd name="T33" fmla="*/ 27 h 132"/>
                <a:gd name="T34" fmla="*/ 209 w 251"/>
                <a:gd name="T35" fmla="*/ 7 h 132"/>
                <a:gd name="T36" fmla="*/ 174 w 251"/>
                <a:gd name="T37" fmla="*/ 0 h 132"/>
                <a:gd name="T38" fmla="*/ 164 w 251"/>
                <a:gd name="T39" fmla="*/ 40 h 132"/>
                <a:gd name="T40" fmla="*/ 144 w 251"/>
                <a:gd name="T41" fmla="*/ 17 h 132"/>
                <a:gd name="T42" fmla="*/ 129 w 251"/>
                <a:gd name="T43" fmla="*/ 7 h 132"/>
                <a:gd name="T44" fmla="*/ 117 w 251"/>
                <a:gd name="T45" fmla="*/ 27 h 132"/>
                <a:gd name="T46" fmla="*/ 104 w 251"/>
                <a:gd name="T47" fmla="*/ 2 h 132"/>
                <a:gd name="T48" fmla="*/ 77 w 251"/>
                <a:gd name="T49" fmla="*/ 12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251" h="132">
                  <a:moveTo>
                    <a:pt x="77" y="12"/>
                  </a:moveTo>
                  <a:lnTo>
                    <a:pt x="45" y="30"/>
                  </a:lnTo>
                  <a:lnTo>
                    <a:pt x="45" y="47"/>
                  </a:lnTo>
                  <a:lnTo>
                    <a:pt x="5" y="50"/>
                  </a:lnTo>
                  <a:lnTo>
                    <a:pt x="0" y="65"/>
                  </a:lnTo>
                  <a:lnTo>
                    <a:pt x="65" y="77"/>
                  </a:lnTo>
                  <a:lnTo>
                    <a:pt x="17" y="89"/>
                  </a:lnTo>
                  <a:lnTo>
                    <a:pt x="7" y="99"/>
                  </a:lnTo>
                  <a:lnTo>
                    <a:pt x="42" y="117"/>
                  </a:lnTo>
                  <a:lnTo>
                    <a:pt x="72" y="132"/>
                  </a:lnTo>
                  <a:lnTo>
                    <a:pt x="114" y="132"/>
                  </a:lnTo>
                  <a:lnTo>
                    <a:pt x="189" y="129"/>
                  </a:lnTo>
                  <a:lnTo>
                    <a:pt x="234" y="119"/>
                  </a:lnTo>
                  <a:lnTo>
                    <a:pt x="221" y="89"/>
                  </a:lnTo>
                  <a:lnTo>
                    <a:pt x="251" y="84"/>
                  </a:lnTo>
                  <a:lnTo>
                    <a:pt x="219" y="65"/>
                  </a:lnTo>
                  <a:lnTo>
                    <a:pt x="201" y="27"/>
                  </a:lnTo>
                  <a:lnTo>
                    <a:pt x="209" y="7"/>
                  </a:lnTo>
                  <a:lnTo>
                    <a:pt x="174" y="0"/>
                  </a:lnTo>
                  <a:lnTo>
                    <a:pt x="164" y="40"/>
                  </a:lnTo>
                  <a:lnTo>
                    <a:pt x="144" y="17"/>
                  </a:lnTo>
                  <a:lnTo>
                    <a:pt x="129" y="7"/>
                  </a:lnTo>
                  <a:lnTo>
                    <a:pt x="117" y="27"/>
                  </a:lnTo>
                  <a:lnTo>
                    <a:pt x="104" y="2"/>
                  </a:lnTo>
                  <a:lnTo>
                    <a:pt x="77" y="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1" name="Freeform 109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5 w 35"/>
                <a:gd name="T33" fmla="*/ 17 h 17"/>
                <a:gd name="T34" fmla="*/ 17 w 35"/>
                <a:gd name="T35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5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2" name="Freeform 110"/>
            <p:cNvSpPr>
              <a:spLocks/>
            </p:cNvSpPr>
            <p:nvPr/>
          </p:nvSpPr>
          <p:spPr bwMode="auto">
            <a:xfrm>
              <a:off x="1964747" y="1865186"/>
              <a:ext cx="50374" cy="24467"/>
            </a:xfrm>
            <a:custGeom>
              <a:avLst/>
              <a:gdLst>
                <a:gd name="T0" fmla="*/ 17 w 35"/>
                <a:gd name="T1" fmla="*/ 17 h 17"/>
                <a:gd name="T2" fmla="*/ 25 w 35"/>
                <a:gd name="T3" fmla="*/ 17 h 17"/>
                <a:gd name="T4" fmla="*/ 30 w 35"/>
                <a:gd name="T5" fmla="*/ 15 h 17"/>
                <a:gd name="T6" fmla="*/ 32 w 35"/>
                <a:gd name="T7" fmla="*/ 12 h 17"/>
                <a:gd name="T8" fmla="*/ 35 w 35"/>
                <a:gd name="T9" fmla="*/ 10 h 17"/>
                <a:gd name="T10" fmla="*/ 32 w 35"/>
                <a:gd name="T11" fmla="*/ 7 h 17"/>
                <a:gd name="T12" fmla="*/ 30 w 35"/>
                <a:gd name="T13" fmla="*/ 3 h 17"/>
                <a:gd name="T14" fmla="*/ 25 w 35"/>
                <a:gd name="T15" fmla="*/ 3 h 17"/>
                <a:gd name="T16" fmla="*/ 17 w 35"/>
                <a:gd name="T17" fmla="*/ 0 h 17"/>
                <a:gd name="T18" fmla="*/ 10 w 35"/>
                <a:gd name="T19" fmla="*/ 3 h 17"/>
                <a:gd name="T20" fmla="*/ 5 w 35"/>
                <a:gd name="T21" fmla="*/ 3 h 17"/>
                <a:gd name="T22" fmla="*/ 0 w 35"/>
                <a:gd name="T23" fmla="*/ 7 h 17"/>
                <a:gd name="T24" fmla="*/ 0 w 35"/>
                <a:gd name="T25" fmla="*/ 10 h 17"/>
                <a:gd name="T26" fmla="*/ 0 w 35"/>
                <a:gd name="T27" fmla="*/ 12 h 17"/>
                <a:gd name="T28" fmla="*/ 5 w 35"/>
                <a:gd name="T29" fmla="*/ 15 h 17"/>
                <a:gd name="T30" fmla="*/ 10 w 35"/>
                <a:gd name="T31" fmla="*/ 17 h 17"/>
                <a:gd name="T32" fmla="*/ 17 w 35"/>
                <a:gd name="T33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5" h="17">
                  <a:moveTo>
                    <a:pt x="17" y="17"/>
                  </a:moveTo>
                  <a:lnTo>
                    <a:pt x="25" y="17"/>
                  </a:lnTo>
                  <a:lnTo>
                    <a:pt x="30" y="15"/>
                  </a:lnTo>
                  <a:lnTo>
                    <a:pt x="32" y="12"/>
                  </a:lnTo>
                  <a:lnTo>
                    <a:pt x="35" y="10"/>
                  </a:lnTo>
                  <a:lnTo>
                    <a:pt x="32" y="7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5" y="3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7" y="1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3" name="Freeform 111"/>
            <p:cNvSpPr>
              <a:spLocks/>
            </p:cNvSpPr>
            <p:nvPr/>
          </p:nvSpPr>
          <p:spPr bwMode="auto">
            <a:xfrm>
              <a:off x="1653872" y="1693916"/>
              <a:ext cx="149680" cy="92111"/>
            </a:xfrm>
            <a:custGeom>
              <a:avLst/>
              <a:gdLst>
                <a:gd name="T0" fmla="*/ 104 w 104"/>
                <a:gd name="T1" fmla="*/ 0 h 64"/>
                <a:gd name="T2" fmla="*/ 77 w 104"/>
                <a:gd name="T3" fmla="*/ 10 h 64"/>
                <a:gd name="T4" fmla="*/ 37 w 104"/>
                <a:gd name="T5" fmla="*/ 27 h 64"/>
                <a:gd name="T6" fmla="*/ 2 w 104"/>
                <a:gd name="T7" fmla="*/ 37 h 64"/>
                <a:gd name="T8" fmla="*/ 0 w 104"/>
                <a:gd name="T9" fmla="*/ 57 h 64"/>
                <a:gd name="T10" fmla="*/ 44 w 104"/>
                <a:gd name="T11" fmla="*/ 64 h 64"/>
                <a:gd name="T12" fmla="*/ 77 w 104"/>
                <a:gd name="T13" fmla="*/ 35 h 64"/>
                <a:gd name="T14" fmla="*/ 104 w 104"/>
                <a:gd name="T15" fmla="*/ 35 h 64"/>
                <a:gd name="T16" fmla="*/ 104 w 104"/>
                <a:gd name="T17" fmla="*/ 0 h 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4" h="64">
                  <a:moveTo>
                    <a:pt x="104" y="0"/>
                  </a:moveTo>
                  <a:lnTo>
                    <a:pt x="77" y="10"/>
                  </a:lnTo>
                  <a:lnTo>
                    <a:pt x="37" y="27"/>
                  </a:lnTo>
                  <a:lnTo>
                    <a:pt x="2" y="37"/>
                  </a:lnTo>
                  <a:lnTo>
                    <a:pt x="0" y="57"/>
                  </a:lnTo>
                  <a:lnTo>
                    <a:pt x="44" y="64"/>
                  </a:lnTo>
                  <a:lnTo>
                    <a:pt x="77" y="35"/>
                  </a:lnTo>
                  <a:lnTo>
                    <a:pt x="104" y="35"/>
                  </a:lnTo>
                  <a:lnTo>
                    <a:pt x="10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4" name="Freeform 112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3 w 18"/>
                <a:gd name="T25" fmla="*/ 30 h 30"/>
                <a:gd name="T26" fmla="*/ 10 w 18"/>
                <a:gd name="T2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5" name="Freeform 113"/>
            <p:cNvSpPr>
              <a:spLocks/>
            </p:cNvSpPr>
            <p:nvPr/>
          </p:nvSpPr>
          <p:spPr bwMode="auto">
            <a:xfrm>
              <a:off x="1745983" y="1778832"/>
              <a:ext cx="25906" cy="43177"/>
            </a:xfrm>
            <a:custGeom>
              <a:avLst/>
              <a:gdLst>
                <a:gd name="T0" fmla="*/ 10 w 18"/>
                <a:gd name="T1" fmla="*/ 30 h 30"/>
                <a:gd name="T2" fmla="*/ 5 w 18"/>
                <a:gd name="T3" fmla="*/ 30 h 30"/>
                <a:gd name="T4" fmla="*/ 3 w 18"/>
                <a:gd name="T5" fmla="*/ 28 h 30"/>
                <a:gd name="T6" fmla="*/ 0 w 18"/>
                <a:gd name="T7" fmla="*/ 15 h 30"/>
                <a:gd name="T8" fmla="*/ 3 w 18"/>
                <a:gd name="T9" fmla="*/ 5 h 30"/>
                <a:gd name="T10" fmla="*/ 5 w 18"/>
                <a:gd name="T11" fmla="*/ 3 h 30"/>
                <a:gd name="T12" fmla="*/ 10 w 18"/>
                <a:gd name="T13" fmla="*/ 0 h 30"/>
                <a:gd name="T14" fmla="*/ 13 w 18"/>
                <a:gd name="T15" fmla="*/ 3 h 30"/>
                <a:gd name="T16" fmla="*/ 15 w 18"/>
                <a:gd name="T17" fmla="*/ 5 h 30"/>
                <a:gd name="T18" fmla="*/ 18 w 18"/>
                <a:gd name="T19" fmla="*/ 15 h 30"/>
                <a:gd name="T20" fmla="*/ 15 w 18"/>
                <a:gd name="T21" fmla="*/ 28 h 30"/>
                <a:gd name="T22" fmla="*/ 13 w 18"/>
                <a:gd name="T23" fmla="*/ 30 h 30"/>
                <a:gd name="T24" fmla="*/ 10 w 18"/>
                <a:gd name="T25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8" h="30">
                  <a:moveTo>
                    <a:pt x="10" y="30"/>
                  </a:moveTo>
                  <a:lnTo>
                    <a:pt x="5" y="30"/>
                  </a:lnTo>
                  <a:lnTo>
                    <a:pt x="3" y="28"/>
                  </a:lnTo>
                  <a:lnTo>
                    <a:pt x="0" y="15"/>
                  </a:lnTo>
                  <a:lnTo>
                    <a:pt x="3" y="5"/>
                  </a:lnTo>
                  <a:lnTo>
                    <a:pt x="5" y="3"/>
                  </a:lnTo>
                  <a:lnTo>
                    <a:pt x="10" y="0"/>
                  </a:lnTo>
                  <a:lnTo>
                    <a:pt x="13" y="3"/>
                  </a:lnTo>
                  <a:lnTo>
                    <a:pt x="15" y="5"/>
                  </a:lnTo>
                  <a:lnTo>
                    <a:pt x="18" y="15"/>
                  </a:lnTo>
                  <a:lnTo>
                    <a:pt x="15" y="28"/>
                  </a:lnTo>
                  <a:lnTo>
                    <a:pt x="13" y="30"/>
                  </a:lnTo>
                  <a:lnTo>
                    <a:pt x="1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6" name="Freeform 114"/>
            <p:cNvSpPr>
              <a:spLocks/>
            </p:cNvSpPr>
            <p:nvPr/>
          </p:nvSpPr>
          <p:spPr bwMode="auto">
            <a:xfrm>
              <a:off x="1799235" y="1737093"/>
              <a:ext cx="230278" cy="110822"/>
            </a:xfrm>
            <a:custGeom>
              <a:avLst/>
              <a:gdLst>
                <a:gd name="T0" fmla="*/ 55 w 160"/>
                <a:gd name="T1" fmla="*/ 24 h 77"/>
                <a:gd name="T2" fmla="*/ 40 w 160"/>
                <a:gd name="T3" fmla="*/ 42 h 77"/>
                <a:gd name="T4" fmla="*/ 5 w 160"/>
                <a:gd name="T5" fmla="*/ 42 h 77"/>
                <a:gd name="T6" fmla="*/ 0 w 160"/>
                <a:gd name="T7" fmla="*/ 67 h 77"/>
                <a:gd name="T8" fmla="*/ 38 w 160"/>
                <a:gd name="T9" fmla="*/ 77 h 77"/>
                <a:gd name="T10" fmla="*/ 68 w 160"/>
                <a:gd name="T11" fmla="*/ 72 h 77"/>
                <a:gd name="T12" fmla="*/ 95 w 160"/>
                <a:gd name="T13" fmla="*/ 62 h 77"/>
                <a:gd name="T14" fmla="*/ 130 w 160"/>
                <a:gd name="T15" fmla="*/ 57 h 77"/>
                <a:gd name="T16" fmla="*/ 160 w 160"/>
                <a:gd name="T17" fmla="*/ 64 h 77"/>
                <a:gd name="T18" fmla="*/ 145 w 160"/>
                <a:gd name="T19" fmla="*/ 32 h 77"/>
                <a:gd name="T20" fmla="*/ 110 w 160"/>
                <a:gd name="T21" fmla="*/ 22 h 77"/>
                <a:gd name="T22" fmla="*/ 105 w 160"/>
                <a:gd name="T23" fmla="*/ 0 h 77"/>
                <a:gd name="T24" fmla="*/ 78 w 160"/>
                <a:gd name="T25" fmla="*/ 5 h 77"/>
                <a:gd name="T26" fmla="*/ 75 w 160"/>
                <a:gd name="T27" fmla="*/ 22 h 77"/>
                <a:gd name="T28" fmla="*/ 55 w 160"/>
                <a:gd name="T29" fmla="*/ 24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0" h="77">
                  <a:moveTo>
                    <a:pt x="55" y="24"/>
                  </a:moveTo>
                  <a:lnTo>
                    <a:pt x="40" y="42"/>
                  </a:lnTo>
                  <a:lnTo>
                    <a:pt x="5" y="42"/>
                  </a:lnTo>
                  <a:lnTo>
                    <a:pt x="0" y="67"/>
                  </a:lnTo>
                  <a:lnTo>
                    <a:pt x="38" y="77"/>
                  </a:lnTo>
                  <a:lnTo>
                    <a:pt x="68" y="72"/>
                  </a:lnTo>
                  <a:lnTo>
                    <a:pt x="95" y="62"/>
                  </a:lnTo>
                  <a:lnTo>
                    <a:pt x="130" y="57"/>
                  </a:lnTo>
                  <a:lnTo>
                    <a:pt x="160" y="64"/>
                  </a:lnTo>
                  <a:lnTo>
                    <a:pt x="145" y="32"/>
                  </a:lnTo>
                  <a:lnTo>
                    <a:pt x="110" y="22"/>
                  </a:lnTo>
                  <a:lnTo>
                    <a:pt x="105" y="0"/>
                  </a:lnTo>
                  <a:lnTo>
                    <a:pt x="78" y="5"/>
                  </a:lnTo>
                  <a:lnTo>
                    <a:pt x="75" y="22"/>
                  </a:lnTo>
                  <a:lnTo>
                    <a:pt x="55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7" name="Freeform 115"/>
            <p:cNvSpPr>
              <a:spLocks/>
            </p:cNvSpPr>
            <p:nvPr/>
          </p:nvSpPr>
          <p:spPr bwMode="auto">
            <a:xfrm>
              <a:off x="1875514" y="1675207"/>
              <a:ext cx="67645" cy="54691"/>
            </a:xfrm>
            <a:custGeom>
              <a:avLst/>
              <a:gdLst>
                <a:gd name="T0" fmla="*/ 30 w 47"/>
                <a:gd name="T1" fmla="*/ 3 h 38"/>
                <a:gd name="T2" fmla="*/ 7 w 47"/>
                <a:gd name="T3" fmla="*/ 3 h 38"/>
                <a:gd name="T4" fmla="*/ 0 w 47"/>
                <a:gd name="T5" fmla="*/ 23 h 38"/>
                <a:gd name="T6" fmla="*/ 0 w 47"/>
                <a:gd name="T7" fmla="*/ 38 h 38"/>
                <a:gd name="T8" fmla="*/ 22 w 47"/>
                <a:gd name="T9" fmla="*/ 25 h 38"/>
                <a:gd name="T10" fmla="*/ 44 w 47"/>
                <a:gd name="T11" fmla="*/ 18 h 38"/>
                <a:gd name="T12" fmla="*/ 47 w 47"/>
                <a:gd name="T13" fmla="*/ 0 h 38"/>
                <a:gd name="T14" fmla="*/ 30 w 47"/>
                <a:gd name="T15" fmla="*/ 3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38">
                  <a:moveTo>
                    <a:pt x="30" y="3"/>
                  </a:moveTo>
                  <a:lnTo>
                    <a:pt x="7" y="3"/>
                  </a:lnTo>
                  <a:lnTo>
                    <a:pt x="0" y="23"/>
                  </a:lnTo>
                  <a:lnTo>
                    <a:pt x="0" y="38"/>
                  </a:lnTo>
                  <a:lnTo>
                    <a:pt x="22" y="25"/>
                  </a:lnTo>
                  <a:lnTo>
                    <a:pt x="44" y="18"/>
                  </a:lnTo>
                  <a:lnTo>
                    <a:pt x="47" y="0"/>
                  </a:lnTo>
                  <a:lnTo>
                    <a:pt x="3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8" name="Freeform 116"/>
            <p:cNvSpPr>
              <a:spLocks/>
            </p:cNvSpPr>
            <p:nvPr/>
          </p:nvSpPr>
          <p:spPr bwMode="auto">
            <a:xfrm>
              <a:off x="1871197" y="1614759"/>
              <a:ext cx="86354" cy="43177"/>
            </a:xfrm>
            <a:custGeom>
              <a:avLst/>
              <a:gdLst>
                <a:gd name="T0" fmla="*/ 15 w 60"/>
                <a:gd name="T1" fmla="*/ 10 h 30"/>
                <a:gd name="T2" fmla="*/ 30 w 60"/>
                <a:gd name="T3" fmla="*/ 0 h 30"/>
                <a:gd name="T4" fmla="*/ 50 w 60"/>
                <a:gd name="T5" fmla="*/ 3 h 30"/>
                <a:gd name="T6" fmla="*/ 60 w 60"/>
                <a:gd name="T7" fmla="*/ 17 h 30"/>
                <a:gd name="T8" fmla="*/ 33 w 60"/>
                <a:gd name="T9" fmla="*/ 27 h 30"/>
                <a:gd name="T10" fmla="*/ 0 w 60"/>
                <a:gd name="T11" fmla="*/ 30 h 30"/>
                <a:gd name="T12" fmla="*/ 15 w 60"/>
                <a:gd name="T13" fmla="*/ 1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30">
                  <a:moveTo>
                    <a:pt x="15" y="10"/>
                  </a:moveTo>
                  <a:lnTo>
                    <a:pt x="30" y="0"/>
                  </a:lnTo>
                  <a:lnTo>
                    <a:pt x="50" y="3"/>
                  </a:lnTo>
                  <a:lnTo>
                    <a:pt x="60" y="17"/>
                  </a:lnTo>
                  <a:lnTo>
                    <a:pt x="33" y="27"/>
                  </a:lnTo>
                  <a:lnTo>
                    <a:pt x="0" y="30"/>
                  </a:lnTo>
                  <a:lnTo>
                    <a:pt x="1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9" name="Freeform 117"/>
            <p:cNvSpPr>
              <a:spLocks/>
            </p:cNvSpPr>
            <p:nvPr/>
          </p:nvSpPr>
          <p:spPr bwMode="auto">
            <a:xfrm>
              <a:off x="2043905" y="1614759"/>
              <a:ext cx="118017" cy="79157"/>
            </a:xfrm>
            <a:custGeom>
              <a:avLst/>
              <a:gdLst>
                <a:gd name="T0" fmla="*/ 14 w 82"/>
                <a:gd name="T1" fmla="*/ 0 h 55"/>
                <a:gd name="T2" fmla="*/ 37 w 82"/>
                <a:gd name="T3" fmla="*/ 3 h 55"/>
                <a:gd name="T4" fmla="*/ 57 w 82"/>
                <a:gd name="T5" fmla="*/ 10 h 55"/>
                <a:gd name="T6" fmla="*/ 77 w 82"/>
                <a:gd name="T7" fmla="*/ 30 h 55"/>
                <a:gd name="T8" fmla="*/ 82 w 82"/>
                <a:gd name="T9" fmla="*/ 50 h 55"/>
                <a:gd name="T10" fmla="*/ 44 w 82"/>
                <a:gd name="T11" fmla="*/ 55 h 55"/>
                <a:gd name="T12" fmla="*/ 37 w 82"/>
                <a:gd name="T13" fmla="*/ 35 h 55"/>
                <a:gd name="T14" fmla="*/ 14 w 82"/>
                <a:gd name="T15" fmla="*/ 32 h 55"/>
                <a:gd name="T16" fmla="*/ 0 w 82"/>
                <a:gd name="T17" fmla="*/ 12 h 55"/>
                <a:gd name="T18" fmla="*/ 14 w 82"/>
                <a:gd name="T19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2" h="55">
                  <a:moveTo>
                    <a:pt x="14" y="0"/>
                  </a:moveTo>
                  <a:lnTo>
                    <a:pt x="37" y="3"/>
                  </a:lnTo>
                  <a:lnTo>
                    <a:pt x="57" y="10"/>
                  </a:lnTo>
                  <a:lnTo>
                    <a:pt x="77" y="30"/>
                  </a:lnTo>
                  <a:lnTo>
                    <a:pt x="82" y="50"/>
                  </a:lnTo>
                  <a:lnTo>
                    <a:pt x="44" y="55"/>
                  </a:lnTo>
                  <a:lnTo>
                    <a:pt x="37" y="35"/>
                  </a:lnTo>
                  <a:lnTo>
                    <a:pt x="14" y="32"/>
                  </a:lnTo>
                  <a:lnTo>
                    <a:pt x="0" y="12"/>
                  </a:lnTo>
                  <a:lnTo>
                    <a:pt x="14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0" name="Freeform 118"/>
            <p:cNvSpPr>
              <a:spLocks/>
            </p:cNvSpPr>
            <p:nvPr/>
          </p:nvSpPr>
          <p:spPr bwMode="auto">
            <a:xfrm>
              <a:off x="2043905" y="1862307"/>
              <a:ext cx="113699" cy="118017"/>
            </a:xfrm>
            <a:custGeom>
              <a:avLst/>
              <a:gdLst>
                <a:gd name="T0" fmla="*/ 27 w 79"/>
                <a:gd name="T1" fmla="*/ 5 h 82"/>
                <a:gd name="T2" fmla="*/ 32 w 79"/>
                <a:gd name="T3" fmla="*/ 24 h 82"/>
                <a:gd name="T4" fmla="*/ 29 w 79"/>
                <a:gd name="T5" fmla="*/ 44 h 82"/>
                <a:gd name="T6" fmla="*/ 2 w 79"/>
                <a:gd name="T7" fmla="*/ 29 h 82"/>
                <a:gd name="T8" fmla="*/ 0 w 79"/>
                <a:gd name="T9" fmla="*/ 49 h 82"/>
                <a:gd name="T10" fmla="*/ 24 w 79"/>
                <a:gd name="T11" fmla="*/ 64 h 82"/>
                <a:gd name="T12" fmla="*/ 37 w 79"/>
                <a:gd name="T13" fmla="*/ 79 h 82"/>
                <a:gd name="T14" fmla="*/ 64 w 79"/>
                <a:gd name="T15" fmla="*/ 82 h 82"/>
                <a:gd name="T16" fmla="*/ 79 w 79"/>
                <a:gd name="T17" fmla="*/ 54 h 82"/>
                <a:gd name="T18" fmla="*/ 69 w 79"/>
                <a:gd name="T19" fmla="*/ 34 h 82"/>
                <a:gd name="T20" fmla="*/ 72 w 79"/>
                <a:gd name="T21" fmla="*/ 0 h 82"/>
                <a:gd name="T22" fmla="*/ 27 w 79"/>
                <a:gd name="T23" fmla="*/ 5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79" h="82">
                  <a:moveTo>
                    <a:pt x="27" y="5"/>
                  </a:moveTo>
                  <a:lnTo>
                    <a:pt x="32" y="24"/>
                  </a:lnTo>
                  <a:lnTo>
                    <a:pt x="29" y="44"/>
                  </a:lnTo>
                  <a:lnTo>
                    <a:pt x="2" y="29"/>
                  </a:lnTo>
                  <a:lnTo>
                    <a:pt x="0" y="49"/>
                  </a:lnTo>
                  <a:lnTo>
                    <a:pt x="24" y="64"/>
                  </a:lnTo>
                  <a:lnTo>
                    <a:pt x="37" y="79"/>
                  </a:lnTo>
                  <a:lnTo>
                    <a:pt x="64" y="82"/>
                  </a:lnTo>
                  <a:lnTo>
                    <a:pt x="79" y="54"/>
                  </a:lnTo>
                  <a:lnTo>
                    <a:pt x="69" y="34"/>
                  </a:lnTo>
                  <a:lnTo>
                    <a:pt x="72" y="0"/>
                  </a:lnTo>
                  <a:lnTo>
                    <a:pt x="2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1" name="Freeform 119"/>
            <p:cNvSpPr>
              <a:spLocks/>
            </p:cNvSpPr>
            <p:nvPr/>
          </p:nvSpPr>
          <p:spPr bwMode="auto">
            <a:xfrm>
              <a:off x="2068372" y="2036454"/>
              <a:ext cx="71962" cy="54691"/>
            </a:xfrm>
            <a:custGeom>
              <a:avLst/>
              <a:gdLst>
                <a:gd name="T0" fmla="*/ 25 w 50"/>
                <a:gd name="T1" fmla="*/ 0 h 38"/>
                <a:gd name="T2" fmla="*/ 7 w 50"/>
                <a:gd name="T3" fmla="*/ 13 h 38"/>
                <a:gd name="T4" fmla="*/ 0 w 50"/>
                <a:gd name="T5" fmla="*/ 35 h 38"/>
                <a:gd name="T6" fmla="*/ 30 w 50"/>
                <a:gd name="T7" fmla="*/ 38 h 38"/>
                <a:gd name="T8" fmla="*/ 50 w 50"/>
                <a:gd name="T9" fmla="*/ 25 h 38"/>
                <a:gd name="T10" fmla="*/ 25 w 50"/>
                <a:gd name="T11" fmla="*/ 0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0" h="38">
                  <a:moveTo>
                    <a:pt x="25" y="0"/>
                  </a:moveTo>
                  <a:lnTo>
                    <a:pt x="7" y="13"/>
                  </a:lnTo>
                  <a:lnTo>
                    <a:pt x="0" y="35"/>
                  </a:lnTo>
                  <a:lnTo>
                    <a:pt x="30" y="38"/>
                  </a:lnTo>
                  <a:lnTo>
                    <a:pt x="50" y="25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2" name="Freeform 120"/>
            <p:cNvSpPr>
              <a:spLocks/>
            </p:cNvSpPr>
            <p:nvPr/>
          </p:nvSpPr>
          <p:spPr bwMode="auto">
            <a:xfrm>
              <a:off x="2193586" y="1857989"/>
              <a:ext cx="118017" cy="93551"/>
            </a:xfrm>
            <a:custGeom>
              <a:avLst/>
              <a:gdLst>
                <a:gd name="T0" fmla="*/ 0 w 82"/>
                <a:gd name="T1" fmla="*/ 65 h 65"/>
                <a:gd name="T2" fmla="*/ 2 w 82"/>
                <a:gd name="T3" fmla="*/ 37 h 65"/>
                <a:gd name="T4" fmla="*/ 12 w 82"/>
                <a:gd name="T5" fmla="*/ 12 h 65"/>
                <a:gd name="T6" fmla="*/ 40 w 82"/>
                <a:gd name="T7" fmla="*/ 0 h 65"/>
                <a:gd name="T8" fmla="*/ 65 w 82"/>
                <a:gd name="T9" fmla="*/ 3 h 65"/>
                <a:gd name="T10" fmla="*/ 82 w 82"/>
                <a:gd name="T11" fmla="*/ 8 h 65"/>
                <a:gd name="T12" fmla="*/ 67 w 82"/>
                <a:gd name="T13" fmla="*/ 27 h 65"/>
                <a:gd name="T14" fmla="*/ 42 w 82"/>
                <a:gd name="T15" fmla="*/ 45 h 65"/>
                <a:gd name="T16" fmla="*/ 25 w 82"/>
                <a:gd name="T17" fmla="*/ 45 h 65"/>
                <a:gd name="T18" fmla="*/ 17 w 82"/>
                <a:gd name="T19" fmla="*/ 65 h 65"/>
                <a:gd name="T20" fmla="*/ 0 w 82"/>
                <a:gd name="T21" fmla="*/ 6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2" h="65">
                  <a:moveTo>
                    <a:pt x="0" y="65"/>
                  </a:moveTo>
                  <a:lnTo>
                    <a:pt x="2" y="37"/>
                  </a:lnTo>
                  <a:lnTo>
                    <a:pt x="12" y="12"/>
                  </a:lnTo>
                  <a:lnTo>
                    <a:pt x="40" y="0"/>
                  </a:lnTo>
                  <a:lnTo>
                    <a:pt x="65" y="3"/>
                  </a:lnTo>
                  <a:lnTo>
                    <a:pt x="82" y="8"/>
                  </a:lnTo>
                  <a:lnTo>
                    <a:pt x="67" y="27"/>
                  </a:lnTo>
                  <a:lnTo>
                    <a:pt x="42" y="45"/>
                  </a:lnTo>
                  <a:lnTo>
                    <a:pt x="25" y="45"/>
                  </a:lnTo>
                  <a:lnTo>
                    <a:pt x="17" y="65"/>
                  </a:lnTo>
                  <a:lnTo>
                    <a:pt x="0" y="6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Freeform 121"/>
            <p:cNvSpPr>
              <a:spLocks/>
            </p:cNvSpPr>
            <p:nvPr/>
          </p:nvSpPr>
          <p:spPr bwMode="auto">
            <a:xfrm>
              <a:off x="2321677" y="1865186"/>
              <a:ext cx="569937" cy="515246"/>
            </a:xfrm>
            <a:custGeom>
              <a:avLst/>
              <a:gdLst>
                <a:gd name="T0" fmla="*/ 58 w 396"/>
                <a:gd name="T1" fmla="*/ 0 h 358"/>
                <a:gd name="T2" fmla="*/ 20 w 396"/>
                <a:gd name="T3" fmla="*/ 12 h 358"/>
                <a:gd name="T4" fmla="*/ 0 w 396"/>
                <a:gd name="T5" fmla="*/ 50 h 358"/>
                <a:gd name="T6" fmla="*/ 3 w 396"/>
                <a:gd name="T7" fmla="*/ 85 h 358"/>
                <a:gd name="T8" fmla="*/ 30 w 396"/>
                <a:gd name="T9" fmla="*/ 94 h 358"/>
                <a:gd name="T10" fmla="*/ 18 w 396"/>
                <a:gd name="T11" fmla="*/ 109 h 358"/>
                <a:gd name="T12" fmla="*/ 25 w 396"/>
                <a:gd name="T13" fmla="*/ 119 h 358"/>
                <a:gd name="T14" fmla="*/ 82 w 396"/>
                <a:gd name="T15" fmla="*/ 112 h 358"/>
                <a:gd name="T16" fmla="*/ 120 w 396"/>
                <a:gd name="T17" fmla="*/ 129 h 358"/>
                <a:gd name="T18" fmla="*/ 147 w 396"/>
                <a:gd name="T19" fmla="*/ 112 h 358"/>
                <a:gd name="T20" fmla="*/ 182 w 396"/>
                <a:gd name="T21" fmla="*/ 142 h 358"/>
                <a:gd name="T22" fmla="*/ 177 w 396"/>
                <a:gd name="T23" fmla="*/ 164 h 358"/>
                <a:gd name="T24" fmla="*/ 209 w 396"/>
                <a:gd name="T25" fmla="*/ 164 h 358"/>
                <a:gd name="T26" fmla="*/ 227 w 396"/>
                <a:gd name="T27" fmla="*/ 179 h 358"/>
                <a:gd name="T28" fmla="*/ 229 w 396"/>
                <a:gd name="T29" fmla="*/ 211 h 358"/>
                <a:gd name="T30" fmla="*/ 197 w 396"/>
                <a:gd name="T31" fmla="*/ 249 h 358"/>
                <a:gd name="T32" fmla="*/ 142 w 396"/>
                <a:gd name="T33" fmla="*/ 261 h 358"/>
                <a:gd name="T34" fmla="*/ 130 w 396"/>
                <a:gd name="T35" fmla="*/ 281 h 358"/>
                <a:gd name="T36" fmla="*/ 150 w 396"/>
                <a:gd name="T37" fmla="*/ 301 h 358"/>
                <a:gd name="T38" fmla="*/ 197 w 396"/>
                <a:gd name="T39" fmla="*/ 291 h 358"/>
                <a:gd name="T40" fmla="*/ 242 w 396"/>
                <a:gd name="T41" fmla="*/ 326 h 358"/>
                <a:gd name="T42" fmla="*/ 304 w 396"/>
                <a:gd name="T43" fmla="*/ 358 h 358"/>
                <a:gd name="T44" fmla="*/ 284 w 396"/>
                <a:gd name="T45" fmla="*/ 308 h 358"/>
                <a:gd name="T46" fmla="*/ 326 w 396"/>
                <a:gd name="T47" fmla="*/ 336 h 358"/>
                <a:gd name="T48" fmla="*/ 339 w 396"/>
                <a:gd name="T49" fmla="*/ 306 h 358"/>
                <a:gd name="T50" fmla="*/ 329 w 396"/>
                <a:gd name="T51" fmla="*/ 268 h 358"/>
                <a:gd name="T52" fmla="*/ 299 w 396"/>
                <a:gd name="T53" fmla="*/ 261 h 358"/>
                <a:gd name="T54" fmla="*/ 301 w 396"/>
                <a:gd name="T55" fmla="*/ 226 h 358"/>
                <a:gd name="T56" fmla="*/ 316 w 396"/>
                <a:gd name="T57" fmla="*/ 221 h 358"/>
                <a:gd name="T58" fmla="*/ 366 w 396"/>
                <a:gd name="T59" fmla="*/ 271 h 358"/>
                <a:gd name="T60" fmla="*/ 383 w 396"/>
                <a:gd name="T61" fmla="*/ 241 h 358"/>
                <a:gd name="T62" fmla="*/ 396 w 396"/>
                <a:gd name="T63" fmla="*/ 219 h 358"/>
                <a:gd name="T64" fmla="*/ 366 w 396"/>
                <a:gd name="T65" fmla="*/ 196 h 358"/>
                <a:gd name="T66" fmla="*/ 331 w 396"/>
                <a:gd name="T67" fmla="*/ 189 h 358"/>
                <a:gd name="T68" fmla="*/ 306 w 396"/>
                <a:gd name="T69" fmla="*/ 154 h 358"/>
                <a:gd name="T70" fmla="*/ 326 w 396"/>
                <a:gd name="T71" fmla="*/ 132 h 358"/>
                <a:gd name="T72" fmla="*/ 309 w 396"/>
                <a:gd name="T73" fmla="*/ 104 h 358"/>
                <a:gd name="T74" fmla="*/ 261 w 396"/>
                <a:gd name="T75" fmla="*/ 85 h 358"/>
                <a:gd name="T76" fmla="*/ 229 w 396"/>
                <a:gd name="T77" fmla="*/ 70 h 358"/>
                <a:gd name="T78" fmla="*/ 207 w 396"/>
                <a:gd name="T79" fmla="*/ 27 h 358"/>
                <a:gd name="T80" fmla="*/ 145 w 396"/>
                <a:gd name="T81" fmla="*/ 35 h 358"/>
                <a:gd name="T82" fmla="*/ 125 w 396"/>
                <a:gd name="T83" fmla="*/ 60 h 358"/>
                <a:gd name="T84" fmla="*/ 135 w 396"/>
                <a:gd name="T85" fmla="*/ 3 h 358"/>
                <a:gd name="T86" fmla="*/ 92 w 396"/>
                <a:gd name="T87" fmla="*/ 0 h 358"/>
                <a:gd name="T88" fmla="*/ 70 w 396"/>
                <a:gd name="T89" fmla="*/ 27 h 358"/>
                <a:gd name="T90" fmla="*/ 68 w 396"/>
                <a:gd name="T91" fmla="*/ 50 h 358"/>
                <a:gd name="T92" fmla="*/ 45 w 396"/>
                <a:gd name="T93" fmla="*/ 47 h 358"/>
                <a:gd name="T94" fmla="*/ 58 w 396"/>
                <a:gd name="T95" fmla="*/ 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396" h="358">
                  <a:moveTo>
                    <a:pt x="58" y="0"/>
                  </a:moveTo>
                  <a:lnTo>
                    <a:pt x="20" y="12"/>
                  </a:lnTo>
                  <a:lnTo>
                    <a:pt x="0" y="50"/>
                  </a:lnTo>
                  <a:lnTo>
                    <a:pt x="3" y="85"/>
                  </a:lnTo>
                  <a:lnTo>
                    <a:pt x="30" y="94"/>
                  </a:lnTo>
                  <a:lnTo>
                    <a:pt x="18" y="109"/>
                  </a:lnTo>
                  <a:lnTo>
                    <a:pt x="25" y="119"/>
                  </a:lnTo>
                  <a:lnTo>
                    <a:pt x="82" y="112"/>
                  </a:lnTo>
                  <a:lnTo>
                    <a:pt x="120" y="129"/>
                  </a:lnTo>
                  <a:lnTo>
                    <a:pt x="147" y="112"/>
                  </a:lnTo>
                  <a:lnTo>
                    <a:pt x="182" y="142"/>
                  </a:lnTo>
                  <a:lnTo>
                    <a:pt x="177" y="164"/>
                  </a:lnTo>
                  <a:lnTo>
                    <a:pt x="209" y="164"/>
                  </a:lnTo>
                  <a:lnTo>
                    <a:pt x="227" y="179"/>
                  </a:lnTo>
                  <a:lnTo>
                    <a:pt x="229" y="211"/>
                  </a:lnTo>
                  <a:lnTo>
                    <a:pt x="197" y="249"/>
                  </a:lnTo>
                  <a:lnTo>
                    <a:pt x="142" y="261"/>
                  </a:lnTo>
                  <a:lnTo>
                    <a:pt x="130" y="281"/>
                  </a:lnTo>
                  <a:lnTo>
                    <a:pt x="150" y="301"/>
                  </a:lnTo>
                  <a:lnTo>
                    <a:pt x="197" y="291"/>
                  </a:lnTo>
                  <a:lnTo>
                    <a:pt x="242" y="326"/>
                  </a:lnTo>
                  <a:lnTo>
                    <a:pt x="304" y="358"/>
                  </a:lnTo>
                  <a:lnTo>
                    <a:pt x="284" y="308"/>
                  </a:lnTo>
                  <a:lnTo>
                    <a:pt x="326" y="336"/>
                  </a:lnTo>
                  <a:lnTo>
                    <a:pt x="339" y="306"/>
                  </a:lnTo>
                  <a:lnTo>
                    <a:pt x="329" y="268"/>
                  </a:lnTo>
                  <a:lnTo>
                    <a:pt x="299" y="261"/>
                  </a:lnTo>
                  <a:lnTo>
                    <a:pt x="301" y="226"/>
                  </a:lnTo>
                  <a:lnTo>
                    <a:pt x="316" y="221"/>
                  </a:lnTo>
                  <a:lnTo>
                    <a:pt x="366" y="271"/>
                  </a:lnTo>
                  <a:lnTo>
                    <a:pt x="383" y="241"/>
                  </a:lnTo>
                  <a:lnTo>
                    <a:pt x="396" y="219"/>
                  </a:lnTo>
                  <a:lnTo>
                    <a:pt x="366" y="196"/>
                  </a:lnTo>
                  <a:lnTo>
                    <a:pt x="331" y="189"/>
                  </a:lnTo>
                  <a:lnTo>
                    <a:pt x="306" y="154"/>
                  </a:lnTo>
                  <a:lnTo>
                    <a:pt x="326" y="132"/>
                  </a:lnTo>
                  <a:lnTo>
                    <a:pt x="309" y="104"/>
                  </a:lnTo>
                  <a:lnTo>
                    <a:pt x="261" y="85"/>
                  </a:lnTo>
                  <a:lnTo>
                    <a:pt x="229" y="70"/>
                  </a:lnTo>
                  <a:lnTo>
                    <a:pt x="207" y="27"/>
                  </a:lnTo>
                  <a:lnTo>
                    <a:pt x="145" y="35"/>
                  </a:lnTo>
                  <a:lnTo>
                    <a:pt x="125" y="60"/>
                  </a:lnTo>
                  <a:lnTo>
                    <a:pt x="135" y="3"/>
                  </a:lnTo>
                  <a:lnTo>
                    <a:pt x="92" y="0"/>
                  </a:lnTo>
                  <a:lnTo>
                    <a:pt x="70" y="27"/>
                  </a:lnTo>
                  <a:lnTo>
                    <a:pt x="68" y="50"/>
                  </a:lnTo>
                  <a:lnTo>
                    <a:pt x="45" y="47"/>
                  </a:lnTo>
                  <a:lnTo>
                    <a:pt x="5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Freeform 122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5 w 32"/>
                <a:gd name="T35" fmla="*/ 38 h 38"/>
                <a:gd name="T36" fmla="*/ 3 w 32"/>
                <a:gd name="T37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5" y="38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5" name="Freeform 123"/>
            <p:cNvSpPr>
              <a:spLocks/>
            </p:cNvSpPr>
            <p:nvPr/>
          </p:nvSpPr>
          <p:spPr bwMode="auto">
            <a:xfrm>
              <a:off x="2533245" y="2132884"/>
              <a:ext cx="46056" cy="54691"/>
            </a:xfrm>
            <a:custGeom>
              <a:avLst/>
              <a:gdLst>
                <a:gd name="T0" fmla="*/ 3 w 32"/>
                <a:gd name="T1" fmla="*/ 38 h 38"/>
                <a:gd name="T2" fmla="*/ 3 w 32"/>
                <a:gd name="T3" fmla="*/ 35 h 38"/>
                <a:gd name="T4" fmla="*/ 0 w 32"/>
                <a:gd name="T5" fmla="*/ 35 h 38"/>
                <a:gd name="T6" fmla="*/ 3 w 32"/>
                <a:gd name="T7" fmla="*/ 30 h 38"/>
                <a:gd name="T8" fmla="*/ 5 w 32"/>
                <a:gd name="T9" fmla="*/ 23 h 38"/>
                <a:gd name="T10" fmla="*/ 5 w 32"/>
                <a:gd name="T11" fmla="*/ 15 h 38"/>
                <a:gd name="T12" fmla="*/ 5 w 32"/>
                <a:gd name="T13" fmla="*/ 10 h 38"/>
                <a:gd name="T14" fmla="*/ 10 w 32"/>
                <a:gd name="T15" fmla="*/ 5 h 38"/>
                <a:gd name="T16" fmla="*/ 13 w 32"/>
                <a:gd name="T17" fmla="*/ 0 h 38"/>
                <a:gd name="T18" fmla="*/ 17 w 32"/>
                <a:gd name="T19" fmla="*/ 0 h 38"/>
                <a:gd name="T20" fmla="*/ 22 w 32"/>
                <a:gd name="T21" fmla="*/ 0 h 38"/>
                <a:gd name="T22" fmla="*/ 27 w 32"/>
                <a:gd name="T23" fmla="*/ 5 h 38"/>
                <a:gd name="T24" fmla="*/ 30 w 32"/>
                <a:gd name="T25" fmla="*/ 10 h 38"/>
                <a:gd name="T26" fmla="*/ 32 w 32"/>
                <a:gd name="T27" fmla="*/ 15 h 38"/>
                <a:gd name="T28" fmla="*/ 27 w 32"/>
                <a:gd name="T29" fmla="*/ 23 h 38"/>
                <a:gd name="T30" fmla="*/ 20 w 32"/>
                <a:gd name="T31" fmla="*/ 30 h 38"/>
                <a:gd name="T32" fmla="*/ 10 w 32"/>
                <a:gd name="T33" fmla="*/ 35 h 38"/>
                <a:gd name="T34" fmla="*/ 3 w 32"/>
                <a:gd name="T3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8">
                  <a:moveTo>
                    <a:pt x="3" y="38"/>
                  </a:moveTo>
                  <a:lnTo>
                    <a:pt x="3" y="35"/>
                  </a:lnTo>
                  <a:lnTo>
                    <a:pt x="0" y="35"/>
                  </a:lnTo>
                  <a:lnTo>
                    <a:pt x="3" y="30"/>
                  </a:lnTo>
                  <a:lnTo>
                    <a:pt x="5" y="23"/>
                  </a:lnTo>
                  <a:lnTo>
                    <a:pt x="5" y="15"/>
                  </a:lnTo>
                  <a:lnTo>
                    <a:pt x="5" y="10"/>
                  </a:lnTo>
                  <a:lnTo>
                    <a:pt x="10" y="5"/>
                  </a:lnTo>
                  <a:lnTo>
                    <a:pt x="13" y="0"/>
                  </a:lnTo>
                  <a:lnTo>
                    <a:pt x="17" y="0"/>
                  </a:lnTo>
                  <a:lnTo>
                    <a:pt x="22" y="0"/>
                  </a:lnTo>
                  <a:lnTo>
                    <a:pt x="27" y="5"/>
                  </a:lnTo>
                  <a:lnTo>
                    <a:pt x="30" y="10"/>
                  </a:lnTo>
                  <a:lnTo>
                    <a:pt x="32" y="15"/>
                  </a:lnTo>
                  <a:lnTo>
                    <a:pt x="27" y="23"/>
                  </a:lnTo>
                  <a:lnTo>
                    <a:pt x="20" y="30"/>
                  </a:lnTo>
                  <a:lnTo>
                    <a:pt x="10" y="35"/>
                  </a:lnTo>
                  <a:lnTo>
                    <a:pt x="3" y="3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6" name="Freeform 124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10 w 17"/>
                <a:gd name="T25" fmla="*/ 35 h 35"/>
                <a:gd name="T26" fmla="*/ 7 w 17"/>
                <a:gd name="T27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10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7" name="Freeform 125"/>
            <p:cNvSpPr>
              <a:spLocks/>
            </p:cNvSpPr>
            <p:nvPr/>
          </p:nvSpPr>
          <p:spPr bwMode="auto">
            <a:xfrm>
              <a:off x="2508778" y="2062361"/>
              <a:ext cx="24467" cy="50374"/>
            </a:xfrm>
            <a:custGeom>
              <a:avLst/>
              <a:gdLst>
                <a:gd name="T0" fmla="*/ 7 w 17"/>
                <a:gd name="T1" fmla="*/ 35 h 35"/>
                <a:gd name="T2" fmla="*/ 5 w 17"/>
                <a:gd name="T3" fmla="*/ 35 h 35"/>
                <a:gd name="T4" fmla="*/ 2 w 17"/>
                <a:gd name="T5" fmla="*/ 30 h 35"/>
                <a:gd name="T6" fmla="*/ 0 w 17"/>
                <a:gd name="T7" fmla="*/ 17 h 35"/>
                <a:gd name="T8" fmla="*/ 2 w 17"/>
                <a:gd name="T9" fmla="*/ 5 h 35"/>
                <a:gd name="T10" fmla="*/ 5 w 17"/>
                <a:gd name="T11" fmla="*/ 2 h 35"/>
                <a:gd name="T12" fmla="*/ 7 w 17"/>
                <a:gd name="T13" fmla="*/ 0 h 35"/>
                <a:gd name="T14" fmla="*/ 12 w 17"/>
                <a:gd name="T15" fmla="*/ 2 h 35"/>
                <a:gd name="T16" fmla="*/ 15 w 17"/>
                <a:gd name="T17" fmla="*/ 5 h 35"/>
                <a:gd name="T18" fmla="*/ 17 w 17"/>
                <a:gd name="T19" fmla="*/ 17 h 35"/>
                <a:gd name="T20" fmla="*/ 15 w 17"/>
                <a:gd name="T21" fmla="*/ 30 h 35"/>
                <a:gd name="T22" fmla="*/ 12 w 17"/>
                <a:gd name="T23" fmla="*/ 35 h 35"/>
                <a:gd name="T24" fmla="*/ 7 w 17"/>
                <a:gd name="T2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7" h="35">
                  <a:moveTo>
                    <a:pt x="7" y="35"/>
                  </a:moveTo>
                  <a:lnTo>
                    <a:pt x="5" y="35"/>
                  </a:lnTo>
                  <a:lnTo>
                    <a:pt x="2" y="30"/>
                  </a:lnTo>
                  <a:lnTo>
                    <a:pt x="0" y="17"/>
                  </a:lnTo>
                  <a:lnTo>
                    <a:pt x="2" y="5"/>
                  </a:lnTo>
                  <a:lnTo>
                    <a:pt x="5" y="2"/>
                  </a:lnTo>
                  <a:lnTo>
                    <a:pt x="7" y="0"/>
                  </a:lnTo>
                  <a:lnTo>
                    <a:pt x="12" y="2"/>
                  </a:lnTo>
                  <a:lnTo>
                    <a:pt x="15" y="5"/>
                  </a:lnTo>
                  <a:lnTo>
                    <a:pt x="17" y="17"/>
                  </a:lnTo>
                  <a:lnTo>
                    <a:pt x="15" y="30"/>
                  </a:lnTo>
                  <a:lnTo>
                    <a:pt x="12" y="35"/>
                  </a:lnTo>
                  <a:lnTo>
                    <a:pt x="7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8" name="Freeform 126"/>
            <p:cNvSpPr>
              <a:spLocks/>
            </p:cNvSpPr>
            <p:nvPr/>
          </p:nvSpPr>
          <p:spPr bwMode="auto">
            <a:xfrm>
              <a:off x="2311603" y="2250901"/>
              <a:ext cx="103625" cy="90671"/>
            </a:xfrm>
            <a:custGeom>
              <a:avLst/>
              <a:gdLst>
                <a:gd name="T0" fmla="*/ 32 w 72"/>
                <a:gd name="T1" fmla="*/ 0 h 63"/>
                <a:gd name="T2" fmla="*/ 62 w 72"/>
                <a:gd name="T3" fmla="*/ 8 h 63"/>
                <a:gd name="T4" fmla="*/ 72 w 72"/>
                <a:gd name="T5" fmla="*/ 28 h 63"/>
                <a:gd name="T6" fmla="*/ 47 w 72"/>
                <a:gd name="T7" fmla="*/ 38 h 63"/>
                <a:gd name="T8" fmla="*/ 17 w 72"/>
                <a:gd name="T9" fmla="*/ 63 h 63"/>
                <a:gd name="T10" fmla="*/ 0 w 72"/>
                <a:gd name="T11" fmla="*/ 38 h 63"/>
                <a:gd name="T12" fmla="*/ 2 w 72"/>
                <a:gd name="T13" fmla="*/ 13 h 63"/>
                <a:gd name="T14" fmla="*/ 32 w 72"/>
                <a:gd name="T15" fmla="*/ 0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72" h="63">
                  <a:moveTo>
                    <a:pt x="32" y="0"/>
                  </a:moveTo>
                  <a:lnTo>
                    <a:pt x="62" y="8"/>
                  </a:lnTo>
                  <a:lnTo>
                    <a:pt x="72" y="28"/>
                  </a:lnTo>
                  <a:lnTo>
                    <a:pt x="47" y="38"/>
                  </a:lnTo>
                  <a:lnTo>
                    <a:pt x="17" y="63"/>
                  </a:lnTo>
                  <a:lnTo>
                    <a:pt x="0" y="38"/>
                  </a:lnTo>
                  <a:lnTo>
                    <a:pt x="2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9" name="Freeform 127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0" name="Freeform 128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  <a:gd name="T18" fmla="*/ 37 w 85"/>
                <a:gd name="T19" fmla="*/ 2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  <a:lnTo>
                    <a:pt x="37" y="2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1" name="Freeform 129"/>
            <p:cNvSpPr>
              <a:spLocks/>
            </p:cNvSpPr>
            <p:nvPr/>
          </p:nvSpPr>
          <p:spPr bwMode="auto">
            <a:xfrm>
              <a:off x="2046784" y="1737093"/>
              <a:ext cx="122335" cy="82037"/>
            </a:xfrm>
            <a:custGeom>
              <a:avLst/>
              <a:gdLst>
                <a:gd name="T0" fmla="*/ 37 w 85"/>
                <a:gd name="T1" fmla="*/ 22 h 57"/>
                <a:gd name="T2" fmla="*/ 62 w 85"/>
                <a:gd name="T3" fmla="*/ 7 h 57"/>
                <a:gd name="T4" fmla="*/ 85 w 85"/>
                <a:gd name="T5" fmla="*/ 9 h 57"/>
                <a:gd name="T6" fmla="*/ 82 w 85"/>
                <a:gd name="T7" fmla="*/ 47 h 57"/>
                <a:gd name="T8" fmla="*/ 30 w 85"/>
                <a:gd name="T9" fmla="*/ 57 h 57"/>
                <a:gd name="T10" fmla="*/ 15 w 85"/>
                <a:gd name="T11" fmla="*/ 37 h 57"/>
                <a:gd name="T12" fmla="*/ 0 w 85"/>
                <a:gd name="T13" fmla="*/ 12 h 57"/>
                <a:gd name="T14" fmla="*/ 12 w 85"/>
                <a:gd name="T15" fmla="*/ 0 h 57"/>
                <a:gd name="T16" fmla="*/ 27 w 85"/>
                <a:gd name="T17" fmla="*/ 19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85" h="57">
                  <a:moveTo>
                    <a:pt x="37" y="22"/>
                  </a:moveTo>
                  <a:lnTo>
                    <a:pt x="62" y="7"/>
                  </a:lnTo>
                  <a:lnTo>
                    <a:pt x="85" y="9"/>
                  </a:lnTo>
                  <a:lnTo>
                    <a:pt x="82" y="47"/>
                  </a:lnTo>
                  <a:lnTo>
                    <a:pt x="30" y="57"/>
                  </a:lnTo>
                  <a:lnTo>
                    <a:pt x="15" y="37"/>
                  </a:lnTo>
                  <a:lnTo>
                    <a:pt x="0" y="12"/>
                  </a:lnTo>
                  <a:lnTo>
                    <a:pt x="12" y="0"/>
                  </a:lnTo>
                  <a:lnTo>
                    <a:pt x="27" y="19"/>
                  </a:lnTo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2" name="Freeform 130"/>
            <p:cNvSpPr>
              <a:spLocks/>
            </p:cNvSpPr>
            <p:nvPr/>
          </p:nvSpPr>
          <p:spPr bwMode="auto">
            <a:xfrm>
              <a:off x="2203660" y="1629151"/>
              <a:ext cx="64766" cy="64765"/>
            </a:xfrm>
            <a:custGeom>
              <a:avLst/>
              <a:gdLst>
                <a:gd name="T0" fmla="*/ 0 w 45"/>
                <a:gd name="T1" fmla="*/ 7 h 45"/>
                <a:gd name="T2" fmla="*/ 0 w 45"/>
                <a:gd name="T3" fmla="*/ 30 h 45"/>
                <a:gd name="T4" fmla="*/ 18 w 45"/>
                <a:gd name="T5" fmla="*/ 45 h 45"/>
                <a:gd name="T6" fmla="*/ 35 w 45"/>
                <a:gd name="T7" fmla="*/ 42 h 45"/>
                <a:gd name="T8" fmla="*/ 45 w 45"/>
                <a:gd name="T9" fmla="*/ 20 h 45"/>
                <a:gd name="T10" fmla="*/ 30 w 45"/>
                <a:gd name="T11" fmla="*/ 0 h 45"/>
                <a:gd name="T12" fmla="*/ 0 w 45"/>
                <a:gd name="T13" fmla="*/ 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5" h="45">
                  <a:moveTo>
                    <a:pt x="0" y="7"/>
                  </a:moveTo>
                  <a:lnTo>
                    <a:pt x="0" y="30"/>
                  </a:lnTo>
                  <a:lnTo>
                    <a:pt x="18" y="45"/>
                  </a:lnTo>
                  <a:lnTo>
                    <a:pt x="35" y="42"/>
                  </a:lnTo>
                  <a:lnTo>
                    <a:pt x="45" y="20"/>
                  </a:lnTo>
                  <a:lnTo>
                    <a:pt x="30" y="0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3" name="Freeform 131"/>
            <p:cNvSpPr>
              <a:spLocks/>
            </p:cNvSpPr>
            <p:nvPr/>
          </p:nvSpPr>
          <p:spPr bwMode="auto">
            <a:xfrm>
              <a:off x="2193586" y="1561507"/>
              <a:ext cx="43177" cy="35981"/>
            </a:xfrm>
            <a:custGeom>
              <a:avLst/>
              <a:gdLst>
                <a:gd name="T0" fmla="*/ 2 w 30"/>
                <a:gd name="T1" fmla="*/ 0 h 25"/>
                <a:gd name="T2" fmla="*/ 0 w 30"/>
                <a:gd name="T3" fmla="*/ 25 h 25"/>
                <a:gd name="T4" fmla="*/ 25 w 30"/>
                <a:gd name="T5" fmla="*/ 25 h 25"/>
                <a:gd name="T6" fmla="*/ 30 w 30"/>
                <a:gd name="T7" fmla="*/ 7 h 25"/>
                <a:gd name="T8" fmla="*/ 2 w 30"/>
                <a:gd name="T9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0" h="25">
                  <a:moveTo>
                    <a:pt x="2" y="0"/>
                  </a:moveTo>
                  <a:lnTo>
                    <a:pt x="0" y="25"/>
                  </a:lnTo>
                  <a:lnTo>
                    <a:pt x="25" y="25"/>
                  </a:lnTo>
                  <a:lnTo>
                    <a:pt x="30" y="7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4" name="Freeform 132"/>
            <p:cNvSpPr>
              <a:spLocks/>
            </p:cNvSpPr>
            <p:nvPr/>
          </p:nvSpPr>
          <p:spPr bwMode="auto">
            <a:xfrm>
              <a:off x="2287136" y="1503937"/>
              <a:ext cx="142485" cy="153999"/>
            </a:xfrm>
            <a:custGeom>
              <a:avLst/>
              <a:gdLst>
                <a:gd name="T0" fmla="*/ 32 w 99"/>
                <a:gd name="T1" fmla="*/ 0 h 107"/>
                <a:gd name="T2" fmla="*/ 17 w 99"/>
                <a:gd name="T3" fmla="*/ 22 h 107"/>
                <a:gd name="T4" fmla="*/ 0 w 99"/>
                <a:gd name="T5" fmla="*/ 42 h 107"/>
                <a:gd name="T6" fmla="*/ 2 w 99"/>
                <a:gd name="T7" fmla="*/ 67 h 107"/>
                <a:gd name="T8" fmla="*/ 24 w 99"/>
                <a:gd name="T9" fmla="*/ 67 h 107"/>
                <a:gd name="T10" fmla="*/ 19 w 99"/>
                <a:gd name="T11" fmla="*/ 82 h 107"/>
                <a:gd name="T12" fmla="*/ 27 w 99"/>
                <a:gd name="T13" fmla="*/ 102 h 107"/>
                <a:gd name="T14" fmla="*/ 82 w 99"/>
                <a:gd name="T15" fmla="*/ 107 h 107"/>
                <a:gd name="T16" fmla="*/ 97 w 99"/>
                <a:gd name="T17" fmla="*/ 87 h 107"/>
                <a:gd name="T18" fmla="*/ 99 w 99"/>
                <a:gd name="T19" fmla="*/ 52 h 107"/>
                <a:gd name="T20" fmla="*/ 79 w 99"/>
                <a:gd name="T21" fmla="*/ 25 h 107"/>
                <a:gd name="T22" fmla="*/ 32 w 99"/>
                <a:gd name="T23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107">
                  <a:moveTo>
                    <a:pt x="32" y="0"/>
                  </a:moveTo>
                  <a:lnTo>
                    <a:pt x="17" y="22"/>
                  </a:lnTo>
                  <a:lnTo>
                    <a:pt x="0" y="42"/>
                  </a:lnTo>
                  <a:lnTo>
                    <a:pt x="2" y="67"/>
                  </a:lnTo>
                  <a:lnTo>
                    <a:pt x="24" y="67"/>
                  </a:lnTo>
                  <a:lnTo>
                    <a:pt x="19" y="82"/>
                  </a:lnTo>
                  <a:lnTo>
                    <a:pt x="27" y="102"/>
                  </a:lnTo>
                  <a:lnTo>
                    <a:pt x="82" y="107"/>
                  </a:lnTo>
                  <a:lnTo>
                    <a:pt x="97" y="87"/>
                  </a:lnTo>
                  <a:lnTo>
                    <a:pt x="99" y="52"/>
                  </a:lnTo>
                  <a:lnTo>
                    <a:pt x="79" y="25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5" name="Freeform 133"/>
            <p:cNvSpPr>
              <a:spLocks/>
            </p:cNvSpPr>
            <p:nvPr/>
          </p:nvSpPr>
          <p:spPr bwMode="auto">
            <a:xfrm>
              <a:off x="2369173" y="1414705"/>
              <a:ext cx="621750" cy="354052"/>
            </a:xfrm>
            <a:custGeom>
              <a:avLst/>
              <a:gdLst>
                <a:gd name="T0" fmla="*/ 35 w 432"/>
                <a:gd name="T1" fmla="*/ 47 h 246"/>
                <a:gd name="T2" fmla="*/ 42 w 432"/>
                <a:gd name="T3" fmla="*/ 64 h 246"/>
                <a:gd name="T4" fmla="*/ 59 w 432"/>
                <a:gd name="T5" fmla="*/ 84 h 246"/>
                <a:gd name="T6" fmla="*/ 74 w 432"/>
                <a:gd name="T7" fmla="*/ 89 h 246"/>
                <a:gd name="T8" fmla="*/ 104 w 432"/>
                <a:gd name="T9" fmla="*/ 99 h 246"/>
                <a:gd name="T10" fmla="*/ 131 w 432"/>
                <a:gd name="T11" fmla="*/ 87 h 246"/>
                <a:gd name="T12" fmla="*/ 169 w 432"/>
                <a:gd name="T13" fmla="*/ 77 h 246"/>
                <a:gd name="T14" fmla="*/ 181 w 432"/>
                <a:gd name="T15" fmla="*/ 72 h 246"/>
                <a:gd name="T16" fmla="*/ 181 w 432"/>
                <a:gd name="T17" fmla="*/ 92 h 246"/>
                <a:gd name="T18" fmla="*/ 141 w 432"/>
                <a:gd name="T19" fmla="*/ 102 h 246"/>
                <a:gd name="T20" fmla="*/ 117 w 432"/>
                <a:gd name="T21" fmla="*/ 114 h 246"/>
                <a:gd name="T22" fmla="*/ 139 w 432"/>
                <a:gd name="T23" fmla="*/ 124 h 246"/>
                <a:gd name="T24" fmla="*/ 99 w 432"/>
                <a:gd name="T25" fmla="*/ 124 h 246"/>
                <a:gd name="T26" fmla="*/ 79 w 432"/>
                <a:gd name="T27" fmla="*/ 112 h 246"/>
                <a:gd name="T28" fmla="*/ 77 w 432"/>
                <a:gd name="T29" fmla="*/ 134 h 246"/>
                <a:gd name="T30" fmla="*/ 92 w 432"/>
                <a:gd name="T31" fmla="*/ 156 h 246"/>
                <a:gd name="T32" fmla="*/ 74 w 432"/>
                <a:gd name="T33" fmla="*/ 171 h 246"/>
                <a:gd name="T34" fmla="*/ 59 w 432"/>
                <a:gd name="T35" fmla="*/ 184 h 246"/>
                <a:gd name="T36" fmla="*/ 40 w 432"/>
                <a:gd name="T37" fmla="*/ 196 h 246"/>
                <a:gd name="T38" fmla="*/ 32 w 432"/>
                <a:gd name="T39" fmla="*/ 211 h 246"/>
                <a:gd name="T40" fmla="*/ 0 w 432"/>
                <a:gd name="T41" fmla="*/ 206 h 246"/>
                <a:gd name="T42" fmla="*/ 15 w 432"/>
                <a:gd name="T43" fmla="*/ 233 h 246"/>
                <a:gd name="T44" fmla="*/ 102 w 432"/>
                <a:gd name="T45" fmla="*/ 246 h 246"/>
                <a:gd name="T46" fmla="*/ 151 w 432"/>
                <a:gd name="T47" fmla="*/ 236 h 246"/>
                <a:gd name="T48" fmla="*/ 174 w 432"/>
                <a:gd name="T49" fmla="*/ 211 h 246"/>
                <a:gd name="T50" fmla="*/ 154 w 432"/>
                <a:gd name="T51" fmla="*/ 189 h 246"/>
                <a:gd name="T52" fmla="*/ 174 w 432"/>
                <a:gd name="T53" fmla="*/ 181 h 246"/>
                <a:gd name="T54" fmla="*/ 194 w 432"/>
                <a:gd name="T55" fmla="*/ 174 h 246"/>
                <a:gd name="T56" fmla="*/ 226 w 432"/>
                <a:gd name="T57" fmla="*/ 144 h 246"/>
                <a:gd name="T58" fmla="*/ 233 w 432"/>
                <a:gd name="T59" fmla="*/ 129 h 246"/>
                <a:gd name="T60" fmla="*/ 258 w 432"/>
                <a:gd name="T61" fmla="*/ 114 h 246"/>
                <a:gd name="T62" fmla="*/ 293 w 432"/>
                <a:gd name="T63" fmla="*/ 124 h 246"/>
                <a:gd name="T64" fmla="*/ 353 w 432"/>
                <a:gd name="T65" fmla="*/ 72 h 246"/>
                <a:gd name="T66" fmla="*/ 340 w 432"/>
                <a:gd name="T67" fmla="*/ 50 h 246"/>
                <a:gd name="T68" fmla="*/ 397 w 432"/>
                <a:gd name="T69" fmla="*/ 40 h 246"/>
                <a:gd name="T70" fmla="*/ 432 w 432"/>
                <a:gd name="T71" fmla="*/ 25 h 246"/>
                <a:gd name="T72" fmla="*/ 412 w 432"/>
                <a:gd name="T73" fmla="*/ 2 h 246"/>
                <a:gd name="T74" fmla="*/ 375 w 432"/>
                <a:gd name="T75" fmla="*/ 2 h 246"/>
                <a:gd name="T76" fmla="*/ 283 w 432"/>
                <a:gd name="T77" fmla="*/ 0 h 246"/>
                <a:gd name="T78" fmla="*/ 253 w 432"/>
                <a:gd name="T79" fmla="*/ 25 h 246"/>
                <a:gd name="T80" fmla="*/ 226 w 432"/>
                <a:gd name="T81" fmla="*/ 0 h 246"/>
                <a:gd name="T82" fmla="*/ 221 w 432"/>
                <a:gd name="T83" fmla="*/ 12 h 246"/>
                <a:gd name="T84" fmla="*/ 169 w 432"/>
                <a:gd name="T85" fmla="*/ 10 h 246"/>
                <a:gd name="T86" fmla="*/ 144 w 432"/>
                <a:gd name="T87" fmla="*/ 37 h 246"/>
                <a:gd name="T88" fmla="*/ 119 w 432"/>
                <a:gd name="T89" fmla="*/ 37 h 246"/>
                <a:gd name="T90" fmla="*/ 109 w 432"/>
                <a:gd name="T91" fmla="*/ 22 h 246"/>
                <a:gd name="T92" fmla="*/ 79 w 432"/>
                <a:gd name="T93" fmla="*/ 27 h 246"/>
                <a:gd name="T94" fmla="*/ 74 w 432"/>
                <a:gd name="T95" fmla="*/ 40 h 246"/>
                <a:gd name="T96" fmla="*/ 35 w 432"/>
                <a:gd name="T97" fmla="*/ 47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432" h="246">
                  <a:moveTo>
                    <a:pt x="35" y="47"/>
                  </a:moveTo>
                  <a:lnTo>
                    <a:pt x="42" y="64"/>
                  </a:lnTo>
                  <a:lnTo>
                    <a:pt x="59" y="84"/>
                  </a:lnTo>
                  <a:lnTo>
                    <a:pt x="74" y="89"/>
                  </a:lnTo>
                  <a:lnTo>
                    <a:pt x="104" y="99"/>
                  </a:lnTo>
                  <a:lnTo>
                    <a:pt x="131" y="87"/>
                  </a:lnTo>
                  <a:lnTo>
                    <a:pt x="169" y="77"/>
                  </a:lnTo>
                  <a:lnTo>
                    <a:pt x="181" y="72"/>
                  </a:lnTo>
                  <a:lnTo>
                    <a:pt x="181" y="92"/>
                  </a:lnTo>
                  <a:lnTo>
                    <a:pt x="141" y="102"/>
                  </a:lnTo>
                  <a:lnTo>
                    <a:pt x="117" y="114"/>
                  </a:lnTo>
                  <a:lnTo>
                    <a:pt x="139" y="124"/>
                  </a:lnTo>
                  <a:lnTo>
                    <a:pt x="99" y="124"/>
                  </a:lnTo>
                  <a:lnTo>
                    <a:pt x="79" y="112"/>
                  </a:lnTo>
                  <a:lnTo>
                    <a:pt x="77" y="134"/>
                  </a:lnTo>
                  <a:lnTo>
                    <a:pt x="92" y="156"/>
                  </a:lnTo>
                  <a:lnTo>
                    <a:pt x="74" y="171"/>
                  </a:lnTo>
                  <a:lnTo>
                    <a:pt x="59" y="184"/>
                  </a:lnTo>
                  <a:lnTo>
                    <a:pt x="40" y="196"/>
                  </a:lnTo>
                  <a:lnTo>
                    <a:pt x="32" y="211"/>
                  </a:lnTo>
                  <a:lnTo>
                    <a:pt x="0" y="206"/>
                  </a:lnTo>
                  <a:lnTo>
                    <a:pt x="15" y="233"/>
                  </a:lnTo>
                  <a:lnTo>
                    <a:pt x="102" y="246"/>
                  </a:lnTo>
                  <a:lnTo>
                    <a:pt x="151" y="236"/>
                  </a:lnTo>
                  <a:lnTo>
                    <a:pt x="174" y="211"/>
                  </a:lnTo>
                  <a:lnTo>
                    <a:pt x="154" y="189"/>
                  </a:lnTo>
                  <a:lnTo>
                    <a:pt x="174" y="181"/>
                  </a:lnTo>
                  <a:lnTo>
                    <a:pt x="194" y="174"/>
                  </a:lnTo>
                  <a:lnTo>
                    <a:pt x="226" y="144"/>
                  </a:lnTo>
                  <a:lnTo>
                    <a:pt x="233" y="129"/>
                  </a:lnTo>
                  <a:lnTo>
                    <a:pt x="258" y="114"/>
                  </a:lnTo>
                  <a:lnTo>
                    <a:pt x="293" y="124"/>
                  </a:lnTo>
                  <a:lnTo>
                    <a:pt x="353" y="72"/>
                  </a:lnTo>
                  <a:lnTo>
                    <a:pt x="340" y="50"/>
                  </a:lnTo>
                  <a:lnTo>
                    <a:pt x="397" y="40"/>
                  </a:lnTo>
                  <a:lnTo>
                    <a:pt x="432" y="25"/>
                  </a:lnTo>
                  <a:lnTo>
                    <a:pt x="412" y="2"/>
                  </a:lnTo>
                  <a:lnTo>
                    <a:pt x="375" y="2"/>
                  </a:lnTo>
                  <a:lnTo>
                    <a:pt x="283" y="0"/>
                  </a:lnTo>
                  <a:lnTo>
                    <a:pt x="253" y="25"/>
                  </a:lnTo>
                  <a:lnTo>
                    <a:pt x="226" y="0"/>
                  </a:lnTo>
                  <a:lnTo>
                    <a:pt x="221" y="12"/>
                  </a:lnTo>
                  <a:lnTo>
                    <a:pt x="169" y="10"/>
                  </a:lnTo>
                  <a:lnTo>
                    <a:pt x="144" y="37"/>
                  </a:lnTo>
                  <a:lnTo>
                    <a:pt x="119" y="37"/>
                  </a:lnTo>
                  <a:lnTo>
                    <a:pt x="109" y="22"/>
                  </a:lnTo>
                  <a:lnTo>
                    <a:pt x="79" y="27"/>
                  </a:lnTo>
                  <a:lnTo>
                    <a:pt x="74" y="40"/>
                  </a:lnTo>
                  <a:lnTo>
                    <a:pt x="35" y="4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6" name="Freeform 134"/>
            <p:cNvSpPr>
              <a:spLocks/>
            </p:cNvSpPr>
            <p:nvPr/>
          </p:nvSpPr>
          <p:spPr bwMode="auto">
            <a:xfrm>
              <a:off x="2265548" y="1715505"/>
              <a:ext cx="282090" cy="128091"/>
            </a:xfrm>
            <a:custGeom>
              <a:avLst/>
              <a:gdLst>
                <a:gd name="T0" fmla="*/ 25 w 196"/>
                <a:gd name="T1" fmla="*/ 0 h 89"/>
                <a:gd name="T2" fmla="*/ 0 w 196"/>
                <a:gd name="T3" fmla="*/ 22 h 89"/>
                <a:gd name="T4" fmla="*/ 15 w 196"/>
                <a:gd name="T5" fmla="*/ 42 h 89"/>
                <a:gd name="T6" fmla="*/ 42 w 196"/>
                <a:gd name="T7" fmla="*/ 74 h 89"/>
                <a:gd name="T8" fmla="*/ 69 w 196"/>
                <a:gd name="T9" fmla="*/ 87 h 89"/>
                <a:gd name="T10" fmla="*/ 149 w 196"/>
                <a:gd name="T11" fmla="*/ 77 h 89"/>
                <a:gd name="T12" fmla="*/ 196 w 196"/>
                <a:gd name="T13" fmla="*/ 89 h 89"/>
                <a:gd name="T14" fmla="*/ 189 w 196"/>
                <a:gd name="T15" fmla="*/ 57 h 89"/>
                <a:gd name="T16" fmla="*/ 124 w 196"/>
                <a:gd name="T17" fmla="*/ 52 h 89"/>
                <a:gd name="T18" fmla="*/ 67 w 196"/>
                <a:gd name="T19" fmla="*/ 37 h 89"/>
                <a:gd name="T20" fmla="*/ 57 w 196"/>
                <a:gd name="T21" fmla="*/ 2 h 89"/>
                <a:gd name="T22" fmla="*/ 25 w 196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96" h="89">
                  <a:moveTo>
                    <a:pt x="25" y="0"/>
                  </a:moveTo>
                  <a:lnTo>
                    <a:pt x="0" y="22"/>
                  </a:lnTo>
                  <a:lnTo>
                    <a:pt x="15" y="42"/>
                  </a:lnTo>
                  <a:lnTo>
                    <a:pt x="42" y="74"/>
                  </a:lnTo>
                  <a:lnTo>
                    <a:pt x="69" y="87"/>
                  </a:lnTo>
                  <a:lnTo>
                    <a:pt x="149" y="77"/>
                  </a:lnTo>
                  <a:lnTo>
                    <a:pt x="196" y="89"/>
                  </a:lnTo>
                  <a:lnTo>
                    <a:pt x="189" y="57"/>
                  </a:lnTo>
                  <a:lnTo>
                    <a:pt x="124" y="52"/>
                  </a:lnTo>
                  <a:lnTo>
                    <a:pt x="67" y="37"/>
                  </a:lnTo>
                  <a:lnTo>
                    <a:pt x="57" y="2"/>
                  </a:lnTo>
                  <a:lnTo>
                    <a:pt x="2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7" name="Freeform 135"/>
            <p:cNvSpPr>
              <a:spLocks/>
            </p:cNvSpPr>
            <p:nvPr/>
          </p:nvSpPr>
          <p:spPr bwMode="auto">
            <a:xfrm>
              <a:off x="2200782" y="1790345"/>
              <a:ext cx="57569" cy="38859"/>
            </a:xfrm>
            <a:custGeom>
              <a:avLst/>
              <a:gdLst>
                <a:gd name="T0" fmla="*/ 15 w 40"/>
                <a:gd name="T1" fmla="*/ 0 h 27"/>
                <a:gd name="T2" fmla="*/ 0 w 40"/>
                <a:gd name="T3" fmla="*/ 20 h 27"/>
                <a:gd name="T4" fmla="*/ 22 w 40"/>
                <a:gd name="T5" fmla="*/ 27 h 27"/>
                <a:gd name="T6" fmla="*/ 40 w 40"/>
                <a:gd name="T7" fmla="*/ 20 h 27"/>
                <a:gd name="T8" fmla="*/ 37 w 40"/>
                <a:gd name="T9" fmla="*/ 5 h 27"/>
                <a:gd name="T10" fmla="*/ 15 w 4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27">
                  <a:moveTo>
                    <a:pt x="15" y="0"/>
                  </a:moveTo>
                  <a:lnTo>
                    <a:pt x="0" y="20"/>
                  </a:lnTo>
                  <a:lnTo>
                    <a:pt x="22" y="27"/>
                  </a:lnTo>
                  <a:lnTo>
                    <a:pt x="40" y="20"/>
                  </a:lnTo>
                  <a:lnTo>
                    <a:pt x="37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8" name="Freeform 136"/>
            <p:cNvSpPr>
              <a:spLocks/>
            </p:cNvSpPr>
            <p:nvPr/>
          </p:nvSpPr>
          <p:spPr bwMode="auto">
            <a:xfrm>
              <a:off x="2744813" y="1374406"/>
              <a:ext cx="1269406" cy="1077988"/>
            </a:xfrm>
            <a:custGeom>
              <a:avLst/>
              <a:gdLst>
                <a:gd name="T0" fmla="*/ 169 w 882"/>
                <a:gd name="T1" fmla="*/ 102 h 749"/>
                <a:gd name="T2" fmla="*/ 114 w 882"/>
                <a:gd name="T3" fmla="*/ 152 h 749"/>
                <a:gd name="T4" fmla="*/ 37 w 882"/>
                <a:gd name="T5" fmla="*/ 192 h 749"/>
                <a:gd name="T6" fmla="*/ 5 w 882"/>
                <a:gd name="T7" fmla="*/ 217 h 749"/>
                <a:gd name="T8" fmla="*/ 79 w 882"/>
                <a:gd name="T9" fmla="*/ 232 h 749"/>
                <a:gd name="T10" fmla="*/ 25 w 882"/>
                <a:gd name="T11" fmla="*/ 239 h 749"/>
                <a:gd name="T12" fmla="*/ 176 w 882"/>
                <a:gd name="T13" fmla="*/ 271 h 749"/>
                <a:gd name="T14" fmla="*/ 221 w 882"/>
                <a:gd name="T15" fmla="*/ 351 h 749"/>
                <a:gd name="T16" fmla="*/ 233 w 882"/>
                <a:gd name="T17" fmla="*/ 421 h 749"/>
                <a:gd name="T18" fmla="*/ 268 w 882"/>
                <a:gd name="T19" fmla="*/ 435 h 749"/>
                <a:gd name="T20" fmla="*/ 281 w 882"/>
                <a:gd name="T21" fmla="*/ 465 h 749"/>
                <a:gd name="T22" fmla="*/ 241 w 882"/>
                <a:gd name="T23" fmla="*/ 520 h 749"/>
                <a:gd name="T24" fmla="*/ 246 w 882"/>
                <a:gd name="T25" fmla="*/ 602 h 749"/>
                <a:gd name="T26" fmla="*/ 296 w 882"/>
                <a:gd name="T27" fmla="*/ 716 h 749"/>
                <a:gd name="T28" fmla="*/ 343 w 882"/>
                <a:gd name="T29" fmla="*/ 749 h 749"/>
                <a:gd name="T30" fmla="*/ 400 w 882"/>
                <a:gd name="T31" fmla="*/ 664 h 749"/>
                <a:gd name="T32" fmla="*/ 425 w 882"/>
                <a:gd name="T33" fmla="*/ 597 h 749"/>
                <a:gd name="T34" fmla="*/ 532 w 882"/>
                <a:gd name="T35" fmla="*/ 572 h 749"/>
                <a:gd name="T36" fmla="*/ 626 w 882"/>
                <a:gd name="T37" fmla="*/ 522 h 749"/>
                <a:gd name="T38" fmla="*/ 713 w 882"/>
                <a:gd name="T39" fmla="*/ 453 h 749"/>
                <a:gd name="T40" fmla="*/ 646 w 882"/>
                <a:gd name="T41" fmla="*/ 435 h 749"/>
                <a:gd name="T42" fmla="*/ 673 w 882"/>
                <a:gd name="T43" fmla="*/ 411 h 749"/>
                <a:gd name="T44" fmla="*/ 723 w 882"/>
                <a:gd name="T45" fmla="*/ 440 h 749"/>
                <a:gd name="T46" fmla="*/ 721 w 882"/>
                <a:gd name="T47" fmla="*/ 391 h 749"/>
                <a:gd name="T48" fmla="*/ 688 w 882"/>
                <a:gd name="T49" fmla="*/ 356 h 749"/>
                <a:gd name="T50" fmla="*/ 723 w 882"/>
                <a:gd name="T51" fmla="*/ 366 h 749"/>
                <a:gd name="T52" fmla="*/ 758 w 882"/>
                <a:gd name="T53" fmla="*/ 344 h 749"/>
                <a:gd name="T54" fmla="*/ 768 w 882"/>
                <a:gd name="T55" fmla="*/ 329 h 749"/>
                <a:gd name="T56" fmla="*/ 793 w 882"/>
                <a:gd name="T57" fmla="*/ 294 h 749"/>
                <a:gd name="T58" fmla="*/ 763 w 882"/>
                <a:gd name="T59" fmla="*/ 259 h 749"/>
                <a:gd name="T60" fmla="*/ 790 w 882"/>
                <a:gd name="T61" fmla="*/ 239 h 749"/>
                <a:gd name="T62" fmla="*/ 736 w 882"/>
                <a:gd name="T63" fmla="*/ 207 h 749"/>
                <a:gd name="T64" fmla="*/ 775 w 882"/>
                <a:gd name="T65" fmla="*/ 157 h 749"/>
                <a:gd name="T66" fmla="*/ 760 w 882"/>
                <a:gd name="T67" fmla="*/ 130 h 749"/>
                <a:gd name="T68" fmla="*/ 800 w 882"/>
                <a:gd name="T69" fmla="*/ 117 h 749"/>
                <a:gd name="T70" fmla="*/ 882 w 882"/>
                <a:gd name="T71" fmla="*/ 78 h 749"/>
                <a:gd name="T72" fmla="*/ 765 w 882"/>
                <a:gd name="T73" fmla="*/ 83 h 749"/>
                <a:gd name="T74" fmla="*/ 738 w 882"/>
                <a:gd name="T75" fmla="*/ 63 h 749"/>
                <a:gd name="T76" fmla="*/ 681 w 882"/>
                <a:gd name="T77" fmla="*/ 55 h 749"/>
                <a:gd name="T78" fmla="*/ 636 w 882"/>
                <a:gd name="T79" fmla="*/ 45 h 749"/>
                <a:gd name="T80" fmla="*/ 736 w 882"/>
                <a:gd name="T81" fmla="*/ 28 h 749"/>
                <a:gd name="T82" fmla="*/ 579 w 882"/>
                <a:gd name="T83" fmla="*/ 25 h 749"/>
                <a:gd name="T84" fmla="*/ 507 w 882"/>
                <a:gd name="T85" fmla="*/ 3 h 749"/>
                <a:gd name="T86" fmla="*/ 420 w 882"/>
                <a:gd name="T87" fmla="*/ 18 h 749"/>
                <a:gd name="T88" fmla="*/ 410 w 882"/>
                <a:gd name="T89" fmla="*/ 70 h 749"/>
                <a:gd name="T90" fmla="*/ 373 w 882"/>
                <a:gd name="T91" fmla="*/ 50 h 749"/>
                <a:gd name="T92" fmla="*/ 348 w 882"/>
                <a:gd name="T93" fmla="*/ 80 h 749"/>
                <a:gd name="T94" fmla="*/ 318 w 882"/>
                <a:gd name="T95" fmla="*/ 55 h 749"/>
                <a:gd name="T96" fmla="*/ 296 w 882"/>
                <a:gd name="T97" fmla="*/ 68 h 749"/>
                <a:gd name="T98" fmla="*/ 226 w 882"/>
                <a:gd name="T99" fmla="*/ 63 h 749"/>
                <a:gd name="T100" fmla="*/ 186 w 882"/>
                <a:gd name="T101" fmla="*/ 80 h 7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882" h="749">
                  <a:moveTo>
                    <a:pt x="186" y="80"/>
                  </a:moveTo>
                  <a:lnTo>
                    <a:pt x="169" y="102"/>
                  </a:lnTo>
                  <a:lnTo>
                    <a:pt x="117" y="115"/>
                  </a:lnTo>
                  <a:lnTo>
                    <a:pt x="114" y="152"/>
                  </a:lnTo>
                  <a:lnTo>
                    <a:pt x="74" y="162"/>
                  </a:lnTo>
                  <a:lnTo>
                    <a:pt x="37" y="192"/>
                  </a:lnTo>
                  <a:lnTo>
                    <a:pt x="0" y="202"/>
                  </a:lnTo>
                  <a:lnTo>
                    <a:pt x="5" y="217"/>
                  </a:lnTo>
                  <a:lnTo>
                    <a:pt x="69" y="212"/>
                  </a:lnTo>
                  <a:lnTo>
                    <a:pt x="79" y="232"/>
                  </a:lnTo>
                  <a:lnTo>
                    <a:pt x="52" y="237"/>
                  </a:lnTo>
                  <a:lnTo>
                    <a:pt x="25" y="239"/>
                  </a:lnTo>
                  <a:lnTo>
                    <a:pt x="69" y="271"/>
                  </a:lnTo>
                  <a:lnTo>
                    <a:pt x="176" y="271"/>
                  </a:lnTo>
                  <a:lnTo>
                    <a:pt x="204" y="301"/>
                  </a:lnTo>
                  <a:lnTo>
                    <a:pt x="221" y="351"/>
                  </a:lnTo>
                  <a:lnTo>
                    <a:pt x="231" y="401"/>
                  </a:lnTo>
                  <a:lnTo>
                    <a:pt x="233" y="421"/>
                  </a:lnTo>
                  <a:lnTo>
                    <a:pt x="258" y="411"/>
                  </a:lnTo>
                  <a:lnTo>
                    <a:pt x="268" y="435"/>
                  </a:lnTo>
                  <a:lnTo>
                    <a:pt x="238" y="448"/>
                  </a:lnTo>
                  <a:lnTo>
                    <a:pt x="281" y="465"/>
                  </a:lnTo>
                  <a:lnTo>
                    <a:pt x="273" y="500"/>
                  </a:lnTo>
                  <a:lnTo>
                    <a:pt x="241" y="520"/>
                  </a:lnTo>
                  <a:lnTo>
                    <a:pt x="231" y="547"/>
                  </a:lnTo>
                  <a:lnTo>
                    <a:pt x="246" y="602"/>
                  </a:lnTo>
                  <a:lnTo>
                    <a:pt x="268" y="662"/>
                  </a:lnTo>
                  <a:lnTo>
                    <a:pt x="296" y="716"/>
                  </a:lnTo>
                  <a:lnTo>
                    <a:pt x="325" y="724"/>
                  </a:lnTo>
                  <a:lnTo>
                    <a:pt x="343" y="749"/>
                  </a:lnTo>
                  <a:lnTo>
                    <a:pt x="370" y="741"/>
                  </a:lnTo>
                  <a:lnTo>
                    <a:pt x="400" y="664"/>
                  </a:lnTo>
                  <a:lnTo>
                    <a:pt x="422" y="637"/>
                  </a:lnTo>
                  <a:lnTo>
                    <a:pt x="425" y="597"/>
                  </a:lnTo>
                  <a:lnTo>
                    <a:pt x="477" y="585"/>
                  </a:lnTo>
                  <a:lnTo>
                    <a:pt x="532" y="572"/>
                  </a:lnTo>
                  <a:lnTo>
                    <a:pt x="562" y="518"/>
                  </a:lnTo>
                  <a:lnTo>
                    <a:pt x="626" y="522"/>
                  </a:lnTo>
                  <a:lnTo>
                    <a:pt x="686" y="483"/>
                  </a:lnTo>
                  <a:lnTo>
                    <a:pt x="713" y="453"/>
                  </a:lnTo>
                  <a:lnTo>
                    <a:pt x="683" y="443"/>
                  </a:lnTo>
                  <a:lnTo>
                    <a:pt x="646" y="435"/>
                  </a:lnTo>
                  <a:lnTo>
                    <a:pt x="651" y="416"/>
                  </a:lnTo>
                  <a:lnTo>
                    <a:pt x="673" y="411"/>
                  </a:lnTo>
                  <a:lnTo>
                    <a:pt x="698" y="428"/>
                  </a:lnTo>
                  <a:lnTo>
                    <a:pt x="723" y="440"/>
                  </a:lnTo>
                  <a:lnTo>
                    <a:pt x="736" y="421"/>
                  </a:lnTo>
                  <a:lnTo>
                    <a:pt x="721" y="391"/>
                  </a:lnTo>
                  <a:lnTo>
                    <a:pt x="686" y="378"/>
                  </a:lnTo>
                  <a:lnTo>
                    <a:pt x="688" y="356"/>
                  </a:lnTo>
                  <a:lnTo>
                    <a:pt x="713" y="356"/>
                  </a:lnTo>
                  <a:lnTo>
                    <a:pt x="723" y="366"/>
                  </a:lnTo>
                  <a:lnTo>
                    <a:pt x="733" y="351"/>
                  </a:lnTo>
                  <a:lnTo>
                    <a:pt x="758" y="344"/>
                  </a:lnTo>
                  <a:lnTo>
                    <a:pt x="748" y="329"/>
                  </a:lnTo>
                  <a:lnTo>
                    <a:pt x="768" y="329"/>
                  </a:lnTo>
                  <a:lnTo>
                    <a:pt x="788" y="311"/>
                  </a:lnTo>
                  <a:lnTo>
                    <a:pt x="793" y="294"/>
                  </a:lnTo>
                  <a:lnTo>
                    <a:pt x="765" y="279"/>
                  </a:lnTo>
                  <a:lnTo>
                    <a:pt x="763" y="259"/>
                  </a:lnTo>
                  <a:lnTo>
                    <a:pt x="775" y="244"/>
                  </a:lnTo>
                  <a:lnTo>
                    <a:pt x="790" y="239"/>
                  </a:lnTo>
                  <a:lnTo>
                    <a:pt x="788" y="212"/>
                  </a:lnTo>
                  <a:lnTo>
                    <a:pt x="736" y="207"/>
                  </a:lnTo>
                  <a:lnTo>
                    <a:pt x="748" y="177"/>
                  </a:lnTo>
                  <a:lnTo>
                    <a:pt x="775" y="157"/>
                  </a:lnTo>
                  <a:lnTo>
                    <a:pt x="790" y="145"/>
                  </a:lnTo>
                  <a:lnTo>
                    <a:pt x="760" y="130"/>
                  </a:lnTo>
                  <a:lnTo>
                    <a:pt x="780" y="120"/>
                  </a:lnTo>
                  <a:lnTo>
                    <a:pt x="800" y="117"/>
                  </a:lnTo>
                  <a:lnTo>
                    <a:pt x="843" y="105"/>
                  </a:lnTo>
                  <a:lnTo>
                    <a:pt x="882" y="78"/>
                  </a:lnTo>
                  <a:lnTo>
                    <a:pt x="805" y="70"/>
                  </a:lnTo>
                  <a:lnTo>
                    <a:pt x="765" y="83"/>
                  </a:lnTo>
                  <a:lnTo>
                    <a:pt x="711" y="112"/>
                  </a:lnTo>
                  <a:lnTo>
                    <a:pt x="738" y="63"/>
                  </a:lnTo>
                  <a:lnTo>
                    <a:pt x="676" y="83"/>
                  </a:lnTo>
                  <a:lnTo>
                    <a:pt x="681" y="55"/>
                  </a:lnTo>
                  <a:lnTo>
                    <a:pt x="579" y="65"/>
                  </a:lnTo>
                  <a:lnTo>
                    <a:pt x="636" y="45"/>
                  </a:lnTo>
                  <a:lnTo>
                    <a:pt x="711" y="35"/>
                  </a:lnTo>
                  <a:lnTo>
                    <a:pt x="736" y="28"/>
                  </a:lnTo>
                  <a:lnTo>
                    <a:pt x="686" y="10"/>
                  </a:lnTo>
                  <a:lnTo>
                    <a:pt x="579" y="25"/>
                  </a:lnTo>
                  <a:lnTo>
                    <a:pt x="636" y="0"/>
                  </a:lnTo>
                  <a:lnTo>
                    <a:pt x="507" y="3"/>
                  </a:lnTo>
                  <a:lnTo>
                    <a:pt x="470" y="38"/>
                  </a:lnTo>
                  <a:lnTo>
                    <a:pt x="420" y="18"/>
                  </a:lnTo>
                  <a:lnTo>
                    <a:pt x="420" y="43"/>
                  </a:lnTo>
                  <a:lnTo>
                    <a:pt x="410" y="70"/>
                  </a:lnTo>
                  <a:lnTo>
                    <a:pt x="390" y="50"/>
                  </a:lnTo>
                  <a:lnTo>
                    <a:pt x="373" y="50"/>
                  </a:lnTo>
                  <a:lnTo>
                    <a:pt x="348" y="50"/>
                  </a:lnTo>
                  <a:lnTo>
                    <a:pt x="348" y="80"/>
                  </a:lnTo>
                  <a:lnTo>
                    <a:pt x="320" y="80"/>
                  </a:lnTo>
                  <a:lnTo>
                    <a:pt x="318" y="55"/>
                  </a:lnTo>
                  <a:lnTo>
                    <a:pt x="288" y="53"/>
                  </a:lnTo>
                  <a:lnTo>
                    <a:pt x="296" y="68"/>
                  </a:lnTo>
                  <a:lnTo>
                    <a:pt x="246" y="50"/>
                  </a:lnTo>
                  <a:lnTo>
                    <a:pt x="226" y="63"/>
                  </a:lnTo>
                  <a:lnTo>
                    <a:pt x="206" y="63"/>
                  </a:lnTo>
                  <a:lnTo>
                    <a:pt x="186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9" name="Freeform 137"/>
            <p:cNvSpPr>
              <a:spLocks/>
            </p:cNvSpPr>
            <p:nvPr/>
          </p:nvSpPr>
          <p:spPr bwMode="auto">
            <a:xfrm>
              <a:off x="4057395" y="1983203"/>
              <a:ext cx="38860" cy="50373"/>
            </a:xfrm>
            <a:custGeom>
              <a:avLst/>
              <a:gdLst>
                <a:gd name="T0" fmla="*/ 10 w 27"/>
                <a:gd name="T1" fmla="*/ 0 h 35"/>
                <a:gd name="T2" fmla="*/ 0 w 27"/>
                <a:gd name="T3" fmla="*/ 35 h 35"/>
                <a:gd name="T4" fmla="*/ 27 w 27"/>
                <a:gd name="T5" fmla="*/ 12 h 35"/>
                <a:gd name="T6" fmla="*/ 10 w 27"/>
                <a:gd name="T7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5">
                  <a:moveTo>
                    <a:pt x="10" y="0"/>
                  </a:moveTo>
                  <a:lnTo>
                    <a:pt x="0" y="35"/>
                  </a:lnTo>
                  <a:lnTo>
                    <a:pt x="27" y="1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0" name="Freeform 138"/>
            <p:cNvSpPr>
              <a:spLocks/>
            </p:cNvSpPr>
            <p:nvPr/>
          </p:nvSpPr>
          <p:spPr bwMode="auto">
            <a:xfrm>
              <a:off x="7091304" y="4165084"/>
              <a:ext cx="225960" cy="172708"/>
            </a:xfrm>
            <a:custGeom>
              <a:avLst/>
              <a:gdLst>
                <a:gd name="T0" fmla="*/ 115 w 157"/>
                <a:gd name="T1" fmla="*/ 55 h 120"/>
                <a:gd name="T2" fmla="*/ 102 w 157"/>
                <a:gd name="T3" fmla="*/ 53 h 120"/>
                <a:gd name="T4" fmla="*/ 92 w 157"/>
                <a:gd name="T5" fmla="*/ 65 h 120"/>
                <a:gd name="T6" fmla="*/ 82 w 157"/>
                <a:gd name="T7" fmla="*/ 85 h 120"/>
                <a:gd name="T8" fmla="*/ 77 w 157"/>
                <a:gd name="T9" fmla="*/ 102 h 120"/>
                <a:gd name="T10" fmla="*/ 75 w 157"/>
                <a:gd name="T11" fmla="*/ 117 h 120"/>
                <a:gd name="T12" fmla="*/ 52 w 157"/>
                <a:gd name="T13" fmla="*/ 120 h 120"/>
                <a:gd name="T14" fmla="*/ 40 w 157"/>
                <a:gd name="T15" fmla="*/ 110 h 120"/>
                <a:gd name="T16" fmla="*/ 33 w 157"/>
                <a:gd name="T17" fmla="*/ 120 h 120"/>
                <a:gd name="T18" fmla="*/ 8 w 157"/>
                <a:gd name="T19" fmla="*/ 117 h 120"/>
                <a:gd name="T20" fmla="*/ 0 w 157"/>
                <a:gd name="T21" fmla="*/ 110 h 120"/>
                <a:gd name="T22" fmla="*/ 8 w 157"/>
                <a:gd name="T23" fmla="*/ 100 h 120"/>
                <a:gd name="T24" fmla="*/ 10 w 157"/>
                <a:gd name="T25" fmla="*/ 82 h 120"/>
                <a:gd name="T26" fmla="*/ 33 w 157"/>
                <a:gd name="T27" fmla="*/ 85 h 120"/>
                <a:gd name="T28" fmla="*/ 42 w 157"/>
                <a:gd name="T29" fmla="*/ 65 h 120"/>
                <a:gd name="T30" fmla="*/ 60 w 157"/>
                <a:gd name="T31" fmla="*/ 53 h 120"/>
                <a:gd name="T32" fmla="*/ 75 w 157"/>
                <a:gd name="T33" fmla="*/ 45 h 120"/>
                <a:gd name="T34" fmla="*/ 80 w 157"/>
                <a:gd name="T35" fmla="*/ 25 h 120"/>
                <a:gd name="T36" fmla="*/ 92 w 157"/>
                <a:gd name="T37" fmla="*/ 18 h 120"/>
                <a:gd name="T38" fmla="*/ 95 w 157"/>
                <a:gd name="T39" fmla="*/ 0 h 120"/>
                <a:gd name="T40" fmla="*/ 117 w 157"/>
                <a:gd name="T41" fmla="*/ 13 h 120"/>
                <a:gd name="T42" fmla="*/ 129 w 157"/>
                <a:gd name="T43" fmla="*/ 15 h 120"/>
                <a:gd name="T44" fmla="*/ 152 w 157"/>
                <a:gd name="T45" fmla="*/ 20 h 120"/>
                <a:gd name="T46" fmla="*/ 157 w 157"/>
                <a:gd name="T47" fmla="*/ 40 h 120"/>
                <a:gd name="T48" fmla="*/ 139 w 157"/>
                <a:gd name="T49" fmla="*/ 53 h 120"/>
                <a:gd name="T50" fmla="*/ 125 w 157"/>
                <a:gd name="T51" fmla="*/ 65 h 120"/>
                <a:gd name="T52" fmla="*/ 115 w 157"/>
                <a:gd name="T53" fmla="*/ 55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57" h="120">
                  <a:moveTo>
                    <a:pt x="115" y="55"/>
                  </a:moveTo>
                  <a:lnTo>
                    <a:pt x="102" y="53"/>
                  </a:lnTo>
                  <a:lnTo>
                    <a:pt x="92" y="65"/>
                  </a:lnTo>
                  <a:lnTo>
                    <a:pt x="82" y="85"/>
                  </a:lnTo>
                  <a:lnTo>
                    <a:pt x="77" y="102"/>
                  </a:lnTo>
                  <a:lnTo>
                    <a:pt x="75" y="117"/>
                  </a:lnTo>
                  <a:lnTo>
                    <a:pt x="52" y="120"/>
                  </a:lnTo>
                  <a:lnTo>
                    <a:pt x="40" y="110"/>
                  </a:lnTo>
                  <a:lnTo>
                    <a:pt x="33" y="120"/>
                  </a:lnTo>
                  <a:lnTo>
                    <a:pt x="8" y="117"/>
                  </a:lnTo>
                  <a:lnTo>
                    <a:pt x="0" y="110"/>
                  </a:lnTo>
                  <a:lnTo>
                    <a:pt x="8" y="100"/>
                  </a:lnTo>
                  <a:lnTo>
                    <a:pt x="10" y="82"/>
                  </a:lnTo>
                  <a:lnTo>
                    <a:pt x="33" y="85"/>
                  </a:lnTo>
                  <a:lnTo>
                    <a:pt x="42" y="65"/>
                  </a:lnTo>
                  <a:lnTo>
                    <a:pt x="60" y="53"/>
                  </a:lnTo>
                  <a:lnTo>
                    <a:pt x="75" y="45"/>
                  </a:lnTo>
                  <a:lnTo>
                    <a:pt x="80" y="25"/>
                  </a:lnTo>
                  <a:lnTo>
                    <a:pt x="92" y="18"/>
                  </a:lnTo>
                  <a:lnTo>
                    <a:pt x="95" y="0"/>
                  </a:lnTo>
                  <a:lnTo>
                    <a:pt x="117" y="13"/>
                  </a:lnTo>
                  <a:lnTo>
                    <a:pt x="129" y="15"/>
                  </a:lnTo>
                  <a:lnTo>
                    <a:pt x="152" y="20"/>
                  </a:lnTo>
                  <a:lnTo>
                    <a:pt x="157" y="40"/>
                  </a:lnTo>
                  <a:lnTo>
                    <a:pt x="139" y="53"/>
                  </a:lnTo>
                  <a:lnTo>
                    <a:pt x="125" y="65"/>
                  </a:lnTo>
                  <a:lnTo>
                    <a:pt x="115" y="5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1" name="Freeform 139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2 w 30"/>
                <a:gd name="T1" fmla="*/ 2 h 15"/>
                <a:gd name="T2" fmla="*/ 30 w 30"/>
                <a:gd name="T3" fmla="*/ 0 h 15"/>
                <a:gd name="T4" fmla="*/ 25 w 30"/>
                <a:gd name="T5" fmla="*/ 12 h 15"/>
                <a:gd name="T6" fmla="*/ 5 w 30"/>
                <a:gd name="T7" fmla="*/ 15 h 15"/>
                <a:gd name="T8" fmla="*/ 0 w 30"/>
                <a:gd name="T9" fmla="*/ 10 h 15"/>
                <a:gd name="T10" fmla="*/ 2 w 30"/>
                <a:gd name="T11" fmla="*/ 2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2" y="2"/>
                  </a:moveTo>
                  <a:lnTo>
                    <a:pt x="30" y="0"/>
                  </a:lnTo>
                  <a:lnTo>
                    <a:pt x="25" y="12"/>
                  </a:lnTo>
                  <a:lnTo>
                    <a:pt x="5" y="15"/>
                  </a:lnTo>
                  <a:lnTo>
                    <a:pt x="0" y="10"/>
                  </a:lnTo>
                  <a:lnTo>
                    <a:pt x="2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2" name="Freeform 140"/>
            <p:cNvSpPr>
              <a:spLocks/>
            </p:cNvSpPr>
            <p:nvPr/>
          </p:nvSpPr>
          <p:spPr bwMode="auto">
            <a:xfrm>
              <a:off x="6068008" y="2702821"/>
              <a:ext cx="1446431" cy="1065034"/>
            </a:xfrm>
            <a:custGeom>
              <a:avLst/>
              <a:gdLst>
                <a:gd name="T0" fmla="*/ 766 w 1005"/>
                <a:gd name="T1" fmla="*/ 355 h 740"/>
                <a:gd name="T2" fmla="*/ 818 w 1005"/>
                <a:gd name="T3" fmla="*/ 358 h 740"/>
                <a:gd name="T4" fmla="*/ 826 w 1005"/>
                <a:gd name="T5" fmla="*/ 392 h 740"/>
                <a:gd name="T6" fmla="*/ 831 w 1005"/>
                <a:gd name="T7" fmla="*/ 465 h 740"/>
                <a:gd name="T8" fmla="*/ 858 w 1005"/>
                <a:gd name="T9" fmla="*/ 529 h 740"/>
                <a:gd name="T10" fmla="*/ 850 w 1005"/>
                <a:gd name="T11" fmla="*/ 599 h 740"/>
                <a:gd name="T12" fmla="*/ 818 w 1005"/>
                <a:gd name="T13" fmla="*/ 651 h 740"/>
                <a:gd name="T14" fmla="*/ 791 w 1005"/>
                <a:gd name="T15" fmla="*/ 676 h 740"/>
                <a:gd name="T16" fmla="*/ 734 w 1005"/>
                <a:gd name="T17" fmla="*/ 698 h 740"/>
                <a:gd name="T18" fmla="*/ 666 w 1005"/>
                <a:gd name="T19" fmla="*/ 740 h 740"/>
                <a:gd name="T20" fmla="*/ 639 w 1005"/>
                <a:gd name="T21" fmla="*/ 731 h 740"/>
                <a:gd name="T22" fmla="*/ 567 w 1005"/>
                <a:gd name="T23" fmla="*/ 683 h 740"/>
                <a:gd name="T24" fmla="*/ 527 w 1005"/>
                <a:gd name="T25" fmla="*/ 723 h 740"/>
                <a:gd name="T26" fmla="*/ 483 w 1005"/>
                <a:gd name="T27" fmla="*/ 711 h 740"/>
                <a:gd name="T28" fmla="*/ 448 w 1005"/>
                <a:gd name="T29" fmla="*/ 658 h 740"/>
                <a:gd name="T30" fmla="*/ 470 w 1005"/>
                <a:gd name="T31" fmla="*/ 619 h 740"/>
                <a:gd name="T32" fmla="*/ 438 w 1005"/>
                <a:gd name="T33" fmla="*/ 591 h 740"/>
                <a:gd name="T34" fmla="*/ 378 w 1005"/>
                <a:gd name="T35" fmla="*/ 564 h 740"/>
                <a:gd name="T36" fmla="*/ 318 w 1005"/>
                <a:gd name="T37" fmla="*/ 589 h 740"/>
                <a:gd name="T38" fmla="*/ 271 w 1005"/>
                <a:gd name="T39" fmla="*/ 591 h 740"/>
                <a:gd name="T40" fmla="*/ 202 w 1005"/>
                <a:gd name="T41" fmla="*/ 571 h 740"/>
                <a:gd name="T42" fmla="*/ 174 w 1005"/>
                <a:gd name="T43" fmla="*/ 554 h 740"/>
                <a:gd name="T44" fmla="*/ 125 w 1005"/>
                <a:gd name="T45" fmla="*/ 524 h 740"/>
                <a:gd name="T46" fmla="*/ 85 w 1005"/>
                <a:gd name="T47" fmla="*/ 474 h 740"/>
                <a:gd name="T48" fmla="*/ 23 w 1005"/>
                <a:gd name="T49" fmla="*/ 477 h 740"/>
                <a:gd name="T50" fmla="*/ 18 w 1005"/>
                <a:gd name="T51" fmla="*/ 422 h 740"/>
                <a:gd name="T52" fmla="*/ 20 w 1005"/>
                <a:gd name="T53" fmla="*/ 380 h 740"/>
                <a:gd name="T54" fmla="*/ 18 w 1005"/>
                <a:gd name="T55" fmla="*/ 330 h 740"/>
                <a:gd name="T56" fmla="*/ 50 w 1005"/>
                <a:gd name="T57" fmla="*/ 328 h 740"/>
                <a:gd name="T58" fmla="*/ 102 w 1005"/>
                <a:gd name="T59" fmla="*/ 303 h 740"/>
                <a:gd name="T60" fmla="*/ 95 w 1005"/>
                <a:gd name="T61" fmla="*/ 236 h 740"/>
                <a:gd name="T62" fmla="*/ 137 w 1005"/>
                <a:gd name="T63" fmla="*/ 199 h 740"/>
                <a:gd name="T64" fmla="*/ 187 w 1005"/>
                <a:gd name="T65" fmla="*/ 154 h 740"/>
                <a:gd name="T66" fmla="*/ 214 w 1005"/>
                <a:gd name="T67" fmla="*/ 129 h 740"/>
                <a:gd name="T68" fmla="*/ 259 w 1005"/>
                <a:gd name="T69" fmla="*/ 149 h 740"/>
                <a:gd name="T70" fmla="*/ 318 w 1005"/>
                <a:gd name="T71" fmla="*/ 206 h 740"/>
                <a:gd name="T72" fmla="*/ 368 w 1005"/>
                <a:gd name="T73" fmla="*/ 243 h 740"/>
                <a:gd name="T74" fmla="*/ 500 w 1005"/>
                <a:gd name="T75" fmla="*/ 268 h 740"/>
                <a:gd name="T76" fmla="*/ 567 w 1005"/>
                <a:gd name="T77" fmla="*/ 263 h 740"/>
                <a:gd name="T78" fmla="*/ 634 w 1005"/>
                <a:gd name="T79" fmla="*/ 223 h 740"/>
                <a:gd name="T80" fmla="*/ 674 w 1005"/>
                <a:gd name="T81" fmla="*/ 194 h 740"/>
                <a:gd name="T82" fmla="*/ 746 w 1005"/>
                <a:gd name="T83" fmla="*/ 151 h 740"/>
                <a:gd name="T84" fmla="*/ 689 w 1005"/>
                <a:gd name="T85" fmla="*/ 141 h 740"/>
                <a:gd name="T86" fmla="*/ 686 w 1005"/>
                <a:gd name="T87" fmla="*/ 79 h 740"/>
                <a:gd name="T88" fmla="*/ 729 w 1005"/>
                <a:gd name="T89" fmla="*/ 59 h 740"/>
                <a:gd name="T90" fmla="*/ 739 w 1005"/>
                <a:gd name="T91" fmla="*/ 0 h 740"/>
                <a:gd name="T92" fmla="*/ 850 w 1005"/>
                <a:gd name="T93" fmla="*/ 34 h 740"/>
                <a:gd name="T94" fmla="*/ 880 w 1005"/>
                <a:gd name="T95" fmla="*/ 89 h 740"/>
                <a:gd name="T96" fmla="*/ 940 w 1005"/>
                <a:gd name="T97" fmla="*/ 119 h 740"/>
                <a:gd name="T98" fmla="*/ 995 w 1005"/>
                <a:gd name="T99" fmla="*/ 124 h 740"/>
                <a:gd name="T100" fmla="*/ 992 w 1005"/>
                <a:gd name="T101" fmla="*/ 159 h 740"/>
                <a:gd name="T102" fmla="*/ 965 w 1005"/>
                <a:gd name="T103" fmla="*/ 218 h 740"/>
                <a:gd name="T104" fmla="*/ 965 w 1005"/>
                <a:gd name="T105" fmla="*/ 256 h 740"/>
                <a:gd name="T106" fmla="*/ 913 w 1005"/>
                <a:gd name="T107" fmla="*/ 283 h 740"/>
                <a:gd name="T108" fmla="*/ 870 w 1005"/>
                <a:gd name="T109" fmla="*/ 315 h 740"/>
                <a:gd name="T110" fmla="*/ 823 w 1005"/>
                <a:gd name="T111" fmla="*/ 315 h 740"/>
                <a:gd name="T112" fmla="*/ 798 w 1005"/>
                <a:gd name="T113" fmla="*/ 305 h 7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5" h="740">
                  <a:moveTo>
                    <a:pt x="791" y="318"/>
                  </a:moveTo>
                  <a:lnTo>
                    <a:pt x="766" y="338"/>
                  </a:lnTo>
                  <a:lnTo>
                    <a:pt x="766" y="355"/>
                  </a:lnTo>
                  <a:lnTo>
                    <a:pt x="786" y="370"/>
                  </a:lnTo>
                  <a:lnTo>
                    <a:pt x="803" y="373"/>
                  </a:lnTo>
                  <a:lnTo>
                    <a:pt x="818" y="358"/>
                  </a:lnTo>
                  <a:lnTo>
                    <a:pt x="843" y="363"/>
                  </a:lnTo>
                  <a:lnTo>
                    <a:pt x="850" y="385"/>
                  </a:lnTo>
                  <a:lnTo>
                    <a:pt x="826" y="392"/>
                  </a:lnTo>
                  <a:lnTo>
                    <a:pt x="806" y="410"/>
                  </a:lnTo>
                  <a:lnTo>
                    <a:pt x="816" y="435"/>
                  </a:lnTo>
                  <a:lnTo>
                    <a:pt x="831" y="465"/>
                  </a:lnTo>
                  <a:lnTo>
                    <a:pt x="853" y="487"/>
                  </a:lnTo>
                  <a:lnTo>
                    <a:pt x="853" y="507"/>
                  </a:lnTo>
                  <a:lnTo>
                    <a:pt x="858" y="529"/>
                  </a:lnTo>
                  <a:lnTo>
                    <a:pt x="865" y="579"/>
                  </a:lnTo>
                  <a:lnTo>
                    <a:pt x="855" y="581"/>
                  </a:lnTo>
                  <a:lnTo>
                    <a:pt x="850" y="599"/>
                  </a:lnTo>
                  <a:lnTo>
                    <a:pt x="833" y="614"/>
                  </a:lnTo>
                  <a:lnTo>
                    <a:pt x="836" y="639"/>
                  </a:lnTo>
                  <a:lnTo>
                    <a:pt x="818" y="651"/>
                  </a:lnTo>
                  <a:lnTo>
                    <a:pt x="806" y="651"/>
                  </a:lnTo>
                  <a:lnTo>
                    <a:pt x="803" y="671"/>
                  </a:lnTo>
                  <a:lnTo>
                    <a:pt x="791" y="676"/>
                  </a:lnTo>
                  <a:lnTo>
                    <a:pt x="786" y="691"/>
                  </a:lnTo>
                  <a:lnTo>
                    <a:pt x="756" y="701"/>
                  </a:lnTo>
                  <a:lnTo>
                    <a:pt x="734" y="698"/>
                  </a:lnTo>
                  <a:lnTo>
                    <a:pt x="706" y="708"/>
                  </a:lnTo>
                  <a:lnTo>
                    <a:pt x="676" y="728"/>
                  </a:lnTo>
                  <a:lnTo>
                    <a:pt x="666" y="740"/>
                  </a:lnTo>
                  <a:lnTo>
                    <a:pt x="659" y="716"/>
                  </a:lnTo>
                  <a:lnTo>
                    <a:pt x="647" y="708"/>
                  </a:lnTo>
                  <a:lnTo>
                    <a:pt x="639" y="731"/>
                  </a:lnTo>
                  <a:lnTo>
                    <a:pt x="612" y="691"/>
                  </a:lnTo>
                  <a:lnTo>
                    <a:pt x="584" y="683"/>
                  </a:lnTo>
                  <a:lnTo>
                    <a:pt x="567" y="683"/>
                  </a:lnTo>
                  <a:lnTo>
                    <a:pt x="540" y="698"/>
                  </a:lnTo>
                  <a:lnTo>
                    <a:pt x="525" y="706"/>
                  </a:lnTo>
                  <a:lnTo>
                    <a:pt x="527" y="723"/>
                  </a:lnTo>
                  <a:lnTo>
                    <a:pt x="505" y="726"/>
                  </a:lnTo>
                  <a:lnTo>
                    <a:pt x="500" y="713"/>
                  </a:lnTo>
                  <a:lnTo>
                    <a:pt x="483" y="711"/>
                  </a:lnTo>
                  <a:lnTo>
                    <a:pt x="478" y="681"/>
                  </a:lnTo>
                  <a:lnTo>
                    <a:pt x="468" y="663"/>
                  </a:lnTo>
                  <a:lnTo>
                    <a:pt x="448" y="658"/>
                  </a:lnTo>
                  <a:lnTo>
                    <a:pt x="450" y="643"/>
                  </a:lnTo>
                  <a:lnTo>
                    <a:pt x="463" y="636"/>
                  </a:lnTo>
                  <a:lnTo>
                    <a:pt x="470" y="619"/>
                  </a:lnTo>
                  <a:lnTo>
                    <a:pt x="463" y="599"/>
                  </a:lnTo>
                  <a:lnTo>
                    <a:pt x="458" y="589"/>
                  </a:lnTo>
                  <a:lnTo>
                    <a:pt x="438" y="591"/>
                  </a:lnTo>
                  <a:lnTo>
                    <a:pt x="425" y="574"/>
                  </a:lnTo>
                  <a:lnTo>
                    <a:pt x="405" y="564"/>
                  </a:lnTo>
                  <a:lnTo>
                    <a:pt x="378" y="564"/>
                  </a:lnTo>
                  <a:lnTo>
                    <a:pt x="356" y="574"/>
                  </a:lnTo>
                  <a:lnTo>
                    <a:pt x="346" y="589"/>
                  </a:lnTo>
                  <a:lnTo>
                    <a:pt x="318" y="589"/>
                  </a:lnTo>
                  <a:lnTo>
                    <a:pt x="299" y="579"/>
                  </a:lnTo>
                  <a:lnTo>
                    <a:pt x="289" y="596"/>
                  </a:lnTo>
                  <a:lnTo>
                    <a:pt x="271" y="591"/>
                  </a:lnTo>
                  <a:lnTo>
                    <a:pt x="231" y="589"/>
                  </a:lnTo>
                  <a:lnTo>
                    <a:pt x="214" y="579"/>
                  </a:lnTo>
                  <a:lnTo>
                    <a:pt x="202" y="571"/>
                  </a:lnTo>
                  <a:lnTo>
                    <a:pt x="199" y="552"/>
                  </a:lnTo>
                  <a:lnTo>
                    <a:pt x="194" y="564"/>
                  </a:lnTo>
                  <a:lnTo>
                    <a:pt x="174" y="554"/>
                  </a:lnTo>
                  <a:lnTo>
                    <a:pt x="159" y="539"/>
                  </a:lnTo>
                  <a:lnTo>
                    <a:pt x="139" y="539"/>
                  </a:lnTo>
                  <a:lnTo>
                    <a:pt x="125" y="524"/>
                  </a:lnTo>
                  <a:lnTo>
                    <a:pt x="97" y="519"/>
                  </a:lnTo>
                  <a:lnTo>
                    <a:pt x="97" y="487"/>
                  </a:lnTo>
                  <a:lnTo>
                    <a:pt x="85" y="474"/>
                  </a:lnTo>
                  <a:lnTo>
                    <a:pt x="65" y="474"/>
                  </a:lnTo>
                  <a:lnTo>
                    <a:pt x="40" y="489"/>
                  </a:lnTo>
                  <a:lnTo>
                    <a:pt x="23" y="477"/>
                  </a:lnTo>
                  <a:lnTo>
                    <a:pt x="25" y="452"/>
                  </a:lnTo>
                  <a:lnTo>
                    <a:pt x="15" y="440"/>
                  </a:lnTo>
                  <a:lnTo>
                    <a:pt x="18" y="422"/>
                  </a:lnTo>
                  <a:lnTo>
                    <a:pt x="23" y="395"/>
                  </a:lnTo>
                  <a:lnTo>
                    <a:pt x="23" y="378"/>
                  </a:lnTo>
                  <a:lnTo>
                    <a:pt x="20" y="380"/>
                  </a:lnTo>
                  <a:lnTo>
                    <a:pt x="0" y="368"/>
                  </a:lnTo>
                  <a:lnTo>
                    <a:pt x="3" y="340"/>
                  </a:lnTo>
                  <a:lnTo>
                    <a:pt x="18" y="330"/>
                  </a:lnTo>
                  <a:lnTo>
                    <a:pt x="45" y="348"/>
                  </a:lnTo>
                  <a:lnTo>
                    <a:pt x="52" y="338"/>
                  </a:lnTo>
                  <a:lnTo>
                    <a:pt x="50" y="328"/>
                  </a:lnTo>
                  <a:lnTo>
                    <a:pt x="80" y="320"/>
                  </a:lnTo>
                  <a:lnTo>
                    <a:pt x="87" y="310"/>
                  </a:lnTo>
                  <a:lnTo>
                    <a:pt x="102" y="303"/>
                  </a:lnTo>
                  <a:lnTo>
                    <a:pt x="102" y="256"/>
                  </a:lnTo>
                  <a:lnTo>
                    <a:pt x="90" y="248"/>
                  </a:lnTo>
                  <a:lnTo>
                    <a:pt x="95" y="236"/>
                  </a:lnTo>
                  <a:lnTo>
                    <a:pt x="130" y="231"/>
                  </a:lnTo>
                  <a:lnTo>
                    <a:pt x="137" y="223"/>
                  </a:lnTo>
                  <a:lnTo>
                    <a:pt x="137" y="199"/>
                  </a:lnTo>
                  <a:lnTo>
                    <a:pt x="157" y="189"/>
                  </a:lnTo>
                  <a:lnTo>
                    <a:pt x="179" y="194"/>
                  </a:lnTo>
                  <a:lnTo>
                    <a:pt x="187" y="154"/>
                  </a:lnTo>
                  <a:lnTo>
                    <a:pt x="194" y="146"/>
                  </a:lnTo>
                  <a:lnTo>
                    <a:pt x="209" y="141"/>
                  </a:lnTo>
                  <a:lnTo>
                    <a:pt x="214" y="129"/>
                  </a:lnTo>
                  <a:lnTo>
                    <a:pt x="224" y="121"/>
                  </a:lnTo>
                  <a:lnTo>
                    <a:pt x="234" y="134"/>
                  </a:lnTo>
                  <a:lnTo>
                    <a:pt x="259" y="149"/>
                  </a:lnTo>
                  <a:lnTo>
                    <a:pt x="266" y="169"/>
                  </a:lnTo>
                  <a:lnTo>
                    <a:pt x="279" y="196"/>
                  </a:lnTo>
                  <a:lnTo>
                    <a:pt x="318" y="206"/>
                  </a:lnTo>
                  <a:lnTo>
                    <a:pt x="336" y="208"/>
                  </a:lnTo>
                  <a:lnTo>
                    <a:pt x="356" y="221"/>
                  </a:lnTo>
                  <a:lnTo>
                    <a:pt x="368" y="243"/>
                  </a:lnTo>
                  <a:lnTo>
                    <a:pt x="381" y="253"/>
                  </a:lnTo>
                  <a:lnTo>
                    <a:pt x="480" y="261"/>
                  </a:lnTo>
                  <a:lnTo>
                    <a:pt x="500" y="268"/>
                  </a:lnTo>
                  <a:lnTo>
                    <a:pt x="527" y="283"/>
                  </a:lnTo>
                  <a:lnTo>
                    <a:pt x="552" y="273"/>
                  </a:lnTo>
                  <a:lnTo>
                    <a:pt x="567" y="263"/>
                  </a:lnTo>
                  <a:lnTo>
                    <a:pt x="602" y="268"/>
                  </a:lnTo>
                  <a:lnTo>
                    <a:pt x="629" y="246"/>
                  </a:lnTo>
                  <a:lnTo>
                    <a:pt x="634" y="223"/>
                  </a:lnTo>
                  <a:lnTo>
                    <a:pt x="632" y="204"/>
                  </a:lnTo>
                  <a:lnTo>
                    <a:pt x="657" y="211"/>
                  </a:lnTo>
                  <a:lnTo>
                    <a:pt x="674" y="194"/>
                  </a:lnTo>
                  <a:lnTo>
                    <a:pt x="689" y="181"/>
                  </a:lnTo>
                  <a:lnTo>
                    <a:pt x="714" y="166"/>
                  </a:lnTo>
                  <a:lnTo>
                    <a:pt x="746" y="151"/>
                  </a:lnTo>
                  <a:lnTo>
                    <a:pt x="731" y="134"/>
                  </a:lnTo>
                  <a:lnTo>
                    <a:pt x="704" y="136"/>
                  </a:lnTo>
                  <a:lnTo>
                    <a:pt x="689" y="141"/>
                  </a:lnTo>
                  <a:lnTo>
                    <a:pt x="684" y="134"/>
                  </a:lnTo>
                  <a:lnTo>
                    <a:pt x="681" y="94"/>
                  </a:lnTo>
                  <a:lnTo>
                    <a:pt x="686" y="79"/>
                  </a:lnTo>
                  <a:lnTo>
                    <a:pt x="701" y="94"/>
                  </a:lnTo>
                  <a:lnTo>
                    <a:pt x="724" y="94"/>
                  </a:lnTo>
                  <a:lnTo>
                    <a:pt x="729" y="59"/>
                  </a:lnTo>
                  <a:lnTo>
                    <a:pt x="741" y="47"/>
                  </a:lnTo>
                  <a:lnTo>
                    <a:pt x="729" y="17"/>
                  </a:lnTo>
                  <a:lnTo>
                    <a:pt x="739" y="0"/>
                  </a:lnTo>
                  <a:lnTo>
                    <a:pt x="816" y="0"/>
                  </a:lnTo>
                  <a:lnTo>
                    <a:pt x="833" y="20"/>
                  </a:lnTo>
                  <a:lnTo>
                    <a:pt x="850" y="34"/>
                  </a:lnTo>
                  <a:lnTo>
                    <a:pt x="863" y="52"/>
                  </a:lnTo>
                  <a:lnTo>
                    <a:pt x="865" y="72"/>
                  </a:lnTo>
                  <a:lnTo>
                    <a:pt x="880" y="89"/>
                  </a:lnTo>
                  <a:lnTo>
                    <a:pt x="910" y="97"/>
                  </a:lnTo>
                  <a:lnTo>
                    <a:pt x="925" y="109"/>
                  </a:lnTo>
                  <a:lnTo>
                    <a:pt x="940" y="119"/>
                  </a:lnTo>
                  <a:lnTo>
                    <a:pt x="947" y="129"/>
                  </a:lnTo>
                  <a:lnTo>
                    <a:pt x="965" y="131"/>
                  </a:lnTo>
                  <a:lnTo>
                    <a:pt x="995" y="124"/>
                  </a:lnTo>
                  <a:lnTo>
                    <a:pt x="1002" y="134"/>
                  </a:lnTo>
                  <a:lnTo>
                    <a:pt x="1005" y="149"/>
                  </a:lnTo>
                  <a:lnTo>
                    <a:pt x="992" y="159"/>
                  </a:lnTo>
                  <a:lnTo>
                    <a:pt x="990" y="204"/>
                  </a:lnTo>
                  <a:lnTo>
                    <a:pt x="975" y="201"/>
                  </a:lnTo>
                  <a:lnTo>
                    <a:pt x="965" y="218"/>
                  </a:lnTo>
                  <a:lnTo>
                    <a:pt x="967" y="238"/>
                  </a:lnTo>
                  <a:lnTo>
                    <a:pt x="982" y="243"/>
                  </a:lnTo>
                  <a:lnTo>
                    <a:pt x="965" y="256"/>
                  </a:lnTo>
                  <a:lnTo>
                    <a:pt x="947" y="261"/>
                  </a:lnTo>
                  <a:lnTo>
                    <a:pt x="930" y="283"/>
                  </a:lnTo>
                  <a:lnTo>
                    <a:pt x="913" y="283"/>
                  </a:lnTo>
                  <a:lnTo>
                    <a:pt x="898" y="276"/>
                  </a:lnTo>
                  <a:lnTo>
                    <a:pt x="888" y="305"/>
                  </a:lnTo>
                  <a:lnTo>
                    <a:pt x="870" y="315"/>
                  </a:lnTo>
                  <a:lnTo>
                    <a:pt x="850" y="330"/>
                  </a:lnTo>
                  <a:lnTo>
                    <a:pt x="823" y="338"/>
                  </a:lnTo>
                  <a:lnTo>
                    <a:pt x="823" y="315"/>
                  </a:lnTo>
                  <a:lnTo>
                    <a:pt x="818" y="298"/>
                  </a:lnTo>
                  <a:lnTo>
                    <a:pt x="811" y="295"/>
                  </a:lnTo>
                  <a:lnTo>
                    <a:pt x="798" y="305"/>
                  </a:lnTo>
                  <a:lnTo>
                    <a:pt x="791" y="3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3" name="Freeform 141"/>
            <p:cNvSpPr>
              <a:spLocks/>
            </p:cNvSpPr>
            <p:nvPr/>
          </p:nvSpPr>
          <p:spPr bwMode="auto">
            <a:xfrm>
              <a:off x="7320142" y="3078461"/>
              <a:ext cx="122335" cy="156877"/>
            </a:xfrm>
            <a:custGeom>
              <a:avLst/>
              <a:gdLst>
                <a:gd name="T0" fmla="*/ 85 w 85"/>
                <a:gd name="T1" fmla="*/ 0 h 109"/>
                <a:gd name="T2" fmla="*/ 85 w 85"/>
                <a:gd name="T3" fmla="*/ 32 h 109"/>
                <a:gd name="T4" fmla="*/ 75 w 85"/>
                <a:gd name="T5" fmla="*/ 37 h 109"/>
                <a:gd name="T6" fmla="*/ 65 w 85"/>
                <a:gd name="T7" fmla="*/ 54 h 109"/>
                <a:gd name="T8" fmla="*/ 48 w 85"/>
                <a:gd name="T9" fmla="*/ 62 h 109"/>
                <a:gd name="T10" fmla="*/ 70 w 85"/>
                <a:gd name="T11" fmla="*/ 82 h 109"/>
                <a:gd name="T12" fmla="*/ 62 w 85"/>
                <a:gd name="T13" fmla="*/ 102 h 109"/>
                <a:gd name="T14" fmla="*/ 38 w 85"/>
                <a:gd name="T15" fmla="*/ 109 h 109"/>
                <a:gd name="T16" fmla="*/ 28 w 85"/>
                <a:gd name="T17" fmla="*/ 99 h 109"/>
                <a:gd name="T18" fmla="*/ 5 w 85"/>
                <a:gd name="T19" fmla="*/ 89 h 109"/>
                <a:gd name="T20" fmla="*/ 20 w 85"/>
                <a:gd name="T21" fmla="*/ 79 h 109"/>
                <a:gd name="T22" fmla="*/ 20 w 85"/>
                <a:gd name="T23" fmla="*/ 59 h 109"/>
                <a:gd name="T24" fmla="*/ 5 w 85"/>
                <a:gd name="T25" fmla="*/ 54 h 109"/>
                <a:gd name="T26" fmla="*/ 0 w 85"/>
                <a:gd name="T27" fmla="*/ 54 h 109"/>
                <a:gd name="T28" fmla="*/ 18 w 85"/>
                <a:gd name="T29" fmla="*/ 44 h 109"/>
                <a:gd name="T30" fmla="*/ 28 w 85"/>
                <a:gd name="T31" fmla="*/ 15 h 109"/>
                <a:gd name="T32" fmla="*/ 43 w 85"/>
                <a:gd name="T33" fmla="*/ 22 h 109"/>
                <a:gd name="T34" fmla="*/ 60 w 85"/>
                <a:gd name="T35" fmla="*/ 22 h 109"/>
                <a:gd name="T36" fmla="*/ 77 w 85"/>
                <a:gd name="T37" fmla="*/ 0 h 109"/>
                <a:gd name="T38" fmla="*/ 85 w 85"/>
                <a:gd name="T39" fmla="*/ 0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5" h="109">
                  <a:moveTo>
                    <a:pt x="85" y="0"/>
                  </a:moveTo>
                  <a:lnTo>
                    <a:pt x="85" y="32"/>
                  </a:lnTo>
                  <a:lnTo>
                    <a:pt x="75" y="37"/>
                  </a:lnTo>
                  <a:lnTo>
                    <a:pt x="65" y="54"/>
                  </a:lnTo>
                  <a:lnTo>
                    <a:pt x="48" y="62"/>
                  </a:lnTo>
                  <a:lnTo>
                    <a:pt x="70" y="82"/>
                  </a:lnTo>
                  <a:lnTo>
                    <a:pt x="62" y="102"/>
                  </a:lnTo>
                  <a:lnTo>
                    <a:pt x="38" y="109"/>
                  </a:lnTo>
                  <a:lnTo>
                    <a:pt x="28" y="99"/>
                  </a:lnTo>
                  <a:lnTo>
                    <a:pt x="5" y="89"/>
                  </a:lnTo>
                  <a:lnTo>
                    <a:pt x="20" y="79"/>
                  </a:lnTo>
                  <a:lnTo>
                    <a:pt x="20" y="59"/>
                  </a:lnTo>
                  <a:lnTo>
                    <a:pt x="5" y="54"/>
                  </a:lnTo>
                  <a:lnTo>
                    <a:pt x="0" y="54"/>
                  </a:lnTo>
                  <a:lnTo>
                    <a:pt x="18" y="44"/>
                  </a:lnTo>
                  <a:lnTo>
                    <a:pt x="28" y="15"/>
                  </a:lnTo>
                  <a:lnTo>
                    <a:pt x="43" y="22"/>
                  </a:lnTo>
                  <a:lnTo>
                    <a:pt x="60" y="22"/>
                  </a:lnTo>
                  <a:lnTo>
                    <a:pt x="77" y="0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4" name="Freeform 142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2 w 20"/>
                <a:gd name="T17" fmla="*/ 10 h 10"/>
                <a:gd name="T18" fmla="*/ 10 w 20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2" y="10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5" name="Freeform 143"/>
            <p:cNvSpPr>
              <a:spLocks/>
            </p:cNvSpPr>
            <p:nvPr/>
          </p:nvSpPr>
          <p:spPr bwMode="auto">
            <a:xfrm>
              <a:off x="7517317" y="4412632"/>
              <a:ext cx="28785" cy="14392"/>
            </a:xfrm>
            <a:custGeom>
              <a:avLst/>
              <a:gdLst>
                <a:gd name="T0" fmla="*/ 10 w 20"/>
                <a:gd name="T1" fmla="*/ 10 h 10"/>
                <a:gd name="T2" fmla="*/ 3 w 20"/>
                <a:gd name="T3" fmla="*/ 7 h 10"/>
                <a:gd name="T4" fmla="*/ 0 w 20"/>
                <a:gd name="T5" fmla="*/ 5 h 10"/>
                <a:gd name="T6" fmla="*/ 3 w 20"/>
                <a:gd name="T7" fmla="*/ 2 h 10"/>
                <a:gd name="T8" fmla="*/ 10 w 20"/>
                <a:gd name="T9" fmla="*/ 0 h 10"/>
                <a:gd name="T10" fmla="*/ 17 w 20"/>
                <a:gd name="T11" fmla="*/ 2 h 10"/>
                <a:gd name="T12" fmla="*/ 20 w 20"/>
                <a:gd name="T13" fmla="*/ 5 h 10"/>
                <a:gd name="T14" fmla="*/ 17 w 20"/>
                <a:gd name="T15" fmla="*/ 7 h 10"/>
                <a:gd name="T16" fmla="*/ 10 w 20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0" h="10">
                  <a:moveTo>
                    <a:pt x="10" y="10"/>
                  </a:moveTo>
                  <a:lnTo>
                    <a:pt x="3" y="7"/>
                  </a:lnTo>
                  <a:lnTo>
                    <a:pt x="0" y="5"/>
                  </a:lnTo>
                  <a:lnTo>
                    <a:pt x="3" y="2"/>
                  </a:lnTo>
                  <a:lnTo>
                    <a:pt x="10" y="0"/>
                  </a:lnTo>
                  <a:lnTo>
                    <a:pt x="17" y="2"/>
                  </a:lnTo>
                  <a:lnTo>
                    <a:pt x="20" y="5"/>
                  </a:lnTo>
                  <a:lnTo>
                    <a:pt x="17" y="7"/>
                  </a:lnTo>
                  <a:lnTo>
                    <a:pt x="1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6" name="Freeform 144"/>
            <p:cNvSpPr>
              <a:spLocks/>
            </p:cNvSpPr>
            <p:nvPr/>
          </p:nvSpPr>
          <p:spPr bwMode="auto">
            <a:xfrm>
              <a:off x="6597646" y="3550530"/>
              <a:ext cx="197175" cy="510929"/>
            </a:xfrm>
            <a:custGeom>
              <a:avLst/>
              <a:gdLst>
                <a:gd name="T0" fmla="*/ 0 w 137"/>
                <a:gd name="T1" fmla="*/ 134 h 355"/>
                <a:gd name="T2" fmla="*/ 8 w 137"/>
                <a:gd name="T3" fmla="*/ 119 h 355"/>
                <a:gd name="T4" fmla="*/ 8 w 137"/>
                <a:gd name="T5" fmla="*/ 84 h 355"/>
                <a:gd name="T6" fmla="*/ 25 w 137"/>
                <a:gd name="T7" fmla="*/ 67 h 355"/>
                <a:gd name="T8" fmla="*/ 32 w 137"/>
                <a:gd name="T9" fmla="*/ 42 h 355"/>
                <a:gd name="T10" fmla="*/ 45 w 137"/>
                <a:gd name="T11" fmla="*/ 25 h 355"/>
                <a:gd name="T12" fmla="*/ 67 w 137"/>
                <a:gd name="T13" fmla="*/ 15 h 355"/>
                <a:gd name="T14" fmla="*/ 70 w 137"/>
                <a:gd name="T15" fmla="*/ 2 h 355"/>
                <a:gd name="T16" fmla="*/ 90 w 137"/>
                <a:gd name="T17" fmla="*/ 0 h 355"/>
                <a:gd name="T18" fmla="*/ 95 w 137"/>
                <a:gd name="T19" fmla="*/ 10 h 355"/>
                <a:gd name="T20" fmla="*/ 102 w 137"/>
                <a:gd name="T21" fmla="*/ 30 h 355"/>
                <a:gd name="T22" fmla="*/ 95 w 137"/>
                <a:gd name="T23" fmla="*/ 47 h 355"/>
                <a:gd name="T24" fmla="*/ 82 w 137"/>
                <a:gd name="T25" fmla="*/ 54 h 355"/>
                <a:gd name="T26" fmla="*/ 80 w 137"/>
                <a:gd name="T27" fmla="*/ 69 h 355"/>
                <a:gd name="T28" fmla="*/ 100 w 137"/>
                <a:gd name="T29" fmla="*/ 74 h 355"/>
                <a:gd name="T30" fmla="*/ 110 w 137"/>
                <a:gd name="T31" fmla="*/ 92 h 355"/>
                <a:gd name="T32" fmla="*/ 115 w 137"/>
                <a:gd name="T33" fmla="*/ 122 h 355"/>
                <a:gd name="T34" fmla="*/ 132 w 137"/>
                <a:gd name="T35" fmla="*/ 124 h 355"/>
                <a:gd name="T36" fmla="*/ 137 w 137"/>
                <a:gd name="T37" fmla="*/ 137 h 355"/>
                <a:gd name="T38" fmla="*/ 127 w 137"/>
                <a:gd name="T39" fmla="*/ 154 h 355"/>
                <a:gd name="T40" fmla="*/ 117 w 137"/>
                <a:gd name="T41" fmla="*/ 164 h 355"/>
                <a:gd name="T42" fmla="*/ 100 w 137"/>
                <a:gd name="T43" fmla="*/ 171 h 355"/>
                <a:gd name="T44" fmla="*/ 97 w 137"/>
                <a:gd name="T45" fmla="*/ 204 h 355"/>
                <a:gd name="T46" fmla="*/ 102 w 137"/>
                <a:gd name="T47" fmla="*/ 216 h 355"/>
                <a:gd name="T48" fmla="*/ 117 w 137"/>
                <a:gd name="T49" fmla="*/ 233 h 355"/>
                <a:gd name="T50" fmla="*/ 112 w 137"/>
                <a:gd name="T51" fmla="*/ 266 h 355"/>
                <a:gd name="T52" fmla="*/ 112 w 137"/>
                <a:gd name="T53" fmla="*/ 281 h 355"/>
                <a:gd name="T54" fmla="*/ 119 w 137"/>
                <a:gd name="T55" fmla="*/ 303 h 355"/>
                <a:gd name="T56" fmla="*/ 134 w 137"/>
                <a:gd name="T57" fmla="*/ 316 h 355"/>
                <a:gd name="T58" fmla="*/ 122 w 137"/>
                <a:gd name="T59" fmla="*/ 343 h 355"/>
                <a:gd name="T60" fmla="*/ 115 w 137"/>
                <a:gd name="T61" fmla="*/ 355 h 355"/>
                <a:gd name="T62" fmla="*/ 107 w 137"/>
                <a:gd name="T63" fmla="*/ 320 h 355"/>
                <a:gd name="T64" fmla="*/ 102 w 137"/>
                <a:gd name="T65" fmla="*/ 298 h 355"/>
                <a:gd name="T66" fmla="*/ 87 w 137"/>
                <a:gd name="T67" fmla="*/ 288 h 355"/>
                <a:gd name="T68" fmla="*/ 95 w 137"/>
                <a:gd name="T69" fmla="*/ 243 h 355"/>
                <a:gd name="T70" fmla="*/ 77 w 137"/>
                <a:gd name="T71" fmla="*/ 216 h 355"/>
                <a:gd name="T72" fmla="*/ 67 w 137"/>
                <a:gd name="T73" fmla="*/ 231 h 355"/>
                <a:gd name="T74" fmla="*/ 55 w 137"/>
                <a:gd name="T75" fmla="*/ 243 h 355"/>
                <a:gd name="T76" fmla="*/ 37 w 137"/>
                <a:gd name="T77" fmla="*/ 236 h 355"/>
                <a:gd name="T78" fmla="*/ 35 w 137"/>
                <a:gd name="T79" fmla="*/ 196 h 355"/>
                <a:gd name="T80" fmla="*/ 30 w 137"/>
                <a:gd name="T81" fmla="*/ 179 h 355"/>
                <a:gd name="T82" fmla="*/ 15 w 137"/>
                <a:gd name="T83" fmla="*/ 159 h 355"/>
                <a:gd name="T84" fmla="*/ 0 w 137"/>
                <a:gd name="T85" fmla="*/ 144 h 355"/>
                <a:gd name="T86" fmla="*/ 0 w 137"/>
                <a:gd name="T87" fmla="*/ 134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37" h="355">
                  <a:moveTo>
                    <a:pt x="0" y="134"/>
                  </a:moveTo>
                  <a:lnTo>
                    <a:pt x="8" y="119"/>
                  </a:lnTo>
                  <a:lnTo>
                    <a:pt x="8" y="84"/>
                  </a:lnTo>
                  <a:lnTo>
                    <a:pt x="25" y="67"/>
                  </a:lnTo>
                  <a:lnTo>
                    <a:pt x="32" y="42"/>
                  </a:lnTo>
                  <a:lnTo>
                    <a:pt x="45" y="25"/>
                  </a:lnTo>
                  <a:lnTo>
                    <a:pt x="67" y="15"/>
                  </a:lnTo>
                  <a:lnTo>
                    <a:pt x="70" y="2"/>
                  </a:lnTo>
                  <a:lnTo>
                    <a:pt x="90" y="0"/>
                  </a:lnTo>
                  <a:lnTo>
                    <a:pt x="95" y="10"/>
                  </a:lnTo>
                  <a:lnTo>
                    <a:pt x="102" y="30"/>
                  </a:lnTo>
                  <a:lnTo>
                    <a:pt x="95" y="47"/>
                  </a:lnTo>
                  <a:lnTo>
                    <a:pt x="82" y="54"/>
                  </a:lnTo>
                  <a:lnTo>
                    <a:pt x="80" y="69"/>
                  </a:lnTo>
                  <a:lnTo>
                    <a:pt x="100" y="74"/>
                  </a:lnTo>
                  <a:lnTo>
                    <a:pt x="110" y="92"/>
                  </a:lnTo>
                  <a:lnTo>
                    <a:pt x="115" y="122"/>
                  </a:lnTo>
                  <a:lnTo>
                    <a:pt x="132" y="124"/>
                  </a:lnTo>
                  <a:lnTo>
                    <a:pt x="137" y="137"/>
                  </a:lnTo>
                  <a:lnTo>
                    <a:pt x="127" y="154"/>
                  </a:lnTo>
                  <a:lnTo>
                    <a:pt x="117" y="164"/>
                  </a:lnTo>
                  <a:lnTo>
                    <a:pt x="100" y="171"/>
                  </a:lnTo>
                  <a:lnTo>
                    <a:pt x="97" y="204"/>
                  </a:lnTo>
                  <a:lnTo>
                    <a:pt x="102" y="216"/>
                  </a:lnTo>
                  <a:lnTo>
                    <a:pt x="117" y="233"/>
                  </a:lnTo>
                  <a:lnTo>
                    <a:pt x="112" y="266"/>
                  </a:lnTo>
                  <a:lnTo>
                    <a:pt x="112" y="281"/>
                  </a:lnTo>
                  <a:lnTo>
                    <a:pt x="119" y="303"/>
                  </a:lnTo>
                  <a:lnTo>
                    <a:pt x="134" y="316"/>
                  </a:lnTo>
                  <a:lnTo>
                    <a:pt x="122" y="343"/>
                  </a:lnTo>
                  <a:lnTo>
                    <a:pt x="115" y="355"/>
                  </a:lnTo>
                  <a:lnTo>
                    <a:pt x="107" y="320"/>
                  </a:lnTo>
                  <a:lnTo>
                    <a:pt x="102" y="298"/>
                  </a:lnTo>
                  <a:lnTo>
                    <a:pt x="87" y="288"/>
                  </a:lnTo>
                  <a:lnTo>
                    <a:pt x="95" y="243"/>
                  </a:lnTo>
                  <a:lnTo>
                    <a:pt x="77" y="216"/>
                  </a:lnTo>
                  <a:lnTo>
                    <a:pt x="67" y="231"/>
                  </a:lnTo>
                  <a:lnTo>
                    <a:pt x="55" y="243"/>
                  </a:lnTo>
                  <a:lnTo>
                    <a:pt x="37" y="236"/>
                  </a:lnTo>
                  <a:lnTo>
                    <a:pt x="35" y="196"/>
                  </a:lnTo>
                  <a:lnTo>
                    <a:pt x="30" y="179"/>
                  </a:lnTo>
                  <a:lnTo>
                    <a:pt x="15" y="159"/>
                  </a:lnTo>
                  <a:lnTo>
                    <a:pt x="0" y="144"/>
                  </a:lnTo>
                  <a:lnTo>
                    <a:pt x="0" y="1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7" name="Freeform 145"/>
            <p:cNvSpPr>
              <a:spLocks/>
            </p:cNvSpPr>
            <p:nvPr/>
          </p:nvSpPr>
          <p:spPr bwMode="auto">
            <a:xfrm>
              <a:off x="6672486" y="4212578"/>
              <a:ext cx="300800" cy="328146"/>
            </a:xfrm>
            <a:custGeom>
              <a:avLst/>
              <a:gdLst>
                <a:gd name="T0" fmla="*/ 80 w 209"/>
                <a:gd name="T1" fmla="*/ 34 h 228"/>
                <a:gd name="T2" fmla="*/ 53 w 209"/>
                <a:gd name="T3" fmla="*/ 25 h 228"/>
                <a:gd name="T4" fmla="*/ 30 w 209"/>
                <a:gd name="T5" fmla="*/ 0 h 228"/>
                <a:gd name="T6" fmla="*/ 3 w 209"/>
                <a:gd name="T7" fmla="*/ 2 h 228"/>
                <a:gd name="T8" fmla="*/ 0 w 209"/>
                <a:gd name="T9" fmla="*/ 12 h 228"/>
                <a:gd name="T10" fmla="*/ 33 w 209"/>
                <a:gd name="T11" fmla="*/ 34 h 228"/>
                <a:gd name="T12" fmla="*/ 60 w 209"/>
                <a:gd name="T13" fmla="*/ 59 h 228"/>
                <a:gd name="T14" fmla="*/ 80 w 209"/>
                <a:gd name="T15" fmla="*/ 77 h 228"/>
                <a:gd name="T16" fmla="*/ 85 w 209"/>
                <a:gd name="T17" fmla="*/ 102 h 228"/>
                <a:gd name="T18" fmla="*/ 97 w 209"/>
                <a:gd name="T19" fmla="*/ 126 h 228"/>
                <a:gd name="T20" fmla="*/ 132 w 209"/>
                <a:gd name="T21" fmla="*/ 174 h 228"/>
                <a:gd name="T22" fmla="*/ 164 w 209"/>
                <a:gd name="T23" fmla="*/ 213 h 228"/>
                <a:gd name="T24" fmla="*/ 177 w 209"/>
                <a:gd name="T25" fmla="*/ 228 h 228"/>
                <a:gd name="T26" fmla="*/ 209 w 209"/>
                <a:gd name="T27" fmla="*/ 213 h 228"/>
                <a:gd name="T28" fmla="*/ 204 w 209"/>
                <a:gd name="T29" fmla="*/ 194 h 228"/>
                <a:gd name="T30" fmla="*/ 204 w 209"/>
                <a:gd name="T31" fmla="*/ 169 h 228"/>
                <a:gd name="T32" fmla="*/ 194 w 209"/>
                <a:gd name="T33" fmla="*/ 154 h 228"/>
                <a:gd name="T34" fmla="*/ 167 w 209"/>
                <a:gd name="T35" fmla="*/ 144 h 228"/>
                <a:gd name="T36" fmla="*/ 167 w 209"/>
                <a:gd name="T37" fmla="*/ 134 h 228"/>
                <a:gd name="T38" fmla="*/ 157 w 209"/>
                <a:gd name="T39" fmla="*/ 119 h 228"/>
                <a:gd name="T40" fmla="*/ 154 w 209"/>
                <a:gd name="T41" fmla="*/ 97 h 228"/>
                <a:gd name="T42" fmla="*/ 137 w 209"/>
                <a:gd name="T43" fmla="*/ 79 h 228"/>
                <a:gd name="T44" fmla="*/ 112 w 209"/>
                <a:gd name="T45" fmla="*/ 64 h 228"/>
                <a:gd name="T46" fmla="*/ 80 w 209"/>
                <a:gd name="T47" fmla="*/ 34 h 2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209" h="228">
                  <a:moveTo>
                    <a:pt x="80" y="34"/>
                  </a:moveTo>
                  <a:lnTo>
                    <a:pt x="53" y="25"/>
                  </a:lnTo>
                  <a:lnTo>
                    <a:pt x="30" y="0"/>
                  </a:lnTo>
                  <a:lnTo>
                    <a:pt x="3" y="2"/>
                  </a:lnTo>
                  <a:lnTo>
                    <a:pt x="0" y="12"/>
                  </a:lnTo>
                  <a:lnTo>
                    <a:pt x="33" y="34"/>
                  </a:lnTo>
                  <a:lnTo>
                    <a:pt x="60" y="59"/>
                  </a:lnTo>
                  <a:lnTo>
                    <a:pt x="80" y="77"/>
                  </a:lnTo>
                  <a:lnTo>
                    <a:pt x="85" y="102"/>
                  </a:lnTo>
                  <a:lnTo>
                    <a:pt x="97" y="126"/>
                  </a:lnTo>
                  <a:lnTo>
                    <a:pt x="132" y="174"/>
                  </a:lnTo>
                  <a:lnTo>
                    <a:pt x="164" y="213"/>
                  </a:lnTo>
                  <a:lnTo>
                    <a:pt x="177" y="228"/>
                  </a:lnTo>
                  <a:lnTo>
                    <a:pt x="209" y="213"/>
                  </a:lnTo>
                  <a:lnTo>
                    <a:pt x="204" y="194"/>
                  </a:lnTo>
                  <a:lnTo>
                    <a:pt x="204" y="169"/>
                  </a:lnTo>
                  <a:lnTo>
                    <a:pt x="194" y="154"/>
                  </a:lnTo>
                  <a:lnTo>
                    <a:pt x="167" y="144"/>
                  </a:lnTo>
                  <a:lnTo>
                    <a:pt x="167" y="134"/>
                  </a:lnTo>
                  <a:lnTo>
                    <a:pt x="157" y="119"/>
                  </a:lnTo>
                  <a:lnTo>
                    <a:pt x="154" y="97"/>
                  </a:lnTo>
                  <a:lnTo>
                    <a:pt x="137" y="79"/>
                  </a:lnTo>
                  <a:lnTo>
                    <a:pt x="112" y="64"/>
                  </a:lnTo>
                  <a:lnTo>
                    <a:pt x="80" y="3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8" name="Freeform 146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9" name="Freeform 147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0 w 30"/>
                <a:gd name="T13" fmla="*/ 0 h 30"/>
                <a:gd name="T14" fmla="*/ 3 w 30"/>
                <a:gd name="T15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0" y="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0" name="Freeform 148"/>
            <p:cNvSpPr>
              <a:spLocks/>
            </p:cNvSpPr>
            <p:nvPr/>
          </p:nvSpPr>
          <p:spPr bwMode="auto">
            <a:xfrm>
              <a:off x="6951698" y="4405436"/>
              <a:ext cx="43177" cy="43177"/>
            </a:xfrm>
            <a:custGeom>
              <a:avLst/>
              <a:gdLst>
                <a:gd name="T0" fmla="*/ 3 w 30"/>
                <a:gd name="T1" fmla="*/ 0 h 30"/>
                <a:gd name="T2" fmla="*/ 15 w 30"/>
                <a:gd name="T3" fmla="*/ 2 h 30"/>
                <a:gd name="T4" fmla="*/ 28 w 30"/>
                <a:gd name="T5" fmla="*/ 12 h 30"/>
                <a:gd name="T6" fmla="*/ 30 w 30"/>
                <a:gd name="T7" fmla="*/ 27 h 30"/>
                <a:gd name="T8" fmla="*/ 20 w 30"/>
                <a:gd name="T9" fmla="*/ 30 h 30"/>
                <a:gd name="T10" fmla="*/ 0 w 30"/>
                <a:gd name="T11" fmla="*/ 10 h 30"/>
                <a:gd name="T12" fmla="*/ 3 w 30"/>
                <a:gd name="T13" fmla="*/ 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" h="30">
                  <a:moveTo>
                    <a:pt x="3" y="0"/>
                  </a:moveTo>
                  <a:lnTo>
                    <a:pt x="15" y="2"/>
                  </a:lnTo>
                  <a:lnTo>
                    <a:pt x="28" y="12"/>
                  </a:lnTo>
                  <a:lnTo>
                    <a:pt x="30" y="27"/>
                  </a:lnTo>
                  <a:lnTo>
                    <a:pt x="20" y="30"/>
                  </a:lnTo>
                  <a:lnTo>
                    <a:pt x="0" y="10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1" name="Freeform 149"/>
            <p:cNvSpPr>
              <a:spLocks/>
            </p:cNvSpPr>
            <p:nvPr/>
          </p:nvSpPr>
          <p:spPr bwMode="auto">
            <a:xfrm>
              <a:off x="6956015" y="4533528"/>
              <a:ext cx="238913" cy="79157"/>
            </a:xfrm>
            <a:custGeom>
              <a:avLst/>
              <a:gdLst>
                <a:gd name="T0" fmla="*/ 25 w 166"/>
                <a:gd name="T1" fmla="*/ 3 h 55"/>
                <a:gd name="T2" fmla="*/ 10 w 166"/>
                <a:gd name="T3" fmla="*/ 8 h 55"/>
                <a:gd name="T4" fmla="*/ 0 w 166"/>
                <a:gd name="T5" fmla="*/ 20 h 55"/>
                <a:gd name="T6" fmla="*/ 12 w 166"/>
                <a:gd name="T7" fmla="*/ 38 h 55"/>
                <a:gd name="T8" fmla="*/ 45 w 166"/>
                <a:gd name="T9" fmla="*/ 38 h 55"/>
                <a:gd name="T10" fmla="*/ 57 w 166"/>
                <a:gd name="T11" fmla="*/ 45 h 55"/>
                <a:gd name="T12" fmla="*/ 84 w 166"/>
                <a:gd name="T13" fmla="*/ 45 h 55"/>
                <a:gd name="T14" fmla="*/ 87 w 166"/>
                <a:gd name="T15" fmla="*/ 55 h 55"/>
                <a:gd name="T16" fmla="*/ 139 w 166"/>
                <a:gd name="T17" fmla="*/ 55 h 55"/>
                <a:gd name="T18" fmla="*/ 154 w 166"/>
                <a:gd name="T19" fmla="*/ 55 h 55"/>
                <a:gd name="T20" fmla="*/ 166 w 166"/>
                <a:gd name="T21" fmla="*/ 55 h 55"/>
                <a:gd name="T22" fmla="*/ 166 w 166"/>
                <a:gd name="T23" fmla="*/ 43 h 55"/>
                <a:gd name="T24" fmla="*/ 149 w 166"/>
                <a:gd name="T25" fmla="*/ 35 h 55"/>
                <a:gd name="T26" fmla="*/ 154 w 166"/>
                <a:gd name="T27" fmla="*/ 20 h 55"/>
                <a:gd name="T28" fmla="*/ 136 w 166"/>
                <a:gd name="T29" fmla="*/ 23 h 55"/>
                <a:gd name="T30" fmla="*/ 117 w 166"/>
                <a:gd name="T31" fmla="*/ 20 h 55"/>
                <a:gd name="T32" fmla="*/ 102 w 166"/>
                <a:gd name="T33" fmla="*/ 13 h 55"/>
                <a:gd name="T34" fmla="*/ 77 w 166"/>
                <a:gd name="T35" fmla="*/ 10 h 55"/>
                <a:gd name="T36" fmla="*/ 49 w 166"/>
                <a:gd name="T37" fmla="*/ 0 h 55"/>
                <a:gd name="T38" fmla="*/ 25 w 166"/>
                <a:gd name="T39" fmla="*/ 3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6" h="55">
                  <a:moveTo>
                    <a:pt x="25" y="3"/>
                  </a:moveTo>
                  <a:lnTo>
                    <a:pt x="10" y="8"/>
                  </a:lnTo>
                  <a:lnTo>
                    <a:pt x="0" y="20"/>
                  </a:lnTo>
                  <a:lnTo>
                    <a:pt x="12" y="38"/>
                  </a:lnTo>
                  <a:lnTo>
                    <a:pt x="45" y="38"/>
                  </a:lnTo>
                  <a:lnTo>
                    <a:pt x="57" y="45"/>
                  </a:lnTo>
                  <a:lnTo>
                    <a:pt x="84" y="45"/>
                  </a:lnTo>
                  <a:lnTo>
                    <a:pt x="87" y="55"/>
                  </a:lnTo>
                  <a:lnTo>
                    <a:pt x="139" y="55"/>
                  </a:lnTo>
                  <a:lnTo>
                    <a:pt x="154" y="55"/>
                  </a:lnTo>
                  <a:lnTo>
                    <a:pt x="166" y="55"/>
                  </a:lnTo>
                  <a:lnTo>
                    <a:pt x="166" y="43"/>
                  </a:lnTo>
                  <a:lnTo>
                    <a:pt x="149" y="35"/>
                  </a:lnTo>
                  <a:lnTo>
                    <a:pt x="154" y="20"/>
                  </a:lnTo>
                  <a:lnTo>
                    <a:pt x="136" y="23"/>
                  </a:lnTo>
                  <a:lnTo>
                    <a:pt x="117" y="20"/>
                  </a:lnTo>
                  <a:lnTo>
                    <a:pt x="102" y="13"/>
                  </a:lnTo>
                  <a:lnTo>
                    <a:pt x="77" y="10"/>
                  </a:lnTo>
                  <a:lnTo>
                    <a:pt x="49" y="0"/>
                  </a:lnTo>
                  <a:lnTo>
                    <a:pt x="25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2" name="Freeform 150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5 w 15"/>
                <a:gd name="T17" fmla="*/ 10 h 10"/>
                <a:gd name="T18" fmla="*/ 8 w 15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5" y="10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3" name="Freeform 151"/>
            <p:cNvSpPr>
              <a:spLocks/>
            </p:cNvSpPr>
            <p:nvPr/>
          </p:nvSpPr>
          <p:spPr bwMode="auto">
            <a:xfrm>
              <a:off x="7209321" y="4609807"/>
              <a:ext cx="21589" cy="14392"/>
            </a:xfrm>
            <a:custGeom>
              <a:avLst/>
              <a:gdLst>
                <a:gd name="T0" fmla="*/ 8 w 15"/>
                <a:gd name="T1" fmla="*/ 10 h 10"/>
                <a:gd name="T2" fmla="*/ 13 w 15"/>
                <a:gd name="T3" fmla="*/ 7 h 10"/>
                <a:gd name="T4" fmla="*/ 15 w 15"/>
                <a:gd name="T5" fmla="*/ 5 h 10"/>
                <a:gd name="T6" fmla="*/ 13 w 15"/>
                <a:gd name="T7" fmla="*/ 0 h 10"/>
                <a:gd name="T8" fmla="*/ 8 w 15"/>
                <a:gd name="T9" fmla="*/ 0 h 10"/>
                <a:gd name="T10" fmla="*/ 3 w 15"/>
                <a:gd name="T11" fmla="*/ 0 h 10"/>
                <a:gd name="T12" fmla="*/ 0 w 15"/>
                <a:gd name="T13" fmla="*/ 5 h 10"/>
                <a:gd name="T14" fmla="*/ 3 w 15"/>
                <a:gd name="T15" fmla="*/ 7 h 10"/>
                <a:gd name="T16" fmla="*/ 8 w 15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5" h="10">
                  <a:moveTo>
                    <a:pt x="8" y="10"/>
                  </a:moveTo>
                  <a:lnTo>
                    <a:pt x="13" y="7"/>
                  </a:lnTo>
                  <a:lnTo>
                    <a:pt x="15" y="5"/>
                  </a:lnTo>
                  <a:lnTo>
                    <a:pt x="13" y="0"/>
                  </a:lnTo>
                  <a:lnTo>
                    <a:pt x="8" y="0"/>
                  </a:lnTo>
                  <a:lnTo>
                    <a:pt x="3" y="0"/>
                  </a:lnTo>
                  <a:lnTo>
                    <a:pt x="0" y="5"/>
                  </a:lnTo>
                  <a:lnTo>
                    <a:pt x="3" y="7"/>
                  </a:lnTo>
                  <a:lnTo>
                    <a:pt x="8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4" name="Freeform 152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7 w 7"/>
                <a:gd name="T17" fmla="*/ 10 h 10"/>
                <a:gd name="T18" fmla="*/ 5 w 7"/>
                <a:gd name="T1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7" y="10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5" name="Freeform 153"/>
            <p:cNvSpPr>
              <a:spLocks/>
            </p:cNvSpPr>
            <p:nvPr/>
          </p:nvSpPr>
          <p:spPr bwMode="auto">
            <a:xfrm>
              <a:off x="7242424" y="4609807"/>
              <a:ext cx="10074" cy="14392"/>
            </a:xfrm>
            <a:custGeom>
              <a:avLst/>
              <a:gdLst>
                <a:gd name="T0" fmla="*/ 5 w 7"/>
                <a:gd name="T1" fmla="*/ 10 h 10"/>
                <a:gd name="T2" fmla="*/ 2 w 7"/>
                <a:gd name="T3" fmla="*/ 7 h 10"/>
                <a:gd name="T4" fmla="*/ 0 w 7"/>
                <a:gd name="T5" fmla="*/ 5 h 10"/>
                <a:gd name="T6" fmla="*/ 2 w 7"/>
                <a:gd name="T7" fmla="*/ 0 h 10"/>
                <a:gd name="T8" fmla="*/ 5 w 7"/>
                <a:gd name="T9" fmla="*/ 0 h 10"/>
                <a:gd name="T10" fmla="*/ 7 w 7"/>
                <a:gd name="T11" fmla="*/ 0 h 10"/>
                <a:gd name="T12" fmla="*/ 7 w 7"/>
                <a:gd name="T13" fmla="*/ 5 h 10"/>
                <a:gd name="T14" fmla="*/ 7 w 7"/>
                <a:gd name="T15" fmla="*/ 7 h 10"/>
                <a:gd name="T16" fmla="*/ 5 w 7"/>
                <a:gd name="T17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10">
                  <a:moveTo>
                    <a:pt x="5" y="10"/>
                  </a:moveTo>
                  <a:lnTo>
                    <a:pt x="2" y="7"/>
                  </a:lnTo>
                  <a:lnTo>
                    <a:pt x="0" y="5"/>
                  </a:lnTo>
                  <a:lnTo>
                    <a:pt x="2" y="0"/>
                  </a:lnTo>
                  <a:lnTo>
                    <a:pt x="5" y="0"/>
                  </a:lnTo>
                  <a:lnTo>
                    <a:pt x="7" y="0"/>
                  </a:lnTo>
                  <a:lnTo>
                    <a:pt x="7" y="5"/>
                  </a:lnTo>
                  <a:lnTo>
                    <a:pt x="7" y="7"/>
                  </a:lnTo>
                  <a:lnTo>
                    <a:pt x="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6" name="Freeform 154"/>
            <p:cNvSpPr>
              <a:spLocks/>
            </p:cNvSpPr>
            <p:nvPr/>
          </p:nvSpPr>
          <p:spPr bwMode="auto">
            <a:xfrm>
              <a:off x="7271208" y="4598293"/>
              <a:ext cx="27345" cy="25906"/>
            </a:xfrm>
            <a:custGeom>
              <a:avLst/>
              <a:gdLst>
                <a:gd name="T0" fmla="*/ 2 w 19"/>
                <a:gd name="T1" fmla="*/ 8 h 18"/>
                <a:gd name="T2" fmla="*/ 12 w 19"/>
                <a:gd name="T3" fmla="*/ 0 h 18"/>
                <a:gd name="T4" fmla="*/ 19 w 19"/>
                <a:gd name="T5" fmla="*/ 8 h 18"/>
                <a:gd name="T6" fmla="*/ 17 w 19"/>
                <a:gd name="T7" fmla="*/ 18 h 18"/>
                <a:gd name="T8" fmla="*/ 0 w 19"/>
                <a:gd name="T9" fmla="*/ 13 h 18"/>
                <a:gd name="T10" fmla="*/ 2 w 19"/>
                <a:gd name="T11" fmla="*/ 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9" h="18">
                  <a:moveTo>
                    <a:pt x="2" y="8"/>
                  </a:moveTo>
                  <a:lnTo>
                    <a:pt x="12" y="0"/>
                  </a:lnTo>
                  <a:lnTo>
                    <a:pt x="19" y="8"/>
                  </a:lnTo>
                  <a:lnTo>
                    <a:pt x="17" y="18"/>
                  </a:lnTo>
                  <a:lnTo>
                    <a:pt x="0" y="13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7" name="Freeform 155"/>
            <p:cNvSpPr>
              <a:spLocks/>
            </p:cNvSpPr>
            <p:nvPr/>
          </p:nvSpPr>
          <p:spPr bwMode="auto">
            <a:xfrm>
              <a:off x="7305750" y="4644349"/>
              <a:ext cx="33102" cy="21589"/>
            </a:xfrm>
            <a:custGeom>
              <a:avLst/>
              <a:gdLst>
                <a:gd name="T0" fmla="*/ 3 w 23"/>
                <a:gd name="T1" fmla="*/ 3 h 15"/>
                <a:gd name="T2" fmla="*/ 0 w 23"/>
                <a:gd name="T3" fmla="*/ 15 h 15"/>
                <a:gd name="T4" fmla="*/ 18 w 23"/>
                <a:gd name="T5" fmla="*/ 8 h 15"/>
                <a:gd name="T6" fmla="*/ 23 w 23"/>
                <a:gd name="T7" fmla="*/ 0 h 15"/>
                <a:gd name="T8" fmla="*/ 3 w 23"/>
                <a:gd name="T9" fmla="*/ 3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5">
                  <a:moveTo>
                    <a:pt x="3" y="3"/>
                  </a:moveTo>
                  <a:lnTo>
                    <a:pt x="0" y="15"/>
                  </a:lnTo>
                  <a:lnTo>
                    <a:pt x="18" y="8"/>
                  </a:lnTo>
                  <a:lnTo>
                    <a:pt x="23" y="0"/>
                  </a:lnTo>
                  <a:lnTo>
                    <a:pt x="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8" name="Freeform 156"/>
            <p:cNvSpPr>
              <a:spLocks/>
            </p:cNvSpPr>
            <p:nvPr/>
          </p:nvSpPr>
          <p:spPr bwMode="auto">
            <a:xfrm>
              <a:off x="7331656" y="4609807"/>
              <a:ext cx="57569" cy="24467"/>
            </a:xfrm>
            <a:custGeom>
              <a:avLst/>
              <a:gdLst>
                <a:gd name="T0" fmla="*/ 0 w 40"/>
                <a:gd name="T1" fmla="*/ 2 h 17"/>
                <a:gd name="T2" fmla="*/ 20 w 40"/>
                <a:gd name="T3" fmla="*/ 0 h 17"/>
                <a:gd name="T4" fmla="*/ 40 w 40"/>
                <a:gd name="T5" fmla="*/ 7 h 17"/>
                <a:gd name="T6" fmla="*/ 25 w 40"/>
                <a:gd name="T7" fmla="*/ 17 h 17"/>
                <a:gd name="T8" fmla="*/ 2 w 40"/>
                <a:gd name="T9" fmla="*/ 15 h 17"/>
                <a:gd name="T10" fmla="*/ 0 w 40"/>
                <a:gd name="T11" fmla="*/ 2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0" h="17">
                  <a:moveTo>
                    <a:pt x="0" y="2"/>
                  </a:moveTo>
                  <a:lnTo>
                    <a:pt x="20" y="0"/>
                  </a:lnTo>
                  <a:lnTo>
                    <a:pt x="40" y="7"/>
                  </a:lnTo>
                  <a:lnTo>
                    <a:pt x="25" y="17"/>
                  </a:lnTo>
                  <a:lnTo>
                    <a:pt x="2" y="15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9" name="Freeform 157"/>
            <p:cNvSpPr>
              <a:spLocks/>
            </p:cNvSpPr>
            <p:nvPr/>
          </p:nvSpPr>
          <p:spPr bwMode="auto">
            <a:xfrm>
              <a:off x="7403618" y="4644349"/>
              <a:ext cx="31663" cy="21589"/>
            </a:xfrm>
            <a:custGeom>
              <a:avLst/>
              <a:gdLst>
                <a:gd name="T0" fmla="*/ 22 w 22"/>
                <a:gd name="T1" fmla="*/ 0 h 15"/>
                <a:gd name="T2" fmla="*/ 7 w 22"/>
                <a:gd name="T3" fmla="*/ 3 h 15"/>
                <a:gd name="T4" fmla="*/ 0 w 22"/>
                <a:gd name="T5" fmla="*/ 15 h 15"/>
                <a:gd name="T6" fmla="*/ 12 w 22"/>
                <a:gd name="T7" fmla="*/ 15 h 15"/>
                <a:gd name="T8" fmla="*/ 22 w 22"/>
                <a:gd name="T9" fmla="*/ 8 h 15"/>
                <a:gd name="T10" fmla="*/ 22 w 22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2" h="15">
                  <a:moveTo>
                    <a:pt x="22" y="0"/>
                  </a:moveTo>
                  <a:lnTo>
                    <a:pt x="7" y="3"/>
                  </a:lnTo>
                  <a:lnTo>
                    <a:pt x="0" y="15"/>
                  </a:lnTo>
                  <a:lnTo>
                    <a:pt x="12" y="15"/>
                  </a:lnTo>
                  <a:lnTo>
                    <a:pt x="22" y="8"/>
                  </a:lnTo>
                  <a:lnTo>
                    <a:pt x="2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0" name="Freeform 158"/>
            <p:cNvSpPr>
              <a:spLocks/>
            </p:cNvSpPr>
            <p:nvPr/>
          </p:nvSpPr>
          <p:spPr bwMode="auto">
            <a:xfrm>
              <a:off x="7288479" y="4316203"/>
              <a:ext cx="168390" cy="214447"/>
            </a:xfrm>
            <a:custGeom>
              <a:avLst/>
              <a:gdLst>
                <a:gd name="T0" fmla="*/ 27 w 117"/>
                <a:gd name="T1" fmla="*/ 20 h 149"/>
                <a:gd name="T2" fmla="*/ 25 w 117"/>
                <a:gd name="T3" fmla="*/ 45 h 149"/>
                <a:gd name="T4" fmla="*/ 15 w 117"/>
                <a:gd name="T5" fmla="*/ 54 h 149"/>
                <a:gd name="T6" fmla="*/ 12 w 117"/>
                <a:gd name="T7" fmla="*/ 72 h 149"/>
                <a:gd name="T8" fmla="*/ 0 w 117"/>
                <a:gd name="T9" fmla="*/ 82 h 149"/>
                <a:gd name="T10" fmla="*/ 0 w 117"/>
                <a:gd name="T11" fmla="*/ 114 h 149"/>
                <a:gd name="T12" fmla="*/ 15 w 117"/>
                <a:gd name="T13" fmla="*/ 122 h 149"/>
                <a:gd name="T14" fmla="*/ 17 w 117"/>
                <a:gd name="T15" fmla="*/ 144 h 149"/>
                <a:gd name="T16" fmla="*/ 32 w 117"/>
                <a:gd name="T17" fmla="*/ 146 h 149"/>
                <a:gd name="T18" fmla="*/ 40 w 117"/>
                <a:gd name="T19" fmla="*/ 112 h 149"/>
                <a:gd name="T20" fmla="*/ 50 w 117"/>
                <a:gd name="T21" fmla="*/ 109 h 149"/>
                <a:gd name="T22" fmla="*/ 50 w 117"/>
                <a:gd name="T23" fmla="*/ 136 h 149"/>
                <a:gd name="T24" fmla="*/ 62 w 117"/>
                <a:gd name="T25" fmla="*/ 141 h 149"/>
                <a:gd name="T26" fmla="*/ 67 w 117"/>
                <a:gd name="T27" fmla="*/ 149 h 149"/>
                <a:gd name="T28" fmla="*/ 84 w 117"/>
                <a:gd name="T29" fmla="*/ 146 h 149"/>
                <a:gd name="T30" fmla="*/ 82 w 117"/>
                <a:gd name="T31" fmla="*/ 127 h 149"/>
                <a:gd name="T32" fmla="*/ 60 w 117"/>
                <a:gd name="T33" fmla="*/ 87 h 149"/>
                <a:gd name="T34" fmla="*/ 70 w 117"/>
                <a:gd name="T35" fmla="*/ 79 h 149"/>
                <a:gd name="T36" fmla="*/ 82 w 117"/>
                <a:gd name="T37" fmla="*/ 57 h 149"/>
                <a:gd name="T38" fmla="*/ 75 w 117"/>
                <a:gd name="T39" fmla="*/ 49 h 149"/>
                <a:gd name="T40" fmla="*/ 62 w 117"/>
                <a:gd name="T41" fmla="*/ 57 h 149"/>
                <a:gd name="T42" fmla="*/ 50 w 117"/>
                <a:gd name="T43" fmla="*/ 62 h 149"/>
                <a:gd name="T44" fmla="*/ 42 w 117"/>
                <a:gd name="T45" fmla="*/ 40 h 149"/>
                <a:gd name="T46" fmla="*/ 40 w 117"/>
                <a:gd name="T47" fmla="*/ 17 h 149"/>
                <a:gd name="T48" fmla="*/ 47 w 117"/>
                <a:gd name="T49" fmla="*/ 22 h 149"/>
                <a:gd name="T50" fmla="*/ 60 w 117"/>
                <a:gd name="T51" fmla="*/ 30 h 149"/>
                <a:gd name="T52" fmla="*/ 77 w 117"/>
                <a:gd name="T53" fmla="*/ 25 h 149"/>
                <a:gd name="T54" fmla="*/ 87 w 117"/>
                <a:gd name="T55" fmla="*/ 32 h 149"/>
                <a:gd name="T56" fmla="*/ 107 w 117"/>
                <a:gd name="T57" fmla="*/ 25 h 149"/>
                <a:gd name="T58" fmla="*/ 117 w 117"/>
                <a:gd name="T59" fmla="*/ 20 h 149"/>
                <a:gd name="T60" fmla="*/ 112 w 117"/>
                <a:gd name="T61" fmla="*/ 0 h 149"/>
                <a:gd name="T62" fmla="*/ 102 w 117"/>
                <a:gd name="T63" fmla="*/ 0 h 149"/>
                <a:gd name="T64" fmla="*/ 94 w 117"/>
                <a:gd name="T65" fmla="*/ 15 h 149"/>
                <a:gd name="T66" fmla="*/ 55 w 117"/>
                <a:gd name="T67" fmla="*/ 10 h 149"/>
                <a:gd name="T68" fmla="*/ 30 w 117"/>
                <a:gd name="T69" fmla="*/ 12 h 149"/>
                <a:gd name="T70" fmla="*/ 27 w 117"/>
                <a:gd name="T71" fmla="*/ 20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7" h="149">
                  <a:moveTo>
                    <a:pt x="27" y="20"/>
                  </a:moveTo>
                  <a:lnTo>
                    <a:pt x="25" y="45"/>
                  </a:lnTo>
                  <a:lnTo>
                    <a:pt x="15" y="54"/>
                  </a:lnTo>
                  <a:lnTo>
                    <a:pt x="12" y="72"/>
                  </a:lnTo>
                  <a:lnTo>
                    <a:pt x="0" y="82"/>
                  </a:lnTo>
                  <a:lnTo>
                    <a:pt x="0" y="114"/>
                  </a:lnTo>
                  <a:lnTo>
                    <a:pt x="15" y="122"/>
                  </a:lnTo>
                  <a:lnTo>
                    <a:pt x="17" y="144"/>
                  </a:lnTo>
                  <a:lnTo>
                    <a:pt x="32" y="146"/>
                  </a:lnTo>
                  <a:lnTo>
                    <a:pt x="40" y="112"/>
                  </a:lnTo>
                  <a:lnTo>
                    <a:pt x="50" y="109"/>
                  </a:lnTo>
                  <a:lnTo>
                    <a:pt x="50" y="136"/>
                  </a:lnTo>
                  <a:lnTo>
                    <a:pt x="62" y="141"/>
                  </a:lnTo>
                  <a:lnTo>
                    <a:pt x="67" y="149"/>
                  </a:lnTo>
                  <a:lnTo>
                    <a:pt x="84" y="146"/>
                  </a:lnTo>
                  <a:lnTo>
                    <a:pt x="82" y="127"/>
                  </a:lnTo>
                  <a:lnTo>
                    <a:pt x="60" y="87"/>
                  </a:lnTo>
                  <a:lnTo>
                    <a:pt x="70" y="79"/>
                  </a:lnTo>
                  <a:lnTo>
                    <a:pt x="82" y="57"/>
                  </a:lnTo>
                  <a:lnTo>
                    <a:pt x="75" y="49"/>
                  </a:lnTo>
                  <a:lnTo>
                    <a:pt x="62" y="57"/>
                  </a:lnTo>
                  <a:lnTo>
                    <a:pt x="50" y="62"/>
                  </a:lnTo>
                  <a:lnTo>
                    <a:pt x="42" y="40"/>
                  </a:lnTo>
                  <a:lnTo>
                    <a:pt x="40" y="17"/>
                  </a:lnTo>
                  <a:lnTo>
                    <a:pt x="47" y="22"/>
                  </a:lnTo>
                  <a:lnTo>
                    <a:pt x="60" y="30"/>
                  </a:lnTo>
                  <a:lnTo>
                    <a:pt x="77" y="25"/>
                  </a:lnTo>
                  <a:lnTo>
                    <a:pt x="87" y="32"/>
                  </a:lnTo>
                  <a:lnTo>
                    <a:pt x="107" y="25"/>
                  </a:lnTo>
                  <a:lnTo>
                    <a:pt x="117" y="20"/>
                  </a:lnTo>
                  <a:lnTo>
                    <a:pt x="112" y="0"/>
                  </a:lnTo>
                  <a:lnTo>
                    <a:pt x="102" y="0"/>
                  </a:lnTo>
                  <a:lnTo>
                    <a:pt x="94" y="15"/>
                  </a:lnTo>
                  <a:lnTo>
                    <a:pt x="55" y="10"/>
                  </a:lnTo>
                  <a:lnTo>
                    <a:pt x="30" y="12"/>
                  </a:lnTo>
                  <a:lnTo>
                    <a:pt x="27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1" name="Freeform 159"/>
            <p:cNvSpPr>
              <a:spLocks/>
            </p:cNvSpPr>
            <p:nvPr/>
          </p:nvSpPr>
          <p:spPr bwMode="auto">
            <a:xfrm>
              <a:off x="6852390" y="3943442"/>
              <a:ext cx="142485" cy="125213"/>
            </a:xfrm>
            <a:custGeom>
              <a:avLst/>
              <a:gdLst>
                <a:gd name="T0" fmla="*/ 39 w 99"/>
                <a:gd name="T1" fmla="*/ 72 h 87"/>
                <a:gd name="T2" fmla="*/ 17 w 99"/>
                <a:gd name="T3" fmla="*/ 80 h 87"/>
                <a:gd name="T4" fmla="*/ 15 w 99"/>
                <a:gd name="T5" fmla="*/ 50 h 87"/>
                <a:gd name="T6" fmla="*/ 0 w 99"/>
                <a:gd name="T7" fmla="*/ 38 h 87"/>
                <a:gd name="T8" fmla="*/ 7 w 99"/>
                <a:gd name="T9" fmla="*/ 15 h 87"/>
                <a:gd name="T10" fmla="*/ 22 w 99"/>
                <a:gd name="T11" fmla="*/ 0 h 87"/>
                <a:gd name="T12" fmla="*/ 39 w 99"/>
                <a:gd name="T13" fmla="*/ 10 h 87"/>
                <a:gd name="T14" fmla="*/ 59 w 99"/>
                <a:gd name="T15" fmla="*/ 8 h 87"/>
                <a:gd name="T16" fmla="*/ 72 w 99"/>
                <a:gd name="T17" fmla="*/ 20 h 87"/>
                <a:gd name="T18" fmla="*/ 89 w 99"/>
                <a:gd name="T19" fmla="*/ 8 h 87"/>
                <a:gd name="T20" fmla="*/ 97 w 99"/>
                <a:gd name="T21" fmla="*/ 13 h 87"/>
                <a:gd name="T22" fmla="*/ 99 w 99"/>
                <a:gd name="T23" fmla="*/ 47 h 87"/>
                <a:gd name="T24" fmla="*/ 87 w 99"/>
                <a:gd name="T25" fmla="*/ 55 h 87"/>
                <a:gd name="T26" fmla="*/ 69 w 99"/>
                <a:gd name="T27" fmla="*/ 72 h 87"/>
                <a:gd name="T28" fmla="*/ 52 w 99"/>
                <a:gd name="T29" fmla="*/ 87 h 87"/>
                <a:gd name="T30" fmla="*/ 39 w 99"/>
                <a:gd name="T31" fmla="*/ 72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99" h="87">
                  <a:moveTo>
                    <a:pt x="39" y="72"/>
                  </a:moveTo>
                  <a:lnTo>
                    <a:pt x="17" y="80"/>
                  </a:lnTo>
                  <a:lnTo>
                    <a:pt x="15" y="50"/>
                  </a:lnTo>
                  <a:lnTo>
                    <a:pt x="0" y="38"/>
                  </a:lnTo>
                  <a:lnTo>
                    <a:pt x="7" y="15"/>
                  </a:lnTo>
                  <a:lnTo>
                    <a:pt x="22" y="0"/>
                  </a:lnTo>
                  <a:lnTo>
                    <a:pt x="39" y="10"/>
                  </a:lnTo>
                  <a:lnTo>
                    <a:pt x="59" y="8"/>
                  </a:lnTo>
                  <a:lnTo>
                    <a:pt x="72" y="20"/>
                  </a:lnTo>
                  <a:lnTo>
                    <a:pt x="89" y="8"/>
                  </a:lnTo>
                  <a:lnTo>
                    <a:pt x="97" y="13"/>
                  </a:lnTo>
                  <a:lnTo>
                    <a:pt x="99" y="47"/>
                  </a:lnTo>
                  <a:lnTo>
                    <a:pt x="87" y="55"/>
                  </a:lnTo>
                  <a:lnTo>
                    <a:pt x="69" y="72"/>
                  </a:lnTo>
                  <a:lnTo>
                    <a:pt x="52" y="87"/>
                  </a:lnTo>
                  <a:lnTo>
                    <a:pt x="39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2" name="Freeform 160"/>
            <p:cNvSpPr>
              <a:spLocks/>
            </p:cNvSpPr>
            <p:nvPr/>
          </p:nvSpPr>
          <p:spPr bwMode="auto">
            <a:xfrm>
              <a:off x="6794821" y="3707407"/>
              <a:ext cx="185662" cy="264819"/>
            </a:xfrm>
            <a:custGeom>
              <a:avLst/>
              <a:gdLst>
                <a:gd name="T0" fmla="*/ 0 w 129"/>
                <a:gd name="T1" fmla="*/ 28 h 184"/>
                <a:gd name="T2" fmla="*/ 2 w 129"/>
                <a:gd name="T3" fmla="*/ 42 h 184"/>
                <a:gd name="T4" fmla="*/ 7 w 129"/>
                <a:gd name="T5" fmla="*/ 62 h 184"/>
                <a:gd name="T6" fmla="*/ 15 w 129"/>
                <a:gd name="T7" fmla="*/ 70 h 184"/>
                <a:gd name="T8" fmla="*/ 27 w 129"/>
                <a:gd name="T9" fmla="*/ 75 h 184"/>
                <a:gd name="T10" fmla="*/ 47 w 129"/>
                <a:gd name="T11" fmla="*/ 100 h 184"/>
                <a:gd name="T12" fmla="*/ 60 w 129"/>
                <a:gd name="T13" fmla="*/ 87 h 184"/>
                <a:gd name="T14" fmla="*/ 74 w 129"/>
                <a:gd name="T15" fmla="*/ 102 h 184"/>
                <a:gd name="T16" fmla="*/ 84 w 129"/>
                <a:gd name="T17" fmla="*/ 127 h 184"/>
                <a:gd name="T18" fmla="*/ 89 w 129"/>
                <a:gd name="T19" fmla="*/ 139 h 184"/>
                <a:gd name="T20" fmla="*/ 99 w 129"/>
                <a:gd name="T21" fmla="*/ 142 h 184"/>
                <a:gd name="T22" fmla="*/ 99 w 129"/>
                <a:gd name="T23" fmla="*/ 172 h 184"/>
                <a:gd name="T24" fmla="*/ 112 w 129"/>
                <a:gd name="T25" fmla="*/ 184 h 184"/>
                <a:gd name="T26" fmla="*/ 129 w 129"/>
                <a:gd name="T27" fmla="*/ 172 h 184"/>
                <a:gd name="T28" fmla="*/ 129 w 129"/>
                <a:gd name="T29" fmla="*/ 134 h 184"/>
                <a:gd name="T30" fmla="*/ 114 w 129"/>
                <a:gd name="T31" fmla="*/ 124 h 184"/>
                <a:gd name="T32" fmla="*/ 87 w 129"/>
                <a:gd name="T33" fmla="*/ 85 h 184"/>
                <a:gd name="T34" fmla="*/ 74 w 129"/>
                <a:gd name="T35" fmla="*/ 70 h 184"/>
                <a:gd name="T36" fmla="*/ 79 w 129"/>
                <a:gd name="T37" fmla="*/ 50 h 184"/>
                <a:gd name="T38" fmla="*/ 77 w 129"/>
                <a:gd name="T39" fmla="*/ 37 h 184"/>
                <a:gd name="T40" fmla="*/ 45 w 129"/>
                <a:gd name="T41" fmla="*/ 28 h 184"/>
                <a:gd name="T42" fmla="*/ 35 w 129"/>
                <a:gd name="T43" fmla="*/ 0 h 184"/>
                <a:gd name="T44" fmla="*/ 20 w 129"/>
                <a:gd name="T45" fmla="*/ 8 h 184"/>
                <a:gd name="T46" fmla="*/ 22 w 129"/>
                <a:gd name="T47" fmla="*/ 25 h 184"/>
                <a:gd name="T48" fmla="*/ 0 w 129"/>
                <a:gd name="T49" fmla="*/ 28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29" h="184">
                  <a:moveTo>
                    <a:pt x="0" y="28"/>
                  </a:moveTo>
                  <a:lnTo>
                    <a:pt x="2" y="42"/>
                  </a:lnTo>
                  <a:lnTo>
                    <a:pt x="7" y="62"/>
                  </a:lnTo>
                  <a:lnTo>
                    <a:pt x="15" y="70"/>
                  </a:lnTo>
                  <a:lnTo>
                    <a:pt x="27" y="75"/>
                  </a:lnTo>
                  <a:lnTo>
                    <a:pt x="47" y="100"/>
                  </a:lnTo>
                  <a:lnTo>
                    <a:pt x="60" y="87"/>
                  </a:lnTo>
                  <a:lnTo>
                    <a:pt x="74" y="102"/>
                  </a:lnTo>
                  <a:lnTo>
                    <a:pt x="84" y="127"/>
                  </a:lnTo>
                  <a:lnTo>
                    <a:pt x="89" y="139"/>
                  </a:lnTo>
                  <a:lnTo>
                    <a:pt x="99" y="142"/>
                  </a:lnTo>
                  <a:lnTo>
                    <a:pt x="99" y="172"/>
                  </a:lnTo>
                  <a:lnTo>
                    <a:pt x="112" y="184"/>
                  </a:lnTo>
                  <a:lnTo>
                    <a:pt x="129" y="172"/>
                  </a:lnTo>
                  <a:lnTo>
                    <a:pt x="129" y="134"/>
                  </a:lnTo>
                  <a:lnTo>
                    <a:pt x="114" y="124"/>
                  </a:lnTo>
                  <a:lnTo>
                    <a:pt x="87" y="85"/>
                  </a:lnTo>
                  <a:lnTo>
                    <a:pt x="74" y="70"/>
                  </a:lnTo>
                  <a:lnTo>
                    <a:pt x="79" y="50"/>
                  </a:lnTo>
                  <a:lnTo>
                    <a:pt x="77" y="37"/>
                  </a:lnTo>
                  <a:lnTo>
                    <a:pt x="45" y="28"/>
                  </a:lnTo>
                  <a:lnTo>
                    <a:pt x="35" y="0"/>
                  </a:lnTo>
                  <a:lnTo>
                    <a:pt x="20" y="8"/>
                  </a:lnTo>
                  <a:lnTo>
                    <a:pt x="22" y="25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3" name="Freeform 161"/>
            <p:cNvSpPr>
              <a:spLocks/>
            </p:cNvSpPr>
            <p:nvPr/>
          </p:nvSpPr>
          <p:spPr bwMode="auto">
            <a:xfrm>
              <a:off x="6845195" y="3685818"/>
              <a:ext cx="192858" cy="440406"/>
            </a:xfrm>
            <a:custGeom>
              <a:avLst/>
              <a:gdLst>
                <a:gd name="T0" fmla="*/ 0 w 134"/>
                <a:gd name="T1" fmla="*/ 15 h 306"/>
                <a:gd name="T2" fmla="*/ 10 w 134"/>
                <a:gd name="T3" fmla="*/ 43 h 306"/>
                <a:gd name="T4" fmla="*/ 42 w 134"/>
                <a:gd name="T5" fmla="*/ 52 h 306"/>
                <a:gd name="T6" fmla="*/ 44 w 134"/>
                <a:gd name="T7" fmla="*/ 65 h 306"/>
                <a:gd name="T8" fmla="*/ 39 w 134"/>
                <a:gd name="T9" fmla="*/ 85 h 306"/>
                <a:gd name="T10" fmla="*/ 52 w 134"/>
                <a:gd name="T11" fmla="*/ 100 h 306"/>
                <a:gd name="T12" fmla="*/ 79 w 134"/>
                <a:gd name="T13" fmla="*/ 139 h 306"/>
                <a:gd name="T14" fmla="*/ 94 w 134"/>
                <a:gd name="T15" fmla="*/ 149 h 306"/>
                <a:gd name="T16" fmla="*/ 94 w 134"/>
                <a:gd name="T17" fmla="*/ 187 h 306"/>
                <a:gd name="T18" fmla="*/ 102 w 134"/>
                <a:gd name="T19" fmla="*/ 192 h 306"/>
                <a:gd name="T20" fmla="*/ 104 w 134"/>
                <a:gd name="T21" fmla="*/ 226 h 306"/>
                <a:gd name="T22" fmla="*/ 92 w 134"/>
                <a:gd name="T23" fmla="*/ 234 h 306"/>
                <a:gd name="T24" fmla="*/ 74 w 134"/>
                <a:gd name="T25" fmla="*/ 251 h 306"/>
                <a:gd name="T26" fmla="*/ 57 w 134"/>
                <a:gd name="T27" fmla="*/ 266 h 306"/>
                <a:gd name="T28" fmla="*/ 64 w 134"/>
                <a:gd name="T29" fmla="*/ 276 h 306"/>
                <a:gd name="T30" fmla="*/ 57 w 134"/>
                <a:gd name="T31" fmla="*/ 289 h 306"/>
                <a:gd name="T32" fmla="*/ 62 w 134"/>
                <a:gd name="T33" fmla="*/ 306 h 306"/>
                <a:gd name="T34" fmla="*/ 94 w 134"/>
                <a:gd name="T35" fmla="*/ 281 h 306"/>
                <a:gd name="T36" fmla="*/ 122 w 134"/>
                <a:gd name="T37" fmla="*/ 259 h 306"/>
                <a:gd name="T38" fmla="*/ 129 w 134"/>
                <a:gd name="T39" fmla="*/ 246 h 306"/>
                <a:gd name="T40" fmla="*/ 134 w 134"/>
                <a:gd name="T41" fmla="*/ 202 h 306"/>
                <a:gd name="T42" fmla="*/ 126 w 134"/>
                <a:gd name="T43" fmla="*/ 162 h 306"/>
                <a:gd name="T44" fmla="*/ 99 w 134"/>
                <a:gd name="T45" fmla="*/ 135 h 306"/>
                <a:gd name="T46" fmla="*/ 69 w 134"/>
                <a:gd name="T47" fmla="*/ 97 h 306"/>
                <a:gd name="T48" fmla="*/ 69 w 134"/>
                <a:gd name="T49" fmla="*/ 72 h 306"/>
                <a:gd name="T50" fmla="*/ 77 w 134"/>
                <a:gd name="T51" fmla="*/ 62 h 306"/>
                <a:gd name="T52" fmla="*/ 99 w 134"/>
                <a:gd name="T53" fmla="*/ 48 h 306"/>
                <a:gd name="T54" fmla="*/ 72 w 134"/>
                <a:gd name="T55" fmla="*/ 8 h 306"/>
                <a:gd name="T56" fmla="*/ 44 w 134"/>
                <a:gd name="T57" fmla="*/ 0 h 306"/>
                <a:gd name="T58" fmla="*/ 27 w 134"/>
                <a:gd name="T59" fmla="*/ 0 h 306"/>
                <a:gd name="T60" fmla="*/ 0 w 134"/>
                <a:gd name="T61" fmla="*/ 15 h 3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34" h="306">
                  <a:moveTo>
                    <a:pt x="0" y="15"/>
                  </a:moveTo>
                  <a:lnTo>
                    <a:pt x="10" y="43"/>
                  </a:lnTo>
                  <a:lnTo>
                    <a:pt x="42" y="52"/>
                  </a:lnTo>
                  <a:lnTo>
                    <a:pt x="44" y="65"/>
                  </a:lnTo>
                  <a:lnTo>
                    <a:pt x="39" y="85"/>
                  </a:lnTo>
                  <a:lnTo>
                    <a:pt x="52" y="100"/>
                  </a:lnTo>
                  <a:lnTo>
                    <a:pt x="79" y="139"/>
                  </a:lnTo>
                  <a:lnTo>
                    <a:pt x="94" y="149"/>
                  </a:lnTo>
                  <a:lnTo>
                    <a:pt x="94" y="187"/>
                  </a:lnTo>
                  <a:lnTo>
                    <a:pt x="102" y="192"/>
                  </a:lnTo>
                  <a:lnTo>
                    <a:pt x="104" y="226"/>
                  </a:lnTo>
                  <a:lnTo>
                    <a:pt x="92" y="234"/>
                  </a:lnTo>
                  <a:lnTo>
                    <a:pt x="74" y="251"/>
                  </a:lnTo>
                  <a:lnTo>
                    <a:pt x="57" y="266"/>
                  </a:lnTo>
                  <a:lnTo>
                    <a:pt x="64" y="276"/>
                  </a:lnTo>
                  <a:lnTo>
                    <a:pt x="57" y="289"/>
                  </a:lnTo>
                  <a:lnTo>
                    <a:pt x="62" y="306"/>
                  </a:lnTo>
                  <a:lnTo>
                    <a:pt x="94" y="281"/>
                  </a:lnTo>
                  <a:lnTo>
                    <a:pt x="122" y="259"/>
                  </a:lnTo>
                  <a:lnTo>
                    <a:pt x="129" y="246"/>
                  </a:lnTo>
                  <a:lnTo>
                    <a:pt x="134" y="202"/>
                  </a:lnTo>
                  <a:lnTo>
                    <a:pt x="126" y="162"/>
                  </a:lnTo>
                  <a:lnTo>
                    <a:pt x="99" y="135"/>
                  </a:lnTo>
                  <a:lnTo>
                    <a:pt x="69" y="97"/>
                  </a:lnTo>
                  <a:lnTo>
                    <a:pt x="69" y="72"/>
                  </a:lnTo>
                  <a:lnTo>
                    <a:pt x="77" y="62"/>
                  </a:lnTo>
                  <a:lnTo>
                    <a:pt x="99" y="48"/>
                  </a:lnTo>
                  <a:lnTo>
                    <a:pt x="72" y="8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0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4" name="Freeform 162"/>
            <p:cNvSpPr>
              <a:spLocks/>
            </p:cNvSpPr>
            <p:nvPr/>
          </p:nvSpPr>
          <p:spPr bwMode="auto">
            <a:xfrm>
              <a:off x="7674194" y="4408314"/>
              <a:ext cx="250427" cy="225960"/>
            </a:xfrm>
            <a:custGeom>
              <a:avLst/>
              <a:gdLst>
                <a:gd name="T0" fmla="*/ 155 w 174"/>
                <a:gd name="T1" fmla="*/ 30 h 157"/>
                <a:gd name="T2" fmla="*/ 135 w 174"/>
                <a:gd name="T3" fmla="*/ 23 h 157"/>
                <a:gd name="T4" fmla="*/ 97 w 174"/>
                <a:gd name="T5" fmla="*/ 8 h 157"/>
                <a:gd name="T6" fmla="*/ 87 w 174"/>
                <a:gd name="T7" fmla="*/ 0 h 157"/>
                <a:gd name="T8" fmla="*/ 68 w 174"/>
                <a:gd name="T9" fmla="*/ 5 h 157"/>
                <a:gd name="T10" fmla="*/ 48 w 174"/>
                <a:gd name="T11" fmla="*/ 25 h 157"/>
                <a:gd name="T12" fmla="*/ 28 w 174"/>
                <a:gd name="T13" fmla="*/ 38 h 157"/>
                <a:gd name="T14" fmla="*/ 8 w 174"/>
                <a:gd name="T15" fmla="*/ 40 h 157"/>
                <a:gd name="T16" fmla="*/ 0 w 174"/>
                <a:gd name="T17" fmla="*/ 43 h 157"/>
                <a:gd name="T18" fmla="*/ 8 w 174"/>
                <a:gd name="T19" fmla="*/ 58 h 157"/>
                <a:gd name="T20" fmla="*/ 25 w 174"/>
                <a:gd name="T21" fmla="*/ 55 h 157"/>
                <a:gd name="T22" fmla="*/ 50 w 174"/>
                <a:gd name="T23" fmla="*/ 68 h 157"/>
                <a:gd name="T24" fmla="*/ 68 w 174"/>
                <a:gd name="T25" fmla="*/ 77 h 157"/>
                <a:gd name="T26" fmla="*/ 85 w 174"/>
                <a:gd name="T27" fmla="*/ 95 h 157"/>
                <a:gd name="T28" fmla="*/ 85 w 174"/>
                <a:gd name="T29" fmla="*/ 115 h 157"/>
                <a:gd name="T30" fmla="*/ 80 w 174"/>
                <a:gd name="T31" fmla="*/ 122 h 157"/>
                <a:gd name="T32" fmla="*/ 65 w 174"/>
                <a:gd name="T33" fmla="*/ 130 h 157"/>
                <a:gd name="T34" fmla="*/ 68 w 174"/>
                <a:gd name="T35" fmla="*/ 145 h 157"/>
                <a:gd name="T36" fmla="*/ 92 w 174"/>
                <a:gd name="T37" fmla="*/ 142 h 157"/>
                <a:gd name="T38" fmla="*/ 115 w 174"/>
                <a:gd name="T39" fmla="*/ 142 h 157"/>
                <a:gd name="T40" fmla="*/ 122 w 174"/>
                <a:gd name="T41" fmla="*/ 152 h 157"/>
                <a:gd name="T42" fmla="*/ 137 w 174"/>
                <a:gd name="T43" fmla="*/ 157 h 157"/>
                <a:gd name="T44" fmla="*/ 157 w 174"/>
                <a:gd name="T45" fmla="*/ 150 h 157"/>
                <a:gd name="T46" fmla="*/ 167 w 174"/>
                <a:gd name="T47" fmla="*/ 135 h 157"/>
                <a:gd name="T48" fmla="*/ 174 w 174"/>
                <a:gd name="T49" fmla="*/ 120 h 157"/>
                <a:gd name="T50" fmla="*/ 155 w 174"/>
                <a:gd name="T51" fmla="*/ 30 h 1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74" h="157">
                  <a:moveTo>
                    <a:pt x="155" y="30"/>
                  </a:moveTo>
                  <a:lnTo>
                    <a:pt x="135" y="23"/>
                  </a:lnTo>
                  <a:lnTo>
                    <a:pt x="97" y="8"/>
                  </a:lnTo>
                  <a:lnTo>
                    <a:pt x="87" y="0"/>
                  </a:lnTo>
                  <a:lnTo>
                    <a:pt x="68" y="5"/>
                  </a:lnTo>
                  <a:lnTo>
                    <a:pt x="48" y="25"/>
                  </a:lnTo>
                  <a:lnTo>
                    <a:pt x="28" y="38"/>
                  </a:lnTo>
                  <a:lnTo>
                    <a:pt x="8" y="40"/>
                  </a:lnTo>
                  <a:lnTo>
                    <a:pt x="0" y="43"/>
                  </a:lnTo>
                  <a:lnTo>
                    <a:pt x="8" y="58"/>
                  </a:lnTo>
                  <a:lnTo>
                    <a:pt x="25" y="55"/>
                  </a:lnTo>
                  <a:lnTo>
                    <a:pt x="50" y="68"/>
                  </a:lnTo>
                  <a:lnTo>
                    <a:pt x="68" y="77"/>
                  </a:lnTo>
                  <a:lnTo>
                    <a:pt x="85" y="95"/>
                  </a:lnTo>
                  <a:lnTo>
                    <a:pt x="85" y="115"/>
                  </a:lnTo>
                  <a:lnTo>
                    <a:pt x="80" y="122"/>
                  </a:lnTo>
                  <a:lnTo>
                    <a:pt x="65" y="130"/>
                  </a:lnTo>
                  <a:lnTo>
                    <a:pt x="68" y="145"/>
                  </a:lnTo>
                  <a:lnTo>
                    <a:pt x="92" y="142"/>
                  </a:lnTo>
                  <a:lnTo>
                    <a:pt x="115" y="142"/>
                  </a:lnTo>
                  <a:lnTo>
                    <a:pt x="122" y="152"/>
                  </a:lnTo>
                  <a:lnTo>
                    <a:pt x="137" y="157"/>
                  </a:lnTo>
                  <a:lnTo>
                    <a:pt x="157" y="150"/>
                  </a:lnTo>
                  <a:lnTo>
                    <a:pt x="167" y="135"/>
                  </a:lnTo>
                  <a:lnTo>
                    <a:pt x="174" y="120"/>
                  </a:lnTo>
                  <a:lnTo>
                    <a:pt x="15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5" name="Freeform 163"/>
            <p:cNvSpPr>
              <a:spLocks/>
            </p:cNvSpPr>
            <p:nvPr/>
          </p:nvSpPr>
          <p:spPr bwMode="auto">
            <a:xfrm>
              <a:off x="7507243" y="4283101"/>
              <a:ext cx="41737" cy="93550"/>
            </a:xfrm>
            <a:custGeom>
              <a:avLst/>
              <a:gdLst>
                <a:gd name="T0" fmla="*/ 15 w 29"/>
                <a:gd name="T1" fmla="*/ 28 h 65"/>
                <a:gd name="T2" fmla="*/ 0 w 29"/>
                <a:gd name="T3" fmla="*/ 35 h 65"/>
                <a:gd name="T4" fmla="*/ 5 w 29"/>
                <a:gd name="T5" fmla="*/ 53 h 65"/>
                <a:gd name="T6" fmla="*/ 22 w 29"/>
                <a:gd name="T7" fmla="*/ 65 h 65"/>
                <a:gd name="T8" fmla="*/ 27 w 29"/>
                <a:gd name="T9" fmla="*/ 40 h 65"/>
                <a:gd name="T10" fmla="*/ 29 w 29"/>
                <a:gd name="T11" fmla="*/ 18 h 65"/>
                <a:gd name="T12" fmla="*/ 22 w 29"/>
                <a:gd name="T13" fmla="*/ 0 h 65"/>
                <a:gd name="T14" fmla="*/ 15 w 29"/>
                <a:gd name="T15" fmla="*/ 8 h 65"/>
                <a:gd name="T16" fmla="*/ 15 w 29"/>
                <a:gd name="T17" fmla="*/ 2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9" h="65">
                  <a:moveTo>
                    <a:pt x="15" y="28"/>
                  </a:moveTo>
                  <a:lnTo>
                    <a:pt x="0" y="35"/>
                  </a:lnTo>
                  <a:lnTo>
                    <a:pt x="5" y="53"/>
                  </a:lnTo>
                  <a:lnTo>
                    <a:pt x="22" y="65"/>
                  </a:lnTo>
                  <a:lnTo>
                    <a:pt x="27" y="40"/>
                  </a:lnTo>
                  <a:lnTo>
                    <a:pt x="29" y="18"/>
                  </a:lnTo>
                  <a:lnTo>
                    <a:pt x="22" y="0"/>
                  </a:lnTo>
                  <a:lnTo>
                    <a:pt x="15" y="8"/>
                  </a:lnTo>
                  <a:lnTo>
                    <a:pt x="15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6" name="Freeform 164"/>
            <p:cNvSpPr>
              <a:spLocks/>
            </p:cNvSpPr>
            <p:nvPr/>
          </p:nvSpPr>
          <p:spPr bwMode="auto">
            <a:xfrm>
              <a:off x="7538906" y="4441417"/>
              <a:ext cx="64765" cy="31663"/>
            </a:xfrm>
            <a:custGeom>
              <a:avLst/>
              <a:gdLst>
                <a:gd name="T0" fmla="*/ 5 w 45"/>
                <a:gd name="T1" fmla="*/ 5 h 22"/>
                <a:gd name="T2" fmla="*/ 22 w 45"/>
                <a:gd name="T3" fmla="*/ 0 h 22"/>
                <a:gd name="T4" fmla="*/ 35 w 45"/>
                <a:gd name="T5" fmla="*/ 0 h 22"/>
                <a:gd name="T6" fmla="*/ 42 w 45"/>
                <a:gd name="T7" fmla="*/ 12 h 22"/>
                <a:gd name="T8" fmla="*/ 45 w 45"/>
                <a:gd name="T9" fmla="*/ 22 h 22"/>
                <a:gd name="T10" fmla="*/ 30 w 45"/>
                <a:gd name="T11" fmla="*/ 15 h 22"/>
                <a:gd name="T12" fmla="*/ 17 w 45"/>
                <a:gd name="T13" fmla="*/ 12 h 22"/>
                <a:gd name="T14" fmla="*/ 0 w 45"/>
                <a:gd name="T15" fmla="*/ 15 h 22"/>
                <a:gd name="T16" fmla="*/ 5 w 45"/>
                <a:gd name="T17" fmla="*/ 5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22">
                  <a:moveTo>
                    <a:pt x="5" y="5"/>
                  </a:moveTo>
                  <a:lnTo>
                    <a:pt x="22" y="0"/>
                  </a:lnTo>
                  <a:lnTo>
                    <a:pt x="35" y="0"/>
                  </a:lnTo>
                  <a:lnTo>
                    <a:pt x="42" y="12"/>
                  </a:lnTo>
                  <a:lnTo>
                    <a:pt x="45" y="22"/>
                  </a:lnTo>
                  <a:lnTo>
                    <a:pt x="30" y="15"/>
                  </a:lnTo>
                  <a:lnTo>
                    <a:pt x="17" y="12"/>
                  </a:lnTo>
                  <a:lnTo>
                    <a:pt x="0" y="15"/>
                  </a:lnTo>
                  <a:lnTo>
                    <a:pt x="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7" name="Freeform 165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20 w 35"/>
                <a:gd name="T21" fmla="*/ 8 h 8"/>
                <a:gd name="T22" fmla="*/ 18 w 35"/>
                <a:gd name="T23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20" y="8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8" name="Freeform 166"/>
            <p:cNvSpPr>
              <a:spLocks/>
            </p:cNvSpPr>
            <p:nvPr/>
          </p:nvSpPr>
          <p:spPr bwMode="auto">
            <a:xfrm>
              <a:off x="7445355" y="4415511"/>
              <a:ext cx="50374" cy="11514"/>
            </a:xfrm>
            <a:custGeom>
              <a:avLst/>
              <a:gdLst>
                <a:gd name="T0" fmla="*/ 18 w 35"/>
                <a:gd name="T1" fmla="*/ 8 h 8"/>
                <a:gd name="T2" fmla="*/ 5 w 35"/>
                <a:gd name="T3" fmla="*/ 5 h 8"/>
                <a:gd name="T4" fmla="*/ 0 w 35"/>
                <a:gd name="T5" fmla="*/ 3 h 8"/>
                <a:gd name="T6" fmla="*/ 3 w 35"/>
                <a:gd name="T7" fmla="*/ 3 h 8"/>
                <a:gd name="T8" fmla="*/ 5 w 35"/>
                <a:gd name="T9" fmla="*/ 0 h 8"/>
                <a:gd name="T10" fmla="*/ 18 w 35"/>
                <a:gd name="T11" fmla="*/ 0 h 8"/>
                <a:gd name="T12" fmla="*/ 30 w 35"/>
                <a:gd name="T13" fmla="*/ 0 h 8"/>
                <a:gd name="T14" fmla="*/ 33 w 35"/>
                <a:gd name="T15" fmla="*/ 3 h 8"/>
                <a:gd name="T16" fmla="*/ 35 w 35"/>
                <a:gd name="T17" fmla="*/ 3 h 8"/>
                <a:gd name="T18" fmla="*/ 30 w 35"/>
                <a:gd name="T19" fmla="*/ 5 h 8"/>
                <a:gd name="T20" fmla="*/ 18 w 35"/>
                <a:gd name="T2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5" h="8">
                  <a:moveTo>
                    <a:pt x="18" y="8"/>
                  </a:moveTo>
                  <a:lnTo>
                    <a:pt x="5" y="5"/>
                  </a:lnTo>
                  <a:lnTo>
                    <a:pt x="0" y="3"/>
                  </a:lnTo>
                  <a:lnTo>
                    <a:pt x="3" y="3"/>
                  </a:lnTo>
                  <a:lnTo>
                    <a:pt x="5" y="0"/>
                  </a:lnTo>
                  <a:lnTo>
                    <a:pt x="18" y="0"/>
                  </a:lnTo>
                  <a:lnTo>
                    <a:pt x="30" y="0"/>
                  </a:lnTo>
                  <a:lnTo>
                    <a:pt x="33" y="3"/>
                  </a:lnTo>
                  <a:lnTo>
                    <a:pt x="35" y="3"/>
                  </a:lnTo>
                  <a:lnTo>
                    <a:pt x="30" y="5"/>
                  </a:lnTo>
                  <a:lnTo>
                    <a:pt x="18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59" name="Freeform 167"/>
            <p:cNvSpPr>
              <a:spLocks/>
            </p:cNvSpPr>
            <p:nvPr/>
          </p:nvSpPr>
          <p:spPr bwMode="auto">
            <a:xfrm>
              <a:off x="7685708" y="4386726"/>
              <a:ext cx="64765" cy="43177"/>
            </a:xfrm>
            <a:custGeom>
              <a:avLst/>
              <a:gdLst>
                <a:gd name="T0" fmla="*/ 17 w 45"/>
                <a:gd name="T1" fmla="*/ 30 h 30"/>
                <a:gd name="T2" fmla="*/ 0 w 45"/>
                <a:gd name="T3" fmla="*/ 30 h 30"/>
                <a:gd name="T4" fmla="*/ 5 w 45"/>
                <a:gd name="T5" fmla="*/ 15 h 30"/>
                <a:gd name="T6" fmla="*/ 12 w 45"/>
                <a:gd name="T7" fmla="*/ 0 h 30"/>
                <a:gd name="T8" fmla="*/ 30 w 45"/>
                <a:gd name="T9" fmla="*/ 5 h 30"/>
                <a:gd name="T10" fmla="*/ 45 w 45"/>
                <a:gd name="T11" fmla="*/ 8 h 30"/>
                <a:gd name="T12" fmla="*/ 40 w 45"/>
                <a:gd name="T13" fmla="*/ 20 h 30"/>
                <a:gd name="T14" fmla="*/ 30 w 45"/>
                <a:gd name="T15" fmla="*/ 30 h 30"/>
                <a:gd name="T16" fmla="*/ 17 w 45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5" h="30">
                  <a:moveTo>
                    <a:pt x="17" y="30"/>
                  </a:moveTo>
                  <a:lnTo>
                    <a:pt x="0" y="30"/>
                  </a:lnTo>
                  <a:lnTo>
                    <a:pt x="5" y="15"/>
                  </a:lnTo>
                  <a:lnTo>
                    <a:pt x="12" y="0"/>
                  </a:lnTo>
                  <a:lnTo>
                    <a:pt x="30" y="5"/>
                  </a:lnTo>
                  <a:lnTo>
                    <a:pt x="45" y="8"/>
                  </a:lnTo>
                  <a:lnTo>
                    <a:pt x="40" y="20"/>
                  </a:lnTo>
                  <a:lnTo>
                    <a:pt x="30" y="30"/>
                  </a:lnTo>
                  <a:lnTo>
                    <a:pt x="17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0" name="Freeform 168"/>
            <p:cNvSpPr>
              <a:spLocks/>
            </p:cNvSpPr>
            <p:nvPr/>
          </p:nvSpPr>
          <p:spPr bwMode="auto">
            <a:xfrm>
              <a:off x="7009268" y="3779369"/>
              <a:ext cx="50373" cy="71962"/>
            </a:xfrm>
            <a:custGeom>
              <a:avLst/>
              <a:gdLst>
                <a:gd name="T0" fmla="*/ 12 w 35"/>
                <a:gd name="T1" fmla="*/ 10 h 50"/>
                <a:gd name="T2" fmla="*/ 0 w 35"/>
                <a:gd name="T3" fmla="*/ 27 h 50"/>
                <a:gd name="T4" fmla="*/ 3 w 35"/>
                <a:gd name="T5" fmla="*/ 50 h 50"/>
                <a:gd name="T6" fmla="*/ 17 w 35"/>
                <a:gd name="T7" fmla="*/ 50 h 50"/>
                <a:gd name="T8" fmla="*/ 35 w 35"/>
                <a:gd name="T9" fmla="*/ 30 h 50"/>
                <a:gd name="T10" fmla="*/ 22 w 35"/>
                <a:gd name="T11" fmla="*/ 0 h 50"/>
                <a:gd name="T12" fmla="*/ 12 w 35"/>
                <a:gd name="T13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5" h="50">
                  <a:moveTo>
                    <a:pt x="12" y="10"/>
                  </a:moveTo>
                  <a:lnTo>
                    <a:pt x="0" y="27"/>
                  </a:lnTo>
                  <a:lnTo>
                    <a:pt x="3" y="50"/>
                  </a:lnTo>
                  <a:lnTo>
                    <a:pt x="17" y="50"/>
                  </a:lnTo>
                  <a:lnTo>
                    <a:pt x="35" y="30"/>
                  </a:lnTo>
                  <a:lnTo>
                    <a:pt x="22" y="0"/>
                  </a:lnTo>
                  <a:lnTo>
                    <a:pt x="12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1" name="Freeform 169"/>
            <p:cNvSpPr>
              <a:spLocks/>
            </p:cNvSpPr>
            <p:nvPr/>
          </p:nvSpPr>
          <p:spPr bwMode="auto">
            <a:xfrm>
              <a:off x="7199247" y="4190990"/>
              <a:ext cx="28785" cy="38859"/>
            </a:xfrm>
            <a:custGeom>
              <a:avLst/>
              <a:gdLst>
                <a:gd name="T0" fmla="*/ 17 w 20"/>
                <a:gd name="T1" fmla="*/ 0 h 27"/>
                <a:gd name="T2" fmla="*/ 5 w 20"/>
                <a:gd name="T3" fmla="*/ 7 h 27"/>
                <a:gd name="T4" fmla="*/ 0 w 20"/>
                <a:gd name="T5" fmla="*/ 27 h 27"/>
                <a:gd name="T6" fmla="*/ 15 w 20"/>
                <a:gd name="T7" fmla="*/ 20 h 27"/>
                <a:gd name="T8" fmla="*/ 20 w 20"/>
                <a:gd name="T9" fmla="*/ 7 h 27"/>
                <a:gd name="T10" fmla="*/ 17 w 20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27">
                  <a:moveTo>
                    <a:pt x="17" y="0"/>
                  </a:moveTo>
                  <a:lnTo>
                    <a:pt x="5" y="7"/>
                  </a:lnTo>
                  <a:lnTo>
                    <a:pt x="0" y="27"/>
                  </a:lnTo>
                  <a:lnTo>
                    <a:pt x="15" y="20"/>
                  </a:lnTo>
                  <a:lnTo>
                    <a:pt x="20" y="7"/>
                  </a:lnTo>
                  <a:lnTo>
                    <a:pt x="1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2" name="Freeform 170"/>
            <p:cNvSpPr>
              <a:spLocks/>
            </p:cNvSpPr>
            <p:nvPr/>
          </p:nvSpPr>
          <p:spPr bwMode="auto">
            <a:xfrm>
              <a:off x="5345511" y="3160498"/>
              <a:ext cx="505171" cy="461994"/>
            </a:xfrm>
            <a:custGeom>
              <a:avLst/>
              <a:gdLst>
                <a:gd name="T0" fmla="*/ 0 w 351"/>
                <a:gd name="T1" fmla="*/ 7 h 321"/>
                <a:gd name="T2" fmla="*/ 17 w 351"/>
                <a:gd name="T3" fmla="*/ 55 h 321"/>
                <a:gd name="T4" fmla="*/ 25 w 351"/>
                <a:gd name="T5" fmla="*/ 92 h 321"/>
                <a:gd name="T6" fmla="*/ 40 w 351"/>
                <a:gd name="T7" fmla="*/ 112 h 321"/>
                <a:gd name="T8" fmla="*/ 27 w 351"/>
                <a:gd name="T9" fmla="*/ 139 h 321"/>
                <a:gd name="T10" fmla="*/ 47 w 351"/>
                <a:gd name="T11" fmla="*/ 164 h 321"/>
                <a:gd name="T12" fmla="*/ 72 w 351"/>
                <a:gd name="T13" fmla="*/ 164 h 321"/>
                <a:gd name="T14" fmla="*/ 70 w 351"/>
                <a:gd name="T15" fmla="*/ 196 h 321"/>
                <a:gd name="T16" fmla="*/ 82 w 351"/>
                <a:gd name="T17" fmla="*/ 216 h 321"/>
                <a:gd name="T18" fmla="*/ 107 w 351"/>
                <a:gd name="T19" fmla="*/ 221 h 321"/>
                <a:gd name="T20" fmla="*/ 117 w 351"/>
                <a:gd name="T21" fmla="*/ 231 h 321"/>
                <a:gd name="T22" fmla="*/ 137 w 351"/>
                <a:gd name="T23" fmla="*/ 261 h 321"/>
                <a:gd name="T24" fmla="*/ 152 w 351"/>
                <a:gd name="T25" fmla="*/ 273 h 321"/>
                <a:gd name="T26" fmla="*/ 214 w 351"/>
                <a:gd name="T27" fmla="*/ 288 h 321"/>
                <a:gd name="T28" fmla="*/ 234 w 351"/>
                <a:gd name="T29" fmla="*/ 281 h 321"/>
                <a:gd name="T30" fmla="*/ 259 w 351"/>
                <a:gd name="T31" fmla="*/ 321 h 321"/>
                <a:gd name="T32" fmla="*/ 323 w 351"/>
                <a:gd name="T33" fmla="*/ 321 h 321"/>
                <a:gd name="T34" fmla="*/ 341 w 351"/>
                <a:gd name="T35" fmla="*/ 298 h 321"/>
                <a:gd name="T36" fmla="*/ 346 w 351"/>
                <a:gd name="T37" fmla="*/ 273 h 321"/>
                <a:gd name="T38" fmla="*/ 326 w 351"/>
                <a:gd name="T39" fmla="*/ 253 h 321"/>
                <a:gd name="T40" fmla="*/ 308 w 351"/>
                <a:gd name="T41" fmla="*/ 226 h 321"/>
                <a:gd name="T42" fmla="*/ 311 w 351"/>
                <a:gd name="T43" fmla="*/ 194 h 321"/>
                <a:gd name="T44" fmla="*/ 293 w 351"/>
                <a:gd name="T45" fmla="*/ 149 h 321"/>
                <a:gd name="T46" fmla="*/ 296 w 351"/>
                <a:gd name="T47" fmla="*/ 82 h 321"/>
                <a:gd name="T48" fmla="*/ 244 w 351"/>
                <a:gd name="T49" fmla="*/ 50 h 321"/>
                <a:gd name="T50" fmla="*/ 191 w 351"/>
                <a:gd name="T51" fmla="*/ 42 h 321"/>
                <a:gd name="T52" fmla="*/ 167 w 351"/>
                <a:gd name="T53" fmla="*/ 64 h 321"/>
                <a:gd name="T54" fmla="*/ 139 w 351"/>
                <a:gd name="T55" fmla="*/ 82 h 321"/>
                <a:gd name="T56" fmla="*/ 97 w 351"/>
                <a:gd name="T57" fmla="*/ 62 h 321"/>
                <a:gd name="T58" fmla="*/ 75 w 351"/>
                <a:gd name="T59" fmla="*/ 27 h 321"/>
                <a:gd name="T60" fmla="*/ 57 w 351"/>
                <a:gd name="T61" fmla="*/ 10 h 321"/>
                <a:gd name="T62" fmla="*/ 30 w 351"/>
                <a:gd name="T63" fmla="*/ 25 h 321"/>
                <a:gd name="T64" fmla="*/ 8 w 351"/>
                <a:gd name="T65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351" h="321">
                  <a:moveTo>
                    <a:pt x="8" y="0"/>
                  </a:moveTo>
                  <a:lnTo>
                    <a:pt x="0" y="7"/>
                  </a:lnTo>
                  <a:lnTo>
                    <a:pt x="8" y="30"/>
                  </a:lnTo>
                  <a:lnTo>
                    <a:pt x="17" y="55"/>
                  </a:lnTo>
                  <a:lnTo>
                    <a:pt x="22" y="77"/>
                  </a:lnTo>
                  <a:lnTo>
                    <a:pt x="25" y="92"/>
                  </a:lnTo>
                  <a:lnTo>
                    <a:pt x="42" y="94"/>
                  </a:lnTo>
                  <a:lnTo>
                    <a:pt x="40" y="112"/>
                  </a:lnTo>
                  <a:lnTo>
                    <a:pt x="27" y="122"/>
                  </a:lnTo>
                  <a:lnTo>
                    <a:pt x="27" y="139"/>
                  </a:lnTo>
                  <a:lnTo>
                    <a:pt x="45" y="147"/>
                  </a:lnTo>
                  <a:lnTo>
                    <a:pt x="47" y="164"/>
                  </a:lnTo>
                  <a:lnTo>
                    <a:pt x="60" y="166"/>
                  </a:lnTo>
                  <a:lnTo>
                    <a:pt x="72" y="164"/>
                  </a:lnTo>
                  <a:lnTo>
                    <a:pt x="75" y="179"/>
                  </a:lnTo>
                  <a:lnTo>
                    <a:pt x="70" y="196"/>
                  </a:lnTo>
                  <a:lnTo>
                    <a:pt x="80" y="201"/>
                  </a:lnTo>
                  <a:lnTo>
                    <a:pt x="82" y="216"/>
                  </a:lnTo>
                  <a:lnTo>
                    <a:pt x="90" y="224"/>
                  </a:lnTo>
                  <a:lnTo>
                    <a:pt x="107" y="221"/>
                  </a:lnTo>
                  <a:lnTo>
                    <a:pt x="109" y="214"/>
                  </a:lnTo>
                  <a:lnTo>
                    <a:pt x="117" y="231"/>
                  </a:lnTo>
                  <a:lnTo>
                    <a:pt x="122" y="256"/>
                  </a:lnTo>
                  <a:lnTo>
                    <a:pt x="137" y="261"/>
                  </a:lnTo>
                  <a:lnTo>
                    <a:pt x="137" y="271"/>
                  </a:lnTo>
                  <a:lnTo>
                    <a:pt x="152" y="273"/>
                  </a:lnTo>
                  <a:lnTo>
                    <a:pt x="159" y="286"/>
                  </a:lnTo>
                  <a:lnTo>
                    <a:pt x="214" y="288"/>
                  </a:lnTo>
                  <a:lnTo>
                    <a:pt x="221" y="276"/>
                  </a:lnTo>
                  <a:lnTo>
                    <a:pt x="234" y="281"/>
                  </a:lnTo>
                  <a:lnTo>
                    <a:pt x="239" y="308"/>
                  </a:lnTo>
                  <a:lnTo>
                    <a:pt x="259" y="321"/>
                  </a:lnTo>
                  <a:lnTo>
                    <a:pt x="311" y="318"/>
                  </a:lnTo>
                  <a:lnTo>
                    <a:pt x="323" y="321"/>
                  </a:lnTo>
                  <a:lnTo>
                    <a:pt x="326" y="303"/>
                  </a:lnTo>
                  <a:lnTo>
                    <a:pt x="341" y="298"/>
                  </a:lnTo>
                  <a:lnTo>
                    <a:pt x="351" y="286"/>
                  </a:lnTo>
                  <a:lnTo>
                    <a:pt x="346" y="273"/>
                  </a:lnTo>
                  <a:lnTo>
                    <a:pt x="331" y="273"/>
                  </a:lnTo>
                  <a:lnTo>
                    <a:pt x="326" y="253"/>
                  </a:lnTo>
                  <a:lnTo>
                    <a:pt x="306" y="243"/>
                  </a:lnTo>
                  <a:lnTo>
                    <a:pt x="308" y="226"/>
                  </a:lnTo>
                  <a:lnTo>
                    <a:pt x="318" y="214"/>
                  </a:lnTo>
                  <a:lnTo>
                    <a:pt x="311" y="194"/>
                  </a:lnTo>
                  <a:lnTo>
                    <a:pt x="291" y="194"/>
                  </a:lnTo>
                  <a:lnTo>
                    <a:pt x="293" y="149"/>
                  </a:lnTo>
                  <a:lnTo>
                    <a:pt x="291" y="122"/>
                  </a:lnTo>
                  <a:lnTo>
                    <a:pt x="296" y="82"/>
                  </a:lnTo>
                  <a:lnTo>
                    <a:pt x="271" y="69"/>
                  </a:lnTo>
                  <a:lnTo>
                    <a:pt x="244" y="50"/>
                  </a:lnTo>
                  <a:lnTo>
                    <a:pt x="224" y="47"/>
                  </a:lnTo>
                  <a:lnTo>
                    <a:pt x="191" y="42"/>
                  </a:lnTo>
                  <a:lnTo>
                    <a:pt x="184" y="57"/>
                  </a:lnTo>
                  <a:lnTo>
                    <a:pt x="167" y="64"/>
                  </a:lnTo>
                  <a:lnTo>
                    <a:pt x="149" y="72"/>
                  </a:lnTo>
                  <a:lnTo>
                    <a:pt x="139" y="82"/>
                  </a:lnTo>
                  <a:lnTo>
                    <a:pt x="117" y="77"/>
                  </a:lnTo>
                  <a:lnTo>
                    <a:pt x="97" y="62"/>
                  </a:lnTo>
                  <a:lnTo>
                    <a:pt x="80" y="50"/>
                  </a:lnTo>
                  <a:lnTo>
                    <a:pt x="75" y="27"/>
                  </a:lnTo>
                  <a:lnTo>
                    <a:pt x="67" y="5"/>
                  </a:lnTo>
                  <a:lnTo>
                    <a:pt x="57" y="10"/>
                  </a:lnTo>
                  <a:lnTo>
                    <a:pt x="52" y="25"/>
                  </a:lnTo>
                  <a:lnTo>
                    <a:pt x="30" y="25"/>
                  </a:lnTo>
                  <a:lnTo>
                    <a:pt x="22" y="10"/>
                  </a:lnTo>
                  <a:lnTo>
                    <a:pt x="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3" name="Freeform 172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5 w 18"/>
                <a:gd name="T11" fmla="*/ 32 h 32"/>
                <a:gd name="T12" fmla="*/ 13 w 18"/>
                <a:gd name="T13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5" y="32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4" name="Freeform 173"/>
            <p:cNvSpPr>
              <a:spLocks/>
            </p:cNvSpPr>
            <p:nvPr/>
          </p:nvSpPr>
          <p:spPr bwMode="auto">
            <a:xfrm>
              <a:off x="5523977" y="3589390"/>
              <a:ext cx="25906" cy="46056"/>
            </a:xfrm>
            <a:custGeom>
              <a:avLst/>
              <a:gdLst>
                <a:gd name="T0" fmla="*/ 13 w 18"/>
                <a:gd name="T1" fmla="*/ 32 h 32"/>
                <a:gd name="T2" fmla="*/ 3 w 18"/>
                <a:gd name="T3" fmla="*/ 23 h 32"/>
                <a:gd name="T4" fmla="*/ 0 w 18"/>
                <a:gd name="T5" fmla="*/ 0 h 32"/>
                <a:gd name="T6" fmla="*/ 13 w 18"/>
                <a:gd name="T7" fmla="*/ 5 h 32"/>
                <a:gd name="T8" fmla="*/ 18 w 18"/>
                <a:gd name="T9" fmla="*/ 15 h 32"/>
                <a:gd name="T10" fmla="*/ 13 w 18"/>
                <a:gd name="T11" fmla="*/ 32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3" y="32"/>
                  </a:moveTo>
                  <a:lnTo>
                    <a:pt x="3" y="23"/>
                  </a:lnTo>
                  <a:lnTo>
                    <a:pt x="0" y="0"/>
                  </a:lnTo>
                  <a:lnTo>
                    <a:pt x="13" y="5"/>
                  </a:lnTo>
                  <a:lnTo>
                    <a:pt x="18" y="15"/>
                  </a:lnTo>
                  <a:lnTo>
                    <a:pt x="13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5" name="Freeform 174"/>
            <p:cNvSpPr>
              <a:spLocks/>
            </p:cNvSpPr>
            <p:nvPr/>
          </p:nvSpPr>
          <p:spPr bwMode="auto">
            <a:xfrm>
              <a:off x="5571471" y="3639763"/>
              <a:ext cx="192858" cy="246110"/>
            </a:xfrm>
            <a:custGeom>
              <a:avLst/>
              <a:gdLst>
                <a:gd name="T0" fmla="*/ 47 w 134"/>
                <a:gd name="T1" fmla="*/ 40 h 171"/>
                <a:gd name="T2" fmla="*/ 62 w 134"/>
                <a:gd name="T3" fmla="*/ 62 h 171"/>
                <a:gd name="T4" fmla="*/ 49 w 134"/>
                <a:gd name="T5" fmla="*/ 112 h 171"/>
                <a:gd name="T6" fmla="*/ 0 w 134"/>
                <a:gd name="T7" fmla="*/ 122 h 171"/>
                <a:gd name="T8" fmla="*/ 7 w 134"/>
                <a:gd name="T9" fmla="*/ 144 h 171"/>
                <a:gd name="T10" fmla="*/ 17 w 134"/>
                <a:gd name="T11" fmla="*/ 171 h 171"/>
                <a:gd name="T12" fmla="*/ 49 w 134"/>
                <a:gd name="T13" fmla="*/ 167 h 171"/>
                <a:gd name="T14" fmla="*/ 59 w 134"/>
                <a:gd name="T15" fmla="*/ 149 h 171"/>
                <a:gd name="T16" fmla="*/ 74 w 134"/>
                <a:gd name="T17" fmla="*/ 144 h 171"/>
                <a:gd name="T18" fmla="*/ 84 w 134"/>
                <a:gd name="T19" fmla="*/ 134 h 171"/>
                <a:gd name="T20" fmla="*/ 104 w 134"/>
                <a:gd name="T21" fmla="*/ 129 h 171"/>
                <a:gd name="T22" fmla="*/ 107 w 134"/>
                <a:gd name="T23" fmla="*/ 94 h 171"/>
                <a:gd name="T24" fmla="*/ 114 w 134"/>
                <a:gd name="T25" fmla="*/ 82 h 171"/>
                <a:gd name="T26" fmla="*/ 129 w 134"/>
                <a:gd name="T27" fmla="*/ 75 h 171"/>
                <a:gd name="T28" fmla="*/ 134 w 134"/>
                <a:gd name="T29" fmla="*/ 40 h 171"/>
                <a:gd name="T30" fmla="*/ 117 w 134"/>
                <a:gd name="T31" fmla="*/ 37 h 171"/>
                <a:gd name="T32" fmla="*/ 117 w 134"/>
                <a:gd name="T33" fmla="*/ 20 h 171"/>
                <a:gd name="T34" fmla="*/ 84 w 134"/>
                <a:gd name="T35" fmla="*/ 15 h 171"/>
                <a:gd name="T36" fmla="*/ 72 w 134"/>
                <a:gd name="T37" fmla="*/ 0 h 171"/>
                <a:gd name="T38" fmla="*/ 47 w 134"/>
                <a:gd name="T39" fmla="*/ 40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34" h="171">
                  <a:moveTo>
                    <a:pt x="47" y="40"/>
                  </a:moveTo>
                  <a:lnTo>
                    <a:pt x="62" y="62"/>
                  </a:lnTo>
                  <a:lnTo>
                    <a:pt x="49" y="112"/>
                  </a:lnTo>
                  <a:lnTo>
                    <a:pt x="0" y="122"/>
                  </a:lnTo>
                  <a:lnTo>
                    <a:pt x="7" y="144"/>
                  </a:lnTo>
                  <a:lnTo>
                    <a:pt x="17" y="171"/>
                  </a:lnTo>
                  <a:lnTo>
                    <a:pt x="49" y="167"/>
                  </a:lnTo>
                  <a:lnTo>
                    <a:pt x="59" y="149"/>
                  </a:lnTo>
                  <a:lnTo>
                    <a:pt x="74" y="144"/>
                  </a:lnTo>
                  <a:lnTo>
                    <a:pt x="84" y="134"/>
                  </a:lnTo>
                  <a:lnTo>
                    <a:pt x="104" y="129"/>
                  </a:lnTo>
                  <a:lnTo>
                    <a:pt x="107" y="94"/>
                  </a:lnTo>
                  <a:lnTo>
                    <a:pt x="114" y="82"/>
                  </a:lnTo>
                  <a:lnTo>
                    <a:pt x="129" y="75"/>
                  </a:lnTo>
                  <a:lnTo>
                    <a:pt x="134" y="40"/>
                  </a:lnTo>
                  <a:lnTo>
                    <a:pt x="117" y="37"/>
                  </a:lnTo>
                  <a:lnTo>
                    <a:pt x="117" y="20"/>
                  </a:lnTo>
                  <a:lnTo>
                    <a:pt x="84" y="15"/>
                  </a:lnTo>
                  <a:lnTo>
                    <a:pt x="72" y="0"/>
                  </a:lnTo>
                  <a:lnTo>
                    <a:pt x="47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6" name="Freeform 175"/>
            <p:cNvSpPr>
              <a:spLocks/>
            </p:cNvSpPr>
            <p:nvPr/>
          </p:nvSpPr>
          <p:spPr bwMode="auto">
            <a:xfrm>
              <a:off x="5542686" y="3608099"/>
              <a:ext cx="132410" cy="89233"/>
            </a:xfrm>
            <a:custGeom>
              <a:avLst/>
              <a:gdLst>
                <a:gd name="T0" fmla="*/ 0 w 92"/>
                <a:gd name="T1" fmla="*/ 19 h 62"/>
                <a:gd name="T2" fmla="*/ 12 w 92"/>
                <a:gd name="T3" fmla="*/ 59 h 62"/>
                <a:gd name="T4" fmla="*/ 67 w 92"/>
                <a:gd name="T5" fmla="*/ 62 h 62"/>
                <a:gd name="T6" fmla="*/ 92 w 92"/>
                <a:gd name="T7" fmla="*/ 22 h 62"/>
                <a:gd name="T8" fmla="*/ 87 w 92"/>
                <a:gd name="T9" fmla="*/ 0 h 62"/>
                <a:gd name="T10" fmla="*/ 72 w 92"/>
                <a:gd name="T11" fmla="*/ 17 h 62"/>
                <a:gd name="T12" fmla="*/ 59 w 92"/>
                <a:gd name="T13" fmla="*/ 32 h 62"/>
                <a:gd name="T14" fmla="*/ 30 w 92"/>
                <a:gd name="T15" fmla="*/ 37 h 62"/>
                <a:gd name="T16" fmla="*/ 15 w 92"/>
                <a:gd name="T17" fmla="*/ 29 h 62"/>
                <a:gd name="T18" fmla="*/ 0 w 92"/>
                <a:gd name="T19" fmla="*/ 19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2" h="62">
                  <a:moveTo>
                    <a:pt x="0" y="19"/>
                  </a:moveTo>
                  <a:lnTo>
                    <a:pt x="12" y="59"/>
                  </a:lnTo>
                  <a:lnTo>
                    <a:pt x="67" y="62"/>
                  </a:lnTo>
                  <a:lnTo>
                    <a:pt x="92" y="22"/>
                  </a:lnTo>
                  <a:lnTo>
                    <a:pt x="87" y="0"/>
                  </a:lnTo>
                  <a:lnTo>
                    <a:pt x="72" y="17"/>
                  </a:lnTo>
                  <a:lnTo>
                    <a:pt x="59" y="32"/>
                  </a:lnTo>
                  <a:lnTo>
                    <a:pt x="30" y="37"/>
                  </a:lnTo>
                  <a:lnTo>
                    <a:pt x="15" y="29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7" name="Freeform 176"/>
            <p:cNvSpPr>
              <a:spLocks/>
            </p:cNvSpPr>
            <p:nvPr/>
          </p:nvSpPr>
          <p:spPr bwMode="auto">
            <a:xfrm>
              <a:off x="5213102" y="3249730"/>
              <a:ext cx="250427" cy="286407"/>
            </a:xfrm>
            <a:custGeom>
              <a:avLst/>
              <a:gdLst>
                <a:gd name="T0" fmla="*/ 134 w 174"/>
                <a:gd name="T1" fmla="*/ 199 h 199"/>
                <a:gd name="T2" fmla="*/ 124 w 174"/>
                <a:gd name="T3" fmla="*/ 191 h 199"/>
                <a:gd name="T4" fmla="*/ 105 w 174"/>
                <a:gd name="T5" fmla="*/ 179 h 199"/>
                <a:gd name="T6" fmla="*/ 87 w 174"/>
                <a:gd name="T7" fmla="*/ 152 h 199"/>
                <a:gd name="T8" fmla="*/ 75 w 174"/>
                <a:gd name="T9" fmla="*/ 147 h 199"/>
                <a:gd name="T10" fmla="*/ 62 w 174"/>
                <a:gd name="T11" fmla="*/ 127 h 199"/>
                <a:gd name="T12" fmla="*/ 42 w 174"/>
                <a:gd name="T13" fmla="*/ 129 h 199"/>
                <a:gd name="T14" fmla="*/ 30 w 174"/>
                <a:gd name="T15" fmla="*/ 119 h 199"/>
                <a:gd name="T16" fmla="*/ 17 w 174"/>
                <a:gd name="T17" fmla="*/ 109 h 199"/>
                <a:gd name="T18" fmla="*/ 10 w 174"/>
                <a:gd name="T19" fmla="*/ 112 h 199"/>
                <a:gd name="T20" fmla="*/ 0 w 174"/>
                <a:gd name="T21" fmla="*/ 94 h 199"/>
                <a:gd name="T22" fmla="*/ 17 w 174"/>
                <a:gd name="T23" fmla="*/ 82 h 199"/>
                <a:gd name="T24" fmla="*/ 42 w 174"/>
                <a:gd name="T25" fmla="*/ 67 h 199"/>
                <a:gd name="T26" fmla="*/ 45 w 174"/>
                <a:gd name="T27" fmla="*/ 50 h 199"/>
                <a:gd name="T28" fmla="*/ 45 w 174"/>
                <a:gd name="T29" fmla="*/ 27 h 199"/>
                <a:gd name="T30" fmla="*/ 57 w 174"/>
                <a:gd name="T31" fmla="*/ 17 h 199"/>
                <a:gd name="T32" fmla="*/ 70 w 174"/>
                <a:gd name="T33" fmla="*/ 5 h 199"/>
                <a:gd name="T34" fmla="*/ 85 w 174"/>
                <a:gd name="T35" fmla="*/ 0 h 199"/>
                <a:gd name="T36" fmla="*/ 92 w 174"/>
                <a:gd name="T37" fmla="*/ 12 h 199"/>
                <a:gd name="T38" fmla="*/ 114 w 174"/>
                <a:gd name="T39" fmla="*/ 15 h 199"/>
                <a:gd name="T40" fmla="*/ 117 w 174"/>
                <a:gd name="T41" fmla="*/ 30 h 199"/>
                <a:gd name="T42" fmla="*/ 134 w 174"/>
                <a:gd name="T43" fmla="*/ 32 h 199"/>
                <a:gd name="T44" fmla="*/ 132 w 174"/>
                <a:gd name="T45" fmla="*/ 50 h 199"/>
                <a:gd name="T46" fmla="*/ 119 w 174"/>
                <a:gd name="T47" fmla="*/ 60 h 199"/>
                <a:gd name="T48" fmla="*/ 119 w 174"/>
                <a:gd name="T49" fmla="*/ 77 h 199"/>
                <a:gd name="T50" fmla="*/ 137 w 174"/>
                <a:gd name="T51" fmla="*/ 85 h 199"/>
                <a:gd name="T52" fmla="*/ 139 w 174"/>
                <a:gd name="T53" fmla="*/ 102 h 199"/>
                <a:gd name="T54" fmla="*/ 152 w 174"/>
                <a:gd name="T55" fmla="*/ 104 h 199"/>
                <a:gd name="T56" fmla="*/ 164 w 174"/>
                <a:gd name="T57" fmla="*/ 102 h 199"/>
                <a:gd name="T58" fmla="*/ 167 w 174"/>
                <a:gd name="T59" fmla="*/ 117 h 199"/>
                <a:gd name="T60" fmla="*/ 162 w 174"/>
                <a:gd name="T61" fmla="*/ 134 h 199"/>
                <a:gd name="T62" fmla="*/ 172 w 174"/>
                <a:gd name="T63" fmla="*/ 139 h 199"/>
                <a:gd name="T64" fmla="*/ 174 w 174"/>
                <a:gd name="T65" fmla="*/ 154 h 199"/>
                <a:gd name="T66" fmla="*/ 159 w 174"/>
                <a:gd name="T67" fmla="*/ 159 h 199"/>
                <a:gd name="T68" fmla="*/ 149 w 174"/>
                <a:gd name="T69" fmla="*/ 162 h 199"/>
                <a:gd name="T70" fmla="*/ 147 w 174"/>
                <a:gd name="T71" fmla="*/ 189 h 199"/>
                <a:gd name="T72" fmla="*/ 134 w 174"/>
                <a:gd name="T73" fmla="*/ 199 h 1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74" h="199">
                  <a:moveTo>
                    <a:pt x="134" y="199"/>
                  </a:moveTo>
                  <a:lnTo>
                    <a:pt x="124" y="191"/>
                  </a:lnTo>
                  <a:lnTo>
                    <a:pt x="105" y="179"/>
                  </a:lnTo>
                  <a:lnTo>
                    <a:pt x="87" y="152"/>
                  </a:lnTo>
                  <a:lnTo>
                    <a:pt x="75" y="147"/>
                  </a:lnTo>
                  <a:lnTo>
                    <a:pt x="62" y="127"/>
                  </a:lnTo>
                  <a:lnTo>
                    <a:pt x="42" y="129"/>
                  </a:lnTo>
                  <a:lnTo>
                    <a:pt x="30" y="119"/>
                  </a:lnTo>
                  <a:lnTo>
                    <a:pt x="17" y="109"/>
                  </a:lnTo>
                  <a:lnTo>
                    <a:pt x="10" y="112"/>
                  </a:lnTo>
                  <a:lnTo>
                    <a:pt x="0" y="94"/>
                  </a:lnTo>
                  <a:lnTo>
                    <a:pt x="17" y="82"/>
                  </a:lnTo>
                  <a:lnTo>
                    <a:pt x="42" y="67"/>
                  </a:lnTo>
                  <a:lnTo>
                    <a:pt x="45" y="50"/>
                  </a:lnTo>
                  <a:lnTo>
                    <a:pt x="45" y="27"/>
                  </a:lnTo>
                  <a:lnTo>
                    <a:pt x="57" y="17"/>
                  </a:lnTo>
                  <a:lnTo>
                    <a:pt x="70" y="5"/>
                  </a:lnTo>
                  <a:lnTo>
                    <a:pt x="85" y="0"/>
                  </a:lnTo>
                  <a:lnTo>
                    <a:pt x="92" y="12"/>
                  </a:lnTo>
                  <a:lnTo>
                    <a:pt x="114" y="15"/>
                  </a:lnTo>
                  <a:lnTo>
                    <a:pt x="117" y="30"/>
                  </a:lnTo>
                  <a:lnTo>
                    <a:pt x="134" y="32"/>
                  </a:lnTo>
                  <a:lnTo>
                    <a:pt x="132" y="50"/>
                  </a:lnTo>
                  <a:lnTo>
                    <a:pt x="119" y="60"/>
                  </a:lnTo>
                  <a:lnTo>
                    <a:pt x="119" y="77"/>
                  </a:lnTo>
                  <a:lnTo>
                    <a:pt x="137" y="85"/>
                  </a:lnTo>
                  <a:lnTo>
                    <a:pt x="139" y="102"/>
                  </a:lnTo>
                  <a:lnTo>
                    <a:pt x="152" y="104"/>
                  </a:lnTo>
                  <a:lnTo>
                    <a:pt x="164" y="102"/>
                  </a:lnTo>
                  <a:lnTo>
                    <a:pt x="167" y="117"/>
                  </a:lnTo>
                  <a:lnTo>
                    <a:pt x="162" y="134"/>
                  </a:lnTo>
                  <a:lnTo>
                    <a:pt x="172" y="139"/>
                  </a:lnTo>
                  <a:lnTo>
                    <a:pt x="174" y="154"/>
                  </a:lnTo>
                  <a:lnTo>
                    <a:pt x="159" y="159"/>
                  </a:lnTo>
                  <a:lnTo>
                    <a:pt x="149" y="162"/>
                  </a:lnTo>
                  <a:lnTo>
                    <a:pt x="147" y="189"/>
                  </a:lnTo>
                  <a:lnTo>
                    <a:pt x="134" y="1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8" name="Freeform 177"/>
            <p:cNvSpPr>
              <a:spLocks/>
            </p:cNvSpPr>
            <p:nvPr/>
          </p:nvSpPr>
          <p:spPr bwMode="auto">
            <a:xfrm>
              <a:off x="4257449" y="4080169"/>
              <a:ext cx="43177" cy="120896"/>
            </a:xfrm>
            <a:custGeom>
              <a:avLst/>
              <a:gdLst>
                <a:gd name="T0" fmla="*/ 18 w 30"/>
                <a:gd name="T1" fmla="*/ 84 h 84"/>
                <a:gd name="T2" fmla="*/ 13 w 30"/>
                <a:gd name="T3" fmla="*/ 62 h 84"/>
                <a:gd name="T4" fmla="*/ 10 w 30"/>
                <a:gd name="T5" fmla="*/ 37 h 84"/>
                <a:gd name="T6" fmla="*/ 10 w 30"/>
                <a:gd name="T7" fmla="*/ 22 h 84"/>
                <a:gd name="T8" fmla="*/ 3 w 30"/>
                <a:gd name="T9" fmla="*/ 17 h 84"/>
                <a:gd name="T10" fmla="*/ 0 w 30"/>
                <a:gd name="T11" fmla="*/ 0 h 84"/>
                <a:gd name="T12" fmla="*/ 10 w 30"/>
                <a:gd name="T13" fmla="*/ 0 h 84"/>
                <a:gd name="T14" fmla="*/ 18 w 30"/>
                <a:gd name="T15" fmla="*/ 12 h 84"/>
                <a:gd name="T16" fmla="*/ 23 w 30"/>
                <a:gd name="T17" fmla="*/ 35 h 84"/>
                <a:gd name="T18" fmla="*/ 23 w 30"/>
                <a:gd name="T19" fmla="*/ 59 h 84"/>
                <a:gd name="T20" fmla="*/ 30 w 30"/>
                <a:gd name="T21" fmla="*/ 82 h 84"/>
                <a:gd name="T22" fmla="*/ 18 w 30"/>
                <a:gd name="T2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0" h="84">
                  <a:moveTo>
                    <a:pt x="18" y="84"/>
                  </a:moveTo>
                  <a:lnTo>
                    <a:pt x="13" y="62"/>
                  </a:lnTo>
                  <a:lnTo>
                    <a:pt x="10" y="37"/>
                  </a:lnTo>
                  <a:lnTo>
                    <a:pt x="10" y="22"/>
                  </a:lnTo>
                  <a:lnTo>
                    <a:pt x="3" y="17"/>
                  </a:lnTo>
                  <a:lnTo>
                    <a:pt x="0" y="0"/>
                  </a:lnTo>
                  <a:lnTo>
                    <a:pt x="10" y="0"/>
                  </a:lnTo>
                  <a:lnTo>
                    <a:pt x="18" y="12"/>
                  </a:lnTo>
                  <a:lnTo>
                    <a:pt x="23" y="35"/>
                  </a:lnTo>
                  <a:lnTo>
                    <a:pt x="23" y="59"/>
                  </a:lnTo>
                  <a:lnTo>
                    <a:pt x="30" y="82"/>
                  </a:lnTo>
                  <a:lnTo>
                    <a:pt x="18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9" name="Freeform 178"/>
            <p:cNvSpPr>
              <a:spLocks/>
            </p:cNvSpPr>
            <p:nvPr/>
          </p:nvSpPr>
          <p:spPr bwMode="auto">
            <a:xfrm>
              <a:off x="3985433" y="4133421"/>
              <a:ext cx="115139" cy="132410"/>
            </a:xfrm>
            <a:custGeom>
              <a:avLst/>
              <a:gdLst>
                <a:gd name="T0" fmla="*/ 0 w 80"/>
                <a:gd name="T1" fmla="*/ 32 h 92"/>
                <a:gd name="T2" fmla="*/ 18 w 80"/>
                <a:gd name="T3" fmla="*/ 0 h 92"/>
                <a:gd name="T4" fmla="*/ 28 w 80"/>
                <a:gd name="T5" fmla="*/ 22 h 92"/>
                <a:gd name="T6" fmla="*/ 43 w 80"/>
                <a:gd name="T7" fmla="*/ 27 h 92"/>
                <a:gd name="T8" fmla="*/ 48 w 80"/>
                <a:gd name="T9" fmla="*/ 42 h 92"/>
                <a:gd name="T10" fmla="*/ 58 w 80"/>
                <a:gd name="T11" fmla="*/ 45 h 92"/>
                <a:gd name="T12" fmla="*/ 60 w 80"/>
                <a:gd name="T13" fmla="*/ 67 h 92"/>
                <a:gd name="T14" fmla="*/ 80 w 80"/>
                <a:gd name="T15" fmla="*/ 75 h 92"/>
                <a:gd name="T16" fmla="*/ 77 w 80"/>
                <a:gd name="T17" fmla="*/ 85 h 92"/>
                <a:gd name="T18" fmla="*/ 65 w 80"/>
                <a:gd name="T19" fmla="*/ 92 h 92"/>
                <a:gd name="T20" fmla="*/ 45 w 80"/>
                <a:gd name="T21" fmla="*/ 85 h 92"/>
                <a:gd name="T22" fmla="*/ 0 w 80"/>
                <a:gd name="T23" fmla="*/ 32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92">
                  <a:moveTo>
                    <a:pt x="0" y="32"/>
                  </a:moveTo>
                  <a:lnTo>
                    <a:pt x="18" y="0"/>
                  </a:lnTo>
                  <a:lnTo>
                    <a:pt x="28" y="22"/>
                  </a:lnTo>
                  <a:lnTo>
                    <a:pt x="43" y="27"/>
                  </a:lnTo>
                  <a:lnTo>
                    <a:pt x="48" y="42"/>
                  </a:lnTo>
                  <a:lnTo>
                    <a:pt x="58" y="45"/>
                  </a:lnTo>
                  <a:lnTo>
                    <a:pt x="60" y="67"/>
                  </a:lnTo>
                  <a:lnTo>
                    <a:pt x="80" y="75"/>
                  </a:lnTo>
                  <a:lnTo>
                    <a:pt x="77" y="85"/>
                  </a:lnTo>
                  <a:lnTo>
                    <a:pt x="65" y="92"/>
                  </a:lnTo>
                  <a:lnTo>
                    <a:pt x="45" y="85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0" name="Freeform 179"/>
            <p:cNvSpPr>
              <a:spLocks/>
            </p:cNvSpPr>
            <p:nvPr/>
          </p:nvSpPr>
          <p:spPr bwMode="auto">
            <a:xfrm>
              <a:off x="2161923" y="3707407"/>
              <a:ext cx="260501" cy="115139"/>
            </a:xfrm>
            <a:custGeom>
              <a:avLst/>
              <a:gdLst>
                <a:gd name="T0" fmla="*/ 0 w 181"/>
                <a:gd name="T1" fmla="*/ 23 h 80"/>
                <a:gd name="T2" fmla="*/ 17 w 181"/>
                <a:gd name="T3" fmla="*/ 8 h 80"/>
                <a:gd name="T4" fmla="*/ 32 w 181"/>
                <a:gd name="T5" fmla="*/ 0 h 80"/>
                <a:gd name="T6" fmla="*/ 57 w 181"/>
                <a:gd name="T7" fmla="*/ 5 h 80"/>
                <a:gd name="T8" fmla="*/ 92 w 181"/>
                <a:gd name="T9" fmla="*/ 13 h 80"/>
                <a:gd name="T10" fmla="*/ 121 w 181"/>
                <a:gd name="T11" fmla="*/ 28 h 80"/>
                <a:gd name="T12" fmla="*/ 174 w 181"/>
                <a:gd name="T13" fmla="*/ 52 h 80"/>
                <a:gd name="T14" fmla="*/ 181 w 181"/>
                <a:gd name="T15" fmla="*/ 65 h 80"/>
                <a:gd name="T16" fmla="*/ 156 w 181"/>
                <a:gd name="T17" fmla="*/ 80 h 80"/>
                <a:gd name="T18" fmla="*/ 119 w 181"/>
                <a:gd name="T19" fmla="*/ 75 h 80"/>
                <a:gd name="T20" fmla="*/ 121 w 181"/>
                <a:gd name="T21" fmla="*/ 57 h 80"/>
                <a:gd name="T22" fmla="*/ 109 w 181"/>
                <a:gd name="T23" fmla="*/ 45 h 80"/>
                <a:gd name="T24" fmla="*/ 84 w 181"/>
                <a:gd name="T25" fmla="*/ 25 h 80"/>
                <a:gd name="T26" fmla="*/ 72 w 181"/>
                <a:gd name="T27" fmla="*/ 20 h 80"/>
                <a:gd name="T28" fmla="*/ 19 w 181"/>
                <a:gd name="T29" fmla="*/ 18 h 80"/>
                <a:gd name="T30" fmla="*/ 0 w 181"/>
                <a:gd name="T31" fmla="*/ 23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81" h="80">
                  <a:moveTo>
                    <a:pt x="0" y="23"/>
                  </a:moveTo>
                  <a:lnTo>
                    <a:pt x="17" y="8"/>
                  </a:lnTo>
                  <a:lnTo>
                    <a:pt x="32" y="0"/>
                  </a:lnTo>
                  <a:lnTo>
                    <a:pt x="57" y="5"/>
                  </a:lnTo>
                  <a:lnTo>
                    <a:pt x="92" y="13"/>
                  </a:lnTo>
                  <a:lnTo>
                    <a:pt x="121" y="28"/>
                  </a:lnTo>
                  <a:lnTo>
                    <a:pt x="174" y="52"/>
                  </a:lnTo>
                  <a:lnTo>
                    <a:pt x="181" y="65"/>
                  </a:lnTo>
                  <a:lnTo>
                    <a:pt x="156" y="80"/>
                  </a:lnTo>
                  <a:lnTo>
                    <a:pt x="119" y="75"/>
                  </a:lnTo>
                  <a:lnTo>
                    <a:pt x="121" y="57"/>
                  </a:lnTo>
                  <a:lnTo>
                    <a:pt x="109" y="45"/>
                  </a:lnTo>
                  <a:lnTo>
                    <a:pt x="84" y="25"/>
                  </a:lnTo>
                  <a:lnTo>
                    <a:pt x="72" y="20"/>
                  </a:lnTo>
                  <a:lnTo>
                    <a:pt x="19" y="18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1" name="Freeform 180"/>
            <p:cNvSpPr>
              <a:spLocks/>
            </p:cNvSpPr>
            <p:nvPr/>
          </p:nvSpPr>
          <p:spPr bwMode="auto">
            <a:xfrm>
              <a:off x="5099402" y="4663059"/>
              <a:ext cx="82037" cy="197175"/>
            </a:xfrm>
            <a:custGeom>
              <a:avLst/>
              <a:gdLst>
                <a:gd name="T0" fmla="*/ 0 w 57"/>
                <a:gd name="T1" fmla="*/ 87 h 137"/>
                <a:gd name="T2" fmla="*/ 2 w 57"/>
                <a:gd name="T3" fmla="*/ 55 h 137"/>
                <a:gd name="T4" fmla="*/ 12 w 57"/>
                <a:gd name="T5" fmla="*/ 47 h 137"/>
                <a:gd name="T6" fmla="*/ 7 w 57"/>
                <a:gd name="T7" fmla="*/ 25 h 137"/>
                <a:gd name="T8" fmla="*/ 9 w 57"/>
                <a:gd name="T9" fmla="*/ 0 h 137"/>
                <a:gd name="T10" fmla="*/ 17 w 57"/>
                <a:gd name="T11" fmla="*/ 5 h 137"/>
                <a:gd name="T12" fmla="*/ 32 w 57"/>
                <a:gd name="T13" fmla="*/ 12 h 137"/>
                <a:gd name="T14" fmla="*/ 34 w 57"/>
                <a:gd name="T15" fmla="*/ 30 h 137"/>
                <a:gd name="T16" fmla="*/ 32 w 57"/>
                <a:gd name="T17" fmla="*/ 47 h 137"/>
                <a:gd name="T18" fmla="*/ 29 w 57"/>
                <a:gd name="T19" fmla="*/ 60 h 137"/>
                <a:gd name="T20" fmla="*/ 37 w 57"/>
                <a:gd name="T21" fmla="*/ 69 h 137"/>
                <a:gd name="T22" fmla="*/ 42 w 57"/>
                <a:gd name="T23" fmla="*/ 74 h 137"/>
                <a:gd name="T24" fmla="*/ 49 w 57"/>
                <a:gd name="T25" fmla="*/ 84 h 137"/>
                <a:gd name="T26" fmla="*/ 54 w 57"/>
                <a:gd name="T27" fmla="*/ 97 h 137"/>
                <a:gd name="T28" fmla="*/ 57 w 57"/>
                <a:gd name="T29" fmla="*/ 114 h 137"/>
                <a:gd name="T30" fmla="*/ 44 w 57"/>
                <a:gd name="T31" fmla="*/ 122 h 137"/>
                <a:gd name="T32" fmla="*/ 39 w 57"/>
                <a:gd name="T33" fmla="*/ 134 h 137"/>
                <a:gd name="T34" fmla="*/ 27 w 57"/>
                <a:gd name="T35" fmla="*/ 137 h 137"/>
                <a:gd name="T36" fmla="*/ 19 w 57"/>
                <a:gd name="T37" fmla="*/ 129 h 137"/>
                <a:gd name="T38" fmla="*/ 24 w 57"/>
                <a:gd name="T39" fmla="*/ 112 h 137"/>
                <a:gd name="T40" fmla="*/ 27 w 57"/>
                <a:gd name="T41" fmla="*/ 97 h 137"/>
                <a:gd name="T42" fmla="*/ 12 w 57"/>
                <a:gd name="T43" fmla="*/ 94 h 137"/>
                <a:gd name="T44" fmla="*/ 0 w 57"/>
                <a:gd name="T45" fmla="*/ 87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57" h="137">
                  <a:moveTo>
                    <a:pt x="0" y="87"/>
                  </a:moveTo>
                  <a:lnTo>
                    <a:pt x="2" y="55"/>
                  </a:lnTo>
                  <a:lnTo>
                    <a:pt x="12" y="47"/>
                  </a:lnTo>
                  <a:lnTo>
                    <a:pt x="7" y="25"/>
                  </a:lnTo>
                  <a:lnTo>
                    <a:pt x="9" y="0"/>
                  </a:lnTo>
                  <a:lnTo>
                    <a:pt x="17" y="5"/>
                  </a:lnTo>
                  <a:lnTo>
                    <a:pt x="32" y="12"/>
                  </a:lnTo>
                  <a:lnTo>
                    <a:pt x="34" y="30"/>
                  </a:lnTo>
                  <a:lnTo>
                    <a:pt x="32" y="47"/>
                  </a:lnTo>
                  <a:lnTo>
                    <a:pt x="29" y="60"/>
                  </a:lnTo>
                  <a:lnTo>
                    <a:pt x="37" y="69"/>
                  </a:lnTo>
                  <a:lnTo>
                    <a:pt x="42" y="74"/>
                  </a:lnTo>
                  <a:lnTo>
                    <a:pt x="49" y="84"/>
                  </a:lnTo>
                  <a:lnTo>
                    <a:pt x="54" y="97"/>
                  </a:lnTo>
                  <a:lnTo>
                    <a:pt x="57" y="114"/>
                  </a:lnTo>
                  <a:lnTo>
                    <a:pt x="44" y="122"/>
                  </a:lnTo>
                  <a:lnTo>
                    <a:pt x="39" y="134"/>
                  </a:lnTo>
                  <a:lnTo>
                    <a:pt x="27" y="137"/>
                  </a:lnTo>
                  <a:lnTo>
                    <a:pt x="19" y="129"/>
                  </a:lnTo>
                  <a:lnTo>
                    <a:pt x="24" y="112"/>
                  </a:lnTo>
                  <a:lnTo>
                    <a:pt x="27" y="97"/>
                  </a:lnTo>
                  <a:lnTo>
                    <a:pt x="12" y="94"/>
                  </a:lnTo>
                  <a:lnTo>
                    <a:pt x="0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2" name="Freeform 181"/>
            <p:cNvSpPr>
              <a:spLocks/>
            </p:cNvSpPr>
            <p:nvPr/>
          </p:nvSpPr>
          <p:spPr bwMode="auto">
            <a:xfrm>
              <a:off x="4916619" y="4824254"/>
              <a:ext cx="185661" cy="221642"/>
            </a:xfrm>
            <a:custGeom>
              <a:avLst/>
              <a:gdLst>
                <a:gd name="T0" fmla="*/ 79 w 129"/>
                <a:gd name="T1" fmla="*/ 0 h 154"/>
                <a:gd name="T2" fmla="*/ 72 w 129"/>
                <a:gd name="T3" fmla="*/ 10 h 154"/>
                <a:gd name="T4" fmla="*/ 57 w 129"/>
                <a:gd name="T5" fmla="*/ 12 h 154"/>
                <a:gd name="T6" fmla="*/ 54 w 129"/>
                <a:gd name="T7" fmla="*/ 25 h 154"/>
                <a:gd name="T8" fmla="*/ 47 w 129"/>
                <a:gd name="T9" fmla="*/ 30 h 154"/>
                <a:gd name="T10" fmla="*/ 37 w 129"/>
                <a:gd name="T11" fmla="*/ 32 h 154"/>
                <a:gd name="T12" fmla="*/ 35 w 129"/>
                <a:gd name="T13" fmla="*/ 44 h 154"/>
                <a:gd name="T14" fmla="*/ 25 w 129"/>
                <a:gd name="T15" fmla="*/ 49 h 154"/>
                <a:gd name="T16" fmla="*/ 10 w 129"/>
                <a:gd name="T17" fmla="*/ 49 h 154"/>
                <a:gd name="T18" fmla="*/ 0 w 129"/>
                <a:gd name="T19" fmla="*/ 52 h 154"/>
                <a:gd name="T20" fmla="*/ 7 w 129"/>
                <a:gd name="T21" fmla="*/ 79 h 154"/>
                <a:gd name="T22" fmla="*/ 7 w 129"/>
                <a:gd name="T23" fmla="*/ 92 h 154"/>
                <a:gd name="T24" fmla="*/ 17 w 129"/>
                <a:gd name="T25" fmla="*/ 97 h 154"/>
                <a:gd name="T26" fmla="*/ 22 w 129"/>
                <a:gd name="T27" fmla="*/ 112 h 154"/>
                <a:gd name="T28" fmla="*/ 32 w 129"/>
                <a:gd name="T29" fmla="*/ 114 h 154"/>
                <a:gd name="T30" fmla="*/ 37 w 129"/>
                <a:gd name="T31" fmla="*/ 131 h 154"/>
                <a:gd name="T32" fmla="*/ 45 w 129"/>
                <a:gd name="T33" fmla="*/ 134 h 154"/>
                <a:gd name="T34" fmla="*/ 62 w 129"/>
                <a:gd name="T35" fmla="*/ 141 h 154"/>
                <a:gd name="T36" fmla="*/ 74 w 129"/>
                <a:gd name="T37" fmla="*/ 146 h 154"/>
                <a:gd name="T38" fmla="*/ 79 w 129"/>
                <a:gd name="T39" fmla="*/ 154 h 154"/>
                <a:gd name="T40" fmla="*/ 99 w 129"/>
                <a:gd name="T41" fmla="*/ 154 h 154"/>
                <a:gd name="T42" fmla="*/ 102 w 129"/>
                <a:gd name="T43" fmla="*/ 139 h 154"/>
                <a:gd name="T44" fmla="*/ 112 w 129"/>
                <a:gd name="T45" fmla="*/ 134 h 154"/>
                <a:gd name="T46" fmla="*/ 112 w 129"/>
                <a:gd name="T47" fmla="*/ 109 h 154"/>
                <a:gd name="T48" fmla="*/ 124 w 129"/>
                <a:gd name="T49" fmla="*/ 102 h 154"/>
                <a:gd name="T50" fmla="*/ 129 w 129"/>
                <a:gd name="T51" fmla="*/ 92 h 154"/>
                <a:gd name="T52" fmla="*/ 124 w 129"/>
                <a:gd name="T53" fmla="*/ 77 h 154"/>
                <a:gd name="T54" fmla="*/ 122 w 129"/>
                <a:gd name="T55" fmla="*/ 62 h 154"/>
                <a:gd name="T56" fmla="*/ 129 w 129"/>
                <a:gd name="T57" fmla="*/ 40 h 154"/>
                <a:gd name="T58" fmla="*/ 119 w 129"/>
                <a:gd name="T59" fmla="*/ 20 h 154"/>
                <a:gd name="T60" fmla="*/ 94 w 129"/>
                <a:gd name="T61" fmla="*/ 17 h 154"/>
                <a:gd name="T62" fmla="*/ 87 w 129"/>
                <a:gd name="T63" fmla="*/ 2 h 154"/>
                <a:gd name="T64" fmla="*/ 79 w 129"/>
                <a:gd name="T65" fmla="*/ 0 h 1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29" h="154">
                  <a:moveTo>
                    <a:pt x="79" y="0"/>
                  </a:moveTo>
                  <a:lnTo>
                    <a:pt x="72" y="10"/>
                  </a:lnTo>
                  <a:lnTo>
                    <a:pt x="57" y="12"/>
                  </a:lnTo>
                  <a:lnTo>
                    <a:pt x="54" y="25"/>
                  </a:lnTo>
                  <a:lnTo>
                    <a:pt x="47" y="30"/>
                  </a:lnTo>
                  <a:lnTo>
                    <a:pt x="37" y="32"/>
                  </a:lnTo>
                  <a:lnTo>
                    <a:pt x="35" y="44"/>
                  </a:lnTo>
                  <a:lnTo>
                    <a:pt x="25" y="49"/>
                  </a:lnTo>
                  <a:lnTo>
                    <a:pt x="10" y="49"/>
                  </a:lnTo>
                  <a:lnTo>
                    <a:pt x="0" y="52"/>
                  </a:lnTo>
                  <a:lnTo>
                    <a:pt x="7" y="79"/>
                  </a:lnTo>
                  <a:lnTo>
                    <a:pt x="7" y="92"/>
                  </a:lnTo>
                  <a:lnTo>
                    <a:pt x="17" y="97"/>
                  </a:lnTo>
                  <a:lnTo>
                    <a:pt x="22" y="112"/>
                  </a:lnTo>
                  <a:lnTo>
                    <a:pt x="32" y="114"/>
                  </a:lnTo>
                  <a:lnTo>
                    <a:pt x="37" y="131"/>
                  </a:lnTo>
                  <a:lnTo>
                    <a:pt x="45" y="134"/>
                  </a:lnTo>
                  <a:lnTo>
                    <a:pt x="62" y="141"/>
                  </a:lnTo>
                  <a:lnTo>
                    <a:pt x="74" y="146"/>
                  </a:lnTo>
                  <a:lnTo>
                    <a:pt x="79" y="154"/>
                  </a:lnTo>
                  <a:lnTo>
                    <a:pt x="99" y="154"/>
                  </a:lnTo>
                  <a:lnTo>
                    <a:pt x="102" y="139"/>
                  </a:lnTo>
                  <a:lnTo>
                    <a:pt x="112" y="134"/>
                  </a:lnTo>
                  <a:lnTo>
                    <a:pt x="112" y="109"/>
                  </a:lnTo>
                  <a:lnTo>
                    <a:pt x="124" y="102"/>
                  </a:lnTo>
                  <a:lnTo>
                    <a:pt x="129" y="92"/>
                  </a:lnTo>
                  <a:lnTo>
                    <a:pt x="124" y="77"/>
                  </a:lnTo>
                  <a:lnTo>
                    <a:pt x="122" y="62"/>
                  </a:lnTo>
                  <a:lnTo>
                    <a:pt x="129" y="40"/>
                  </a:lnTo>
                  <a:lnTo>
                    <a:pt x="119" y="20"/>
                  </a:lnTo>
                  <a:lnTo>
                    <a:pt x="94" y="17"/>
                  </a:lnTo>
                  <a:lnTo>
                    <a:pt x="87" y="2"/>
                  </a:lnTo>
                  <a:lnTo>
                    <a:pt x="79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3" name="Freeform 182"/>
            <p:cNvSpPr>
              <a:spLocks/>
            </p:cNvSpPr>
            <p:nvPr/>
          </p:nvSpPr>
          <p:spPr bwMode="auto">
            <a:xfrm>
              <a:off x="3860220" y="3546213"/>
              <a:ext cx="264819" cy="404425"/>
            </a:xfrm>
            <a:custGeom>
              <a:avLst/>
              <a:gdLst>
                <a:gd name="T0" fmla="*/ 137 w 184"/>
                <a:gd name="T1" fmla="*/ 0 h 281"/>
                <a:gd name="T2" fmla="*/ 132 w 184"/>
                <a:gd name="T3" fmla="*/ 25 h 281"/>
                <a:gd name="T4" fmla="*/ 122 w 184"/>
                <a:gd name="T5" fmla="*/ 35 h 281"/>
                <a:gd name="T6" fmla="*/ 80 w 184"/>
                <a:gd name="T7" fmla="*/ 40 h 281"/>
                <a:gd name="T8" fmla="*/ 80 w 184"/>
                <a:gd name="T9" fmla="*/ 100 h 281"/>
                <a:gd name="T10" fmla="*/ 65 w 184"/>
                <a:gd name="T11" fmla="*/ 95 h 281"/>
                <a:gd name="T12" fmla="*/ 55 w 184"/>
                <a:gd name="T13" fmla="*/ 105 h 281"/>
                <a:gd name="T14" fmla="*/ 50 w 184"/>
                <a:gd name="T15" fmla="*/ 120 h 281"/>
                <a:gd name="T16" fmla="*/ 48 w 184"/>
                <a:gd name="T17" fmla="*/ 145 h 281"/>
                <a:gd name="T18" fmla="*/ 33 w 184"/>
                <a:gd name="T19" fmla="*/ 145 h 281"/>
                <a:gd name="T20" fmla="*/ 8 w 184"/>
                <a:gd name="T21" fmla="*/ 142 h 281"/>
                <a:gd name="T22" fmla="*/ 0 w 184"/>
                <a:gd name="T23" fmla="*/ 140 h 281"/>
                <a:gd name="T24" fmla="*/ 0 w 184"/>
                <a:gd name="T25" fmla="*/ 194 h 281"/>
                <a:gd name="T26" fmla="*/ 5 w 184"/>
                <a:gd name="T27" fmla="*/ 199 h 281"/>
                <a:gd name="T28" fmla="*/ 5 w 184"/>
                <a:gd name="T29" fmla="*/ 241 h 281"/>
                <a:gd name="T30" fmla="*/ 20 w 184"/>
                <a:gd name="T31" fmla="*/ 239 h 281"/>
                <a:gd name="T32" fmla="*/ 28 w 184"/>
                <a:gd name="T33" fmla="*/ 249 h 281"/>
                <a:gd name="T34" fmla="*/ 40 w 184"/>
                <a:gd name="T35" fmla="*/ 254 h 281"/>
                <a:gd name="T36" fmla="*/ 55 w 184"/>
                <a:gd name="T37" fmla="*/ 274 h 281"/>
                <a:gd name="T38" fmla="*/ 68 w 184"/>
                <a:gd name="T39" fmla="*/ 281 h 281"/>
                <a:gd name="T40" fmla="*/ 85 w 184"/>
                <a:gd name="T41" fmla="*/ 259 h 281"/>
                <a:gd name="T42" fmla="*/ 100 w 184"/>
                <a:gd name="T43" fmla="*/ 266 h 281"/>
                <a:gd name="T44" fmla="*/ 162 w 184"/>
                <a:gd name="T45" fmla="*/ 271 h 281"/>
                <a:gd name="T46" fmla="*/ 184 w 184"/>
                <a:gd name="T47" fmla="*/ 269 h 281"/>
                <a:gd name="T48" fmla="*/ 184 w 184"/>
                <a:gd name="T49" fmla="*/ 246 h 281"/>
                <a:gd name="T50" fmla="*/ 169 w 184"/>
                <a:gd name="T51" fmla="*/ 241 h 281"/>
                <a:gd name="T52" fmla="*/ 172 w 184"/>
                <a:gd name="T53" fmla="*/ 105 h 281"/>
                <a:gd name="T54" fmla="*/ 162 w 184"/>
                <a:gd name="T55" fmla="*/ 92 h 281"/>
                <a:gd name="T56" fmla="*/ 162 w 184"/>
                <a:gd name="T57" fmla="*/ 65 h 281"/>
                <a:gd name="T58" fmla="*/ 174 w 184"/>
                <a:gd name="T59" fmla="*/ 62 h 281"/>
                <a:gd name="T60" fmla="*/ 174 w 184"/>
                <a:gd name="T61" fmla="*/ 45 h 281"/>
                <a:gd name="T62" fmla="*/ 137 w 184"/>
                <a:gd name="T63" fmla="*/ 0 h 2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84" h="281">
                  <a:moveTo>
                    <a:pt x="137" y="0"/>
                  </a:moveTo>
                  <a:lnTo>
                    <a:pt x="132" y="25"/>
                  </a:lnTo>
                  <a:lnTo>
                    <a:pt x="122" y="35"/>
                  </a:lnTo>
                  <a:lnTo>
                    <a:pt x="80" y="40"/>
                  </a:lnTo>
                  <a:lnTo>
                    <a:pt x="80" y="100"/>
                  </a:lnTo>
                  <a:lnTo>
                    <a:pt x="65" y="95"/>
                  </a:lnTo>
                  <a:lnTo>
                    <a:pt x="55" y="105"/>
                  </a:lnTo>
                  <a:lnTo>
                    <a:pt x="50" y="120"/>
                  </a:lnTo>
                  <a:lnTo>
                    <a:pt x="48" y="145"/>
                  </a:lnTo>
                  <a:lnTo>
                    <a:pt x="33" y="145"/>
                  </a:lnTo>
                  <a:lnTo>
                    <a:pt x="8" y="142"/>
                  </a:lnTo>
                  <a:lnTo>
                    <a:pt x="0" y="140"/>
                  </a:lnTo>
                  <a:lnTo>
                    <a:pt x="0" y="194"/>
                  </a:lnTo>
                  <a:lnTo>
                    <a:pt x="5" y="199"/>
                  </a:lnTo>
                  <a:lnTo>
                    <a:pt x="5" y="241"/>
                  </a:lnTo>
                  <a:lnTo>
                    <a:pt x="20" y="239"/>
                  </a:lnTo>
                  <a:lnTo>
                    <a:pt x="28" y="249"/>
                  </a:lnTo>
                  <a:lnTo>
                    <a:pt x="40" y="254"/>
                  </a:lnTo>
                  <a:lnTo>
                    <a:pt x="55" y="274"/>
                  </a:lnTo>
                  <a:lnTo>
                    <a:pt x="68" y="281"/>
                  </a:lnTo>
                  <a:lnTo>
                    <a:pt x="85" y="259"/>
                  </a:lnTo>
                  <a:lnTo>
                    <a:pt x="100" y="266"/>
                  </a:lnTo>
                  <a:lnTo>
                    <a:pt x="162" y="271"/>
                  </a:lnTo>
                  <a:lnTo>
                    <a:pt x="184" y="269"/>
                  </a:lnTo>
                  <a:lnTo>
                    <a:pt x="184" y="246"/>
                  </a:lnTo>
                  <a:lnTo>
                    <a:pt x="169" y="241"/>
                  </a:lnTo>
                  <a:lnTo>
                    <a:pt x="172" y="105"/>
                  </a:lnTo>
                  <a:lnTo>
                    <a:pt x="162" y="92"/>
                  </a:lnTo>
                  <a:lnTo>
                    <a:pt x="162" y="65"/>
                  </a:lnTo>
                  <a:lnTo>
                    <a:pt x="174" y="62"/>
                  </a:lnTo>
                  <a:lnTo>
                    <a:pt x="174" y="45"/>
                  </a:lnTo>
                  <a:lnTo>
                    <a:pt x="13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4" name="Freeform 183"/>
            <p:cNvSpPr>
              <a:spLocks/>
            </p:cNvSpPr>
            <p:nvPr/>
          </p:nvSpPr>
          <p:spPr bwMode="auto">
            <a:xfrm>
              <a:off x="4558249" y="4265830"/>
              <a:ext cx="178465" cy="253305"/>
            </a:xfrm>
            <a:custGeom>
              <a:avLst/>
              <a:gdLst>
                <a:gd name="T0" fmla="*/ 0 w 124"/>
                <a:gd name="T1" fmla="*/ 164 h 176"/>
                <a:gd name="T2" fmla="*/ 5 w 124"/>
                <a:gd name="T3" fmla="*/ 154 h 176"/>
                <a:gd name="T4" fmla="*/ 13 w 124"/>
                <a:gd name="T5" fmla="*/ 139 h 176"/>
                <a:gd name="T6" fmla="*/ 3 w 124"/>
                <a:gd name="T7" fmla="*/ 134 h 176"/>
                <a:gd name="T8" fmla="*/ 3 w 124"/>
                <a:gd name="T9" fmla="*/ 124 h 176"/>
                <a:gd name="T10" fmla="*/ 15 w 124"/>
                <a:gd name="T11" fmla="*/ 119 h 176"/>
                <a:gd name="T12" fmla="*/ 23 w 124"/>
                <a:gd name="T13" fmla="*/ 117 h 176"/>
                <a:gd name="T14" fmla="*/ 32 w 124"/>
                <a:gd name="T15" fmla="*/ 129 h 176"/>
                <a:gd name="T16" fmla="*/ 47 w 124"/>
                <a:gd name="T17" fmla="*/ 122 h 176"/>
                <a:gd name="T18" fmla="*/ 60 w 124"/>
                <a:gd name="T19" fmla="*/ 104 h 176"/>
                <a:gd name="T20" fmla="*/ 55 w 124"/>
                <a:gd name="T21" fmla="*/ 89 h 176"/>
                <a:gd name="T22" fmla="*/ 47 w 124"/>
                <a:gd name="T23" fmla="*/ 80 h 176"/>
                <a:gd name="T24" fmla="*/ 42 w 124"/>
                <a:gd name="T25" fmla="*/ 67 h 176"/>
                <a:gd name="T26" fmla="*/ 45 w 124"/>
                <a:gd name="T27" fmla="*/ 57 h 176"/>
                <a:gd name="T28" fmla="*/ 42 w 124"/>
                <a:gd name="T29" fmla="*/ 47 h 176"/>
                <a:gd name="T30" fmla="*/ 30 w 124"/>
                <a:gd name="T31" fmla="*/ 47 h 176"/>
                <a:gd name="T32" fmla="*/ 30 w 124"/>
                <a:gd name="T33" fmla="*/ 30 h 176"/>
                <a:gd name="T34" fmla="*/ 85 w 124"/>
                <a:gd name="T35" fmla="*/ 22 h 176"/>
                <a:gd name="T36" fmla="*/ 92 w 124"/>
                <a:gd name="T37" fmla="*/ 12 h 176"/>
                <a:gd name="T38" fmla="*/ 102 w 124"/>
                <a:gd name="T39" fmla="*/ 2 h 176"/>
                <a:gd name="T40" fmla="*/ 115 w 124"/>
                <a:gd name="T41" fmla="*/ 0 h 176"/>
                <a:gd name="T42" fmla="*/ 124 w 124"/>
                <a:gd name="T43" fmla="*/ 5 h 176"/>
                <a:gd name="T44" fmla="*/ 122 w 124"/>
                <a:gd name="T45" fmla="*/ 27 h 176"/>
                <a:gd name="T46" fmla="*/ 117 w 124"/>
                <a:gd name="T47" fmla="*/ 32 h 176"/>
                <a:gd name="T48" fmla="*/ 115 w 124"/>
                <a:gd name="T49" fmla="*/ 87 h 176"/>
                <a:gd name="T50" fmla="*/ 110 w 124"/>
                <a:gd name="T51" fmla="*/ 94 h 176"/>
                <a:gd name="T52" fmla="*/ 102 w 124"/>
                <a:gd name="T53" fmla="*/ 102 h 176"/>
                <a:gd name="T54" fmla="*/ 102 w 124"/>
                <a:gd name="T55" fmla="*/ 127 h 176"/>
                <a:gd name="T56" fmla="*/ 87 w 124"/>
                <a:gd name="T57" fmla="*/ 129 h 176"/>
                <a:gd name="T58" fmla="*/ 85 w 124"/>
                <a:gd name="T59" fmla="*/ 157 h 176"/>
                <a:gd name="T60" fmla="*/ 67 w 124"/>
                <a:gd name="T61" fmla="*/ 164 h 176"/>
                <a:gd name="T62" fmla="*/ 62 w 124"/>
                <a:gd name="T63" fmla="*/ 171 h 176"/>
                <a:gd name="T64" fmla="*/ 47 w 124"/>
                <a:gd name="T65" fmla="*/ 171 h 176"/>
                <a:gd name="T66" fmla="*/ 40 w 124"/>
                <a:gd name="T67" fmla="*/ 167 h 176"/>
                <a:gd name="T68" fmla="*/ 28 w 124"/>
                <a:gd name="T69" fmla="*/ 171 h 176"/>
                <a:gd name="T70" fmla="*/ 18 w 124"/>
                <a:gd name="T71" fmla="*/ 174 h 176"/>
                <a:gd name="T72" fmla="*/ 10 w 124"/>
                <a:gd name="T73" fmla="*/ 176 h 176"/>
                <a:gd name="T74" fmla="*/ 10 w 124"/>
                <a:gd name="T75" fmla="*/ 169 h 176"/>
                <a:gd name="T76" fmla="*/ 0 w 124"/>
                <a:gd name="T77" fmla="*/ 164 h 1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24" h="176">
                  <a:moveTo>
                    <a:pt x="0" y="164"/>
                  </a:moveTo>
                  <a:lnTo>
                    <a:pt x="5" y="154"/>
                  </a:lnTo>
                  <a:lnTo>
                    <a:pt x="13" y="139"/>
                  </a:lnTo>
                  <a:lnTo>
                    <a:pt x="3" y="134"/>
                  </a:lnTo>
                  <a:lnTo>
                    <a:pt x="3" y="124"/>
                  </a:lnTo>
                  <a:lnTo>
                    <a:pt x="15" y="119"/>
                  </a:lnTo>
                  <a:lnTo>
                    <a:pt x="23" y="117"/>
                  </a:lnTo>
                  <a:lnTo>
                    <a:pt x="32" y="129"/>
                  </a:lnTo>
                  <a:lnTo>
                    <a:pt x="47" y="122"/>
                  </a:lnTo>
                  <a:lnTo>
                    <a:pt x="60" y="104"/>
                  </a:lnTo>
                  <a:lnTo>
                    <a:pt x="55" y="89"/>
                  </a:lnTo>
                  <a:lnTo>
                    <a:pt x="47" y="80"/>
                  </a:lnTo>
                  <a:lnTo>
                    <a:pt x="42" y="67"/>
                  </a:lnTo>
                  <a:lnTo>
                    <a:pt x="45" y="57"/>
                  </a:lnTo>
                  <a:lnTo>
                    <a:pt x="42" y="47"/>
                  </a:lnTo>
                  <a:lnTo>
                    <a:pt x="30" y="47"/>
                  </a:lnTo>
                  <a:lnTo>
                    <a:pt x="30" y="30"/>
                  </a:lnTo>
                  <a:lnTo>
                    <a:pt x="85" y="22"/>
                  </a:lnTo>
                  <a:lnTo>
                    <a:pt x="92" y="12"/>
                  </a:lnTo>
                  <a:lnTo>
                    <a:pt x="102" y="2"/>
                  </a:lnTo>
                  <a:lnTo>
                    <a:pt x="115" y="0"/>
                  </a:lnTo>
                  <a:lnTo>
                    <a:pt x="124" y="5"/>
                  </a:lnTo>
                  <a:lnTo>
                    <a:pt x="122" y="27"/>
                  </a:lnTo>
                  <a:lnTo>
                    <a:pt x="117" y="32"/>
                  </a:lnTo>
                  <a:lnTo>
                    <a:pt x="115" y="87"/>
                  </a:lnTo>
                  <a:lnTo>
                    <a:pt x="110" y="94"/>
                  </a:lnTo>
                  <a:lnTo>
                    <a:pt x="102" y="102"/>
                  </a:lnTo>
                  <a:lnTo>
                    <a:pt x="102" y="127"/>
                  </a:lnTo>
                  <a:lnTo>
                    <a:pt x="87" y="129"/>
                  </a:lnTo>
                  <a:lnTo>
                    <a:pt x="85" y="157"/>
                  </a:lnTo>
                  <a:lnTo>
                    <a:pt x="67" y="164"/>
                  </a:lnTo>
                  <a:lnTo>
                    <a:pt x="62" y="171"/>
                  </a:lnTo>
                  <a:lnTo>
                    <a:pt x="47" y="171"/>
                  </a:lnTo>
                  <a:lnTo>
                    <a:pt x="40" y="167"/>
                  </a:lnTo>
                  <a:lnTo>
                    <a:pt x="28" y="171"/>
                  </a:lnTo>
                  <a:lnTo>
                    <a:pt x="18" y="174"/>
                  </a:lnTo>
                  <a:lnTo>
                    <a:pt x="10" y="176"/>
                  </a:lnTo>
                  <a:lnTo>
                    <a:pt x="10" y="169"/>
                  </a:lnTo>
                  <a:lnTo>
                    <a:pt x="0" y="16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5" name="Freeform 184"/>
            <p:cNvSpPr>
              <a:spLocks/>
            </p:cNvSpPr>
            <p:nvPr/>
          </p:nvSpPr>
          <p:spPr bwMode="auto">
            <a:xfrm>
              <a:off x="4572642" y="4226971"/>
              <a:ext cx="493658" cy="549788"/>
            </a:xfrm>
            <a:custGeom>
              <a:avLst/>
              <a:gdLst>
                <a:gd name="T0" fmla="*/ 0 w 343"/>
                <a:gd name="T1" fmla="*/ 216 h 382"/>
                <a:gd name="T2" fmla="*/ 8 w 343"/>
                <a:gd name="T3" fmla="*/ 226 h 382"/>
                <a:gd name="T4" fmla="*/ 50 w 343"/>
                <a:gd name="T5" fmla="*/ 221 h 382"/>
                <a:gd name="T6" fmla="*/ 92 w 343"/>
                <a:gd name="T7" fmla="*/ 253 h 382"/>
                <a:gd name="T8" fmla="*/ 100 w 343"/>
                <a:gd name="T9" fmla="*/ 268 h 382"/>
                <a:gd name="T10" fmla="*/ 134 w 343"/>
                <a:gd name="T11" fmla="*/ 248 h 382"/>
                <a:gd name="T12" fmla="*/ 152 w 343"/>
                <a:gd name="T13" fmla="*/ 263 h 382"/>
                <a:gd name="T14" fmla="*/ 172 w 343"/>
                <a:gd name="T15" fmla="*/ 256 h 382"/>
                <a:gd name="T16" fmla="*/ 179 w 343"/>
                <a:gd name="T17" fmla="*/ 305 h 382"/>
                <a:gd name="T18" fmla="*/ 189 w 343"/>
                <a:gd name="T19" fmla="*/ 330 h 382"/>
                <a:gd name="T20" fmla="*/ 229 w 343"/>
                <a:gd name="T21" fmla="*/ 333 h 382"/>
                <a:gd name="T22" fmla="*/ 244 w 343"/>
                <a:gd name="T23" fmla="*/ 353 h 382"/>
                <a:gd name="T24" fmla="*/ 264 w 343"/>
                <a:gd name="T25" fmla="*/ 340 h 382"/>
                <a:gd name="T26" fmla="*/ 279 w 343"/>
                <a:gd name="T27" fmla="*/ 353 h 382"/>
                <a:gd name="T28" fmla="*/ 291 w 343"/>
                <a:gd name="T29" fmla="*/ 382 h 382"/>
                <a:gd name="T30" fmla="*/ 313 w 343"/>
                <a:gd name="T31" fmla="*/ 370 h 382"/>
                <a:gd name="T32" fmla="*/ 298 w 343"/>
                <a:gd name="T33" fmla="*/ 348 h 382"/>
                <a:gd name="T34" fmla="*/ 296 w 343"/>
                <a:gd name="T35" fmla="*/ 285 h 382"/>
                <a:gd name="T36" fmla="*/ 316 w 343"/>
                <a:gd name="T37" fmla="*/ 268 h 382"/>
                <a:gd name="T38" fmla="*/ 321 w 343"/>
                <a:gd name="T39" fmla="*/ 246 h 382"/>
                <a:gd name="T40" fmla="*/ 316 w 343"/>
                <a:gd name="T41" fmla="*/ 223 h 382"/>
                <a:gd name="T42" fmla="*/ 313 w 343"/>
                <a:gd name="T43" fmla="*/ 196 h 382"/>
                <a:gd name="T44" fmla="*/ 303 w 343"/>
                <a:gd name="T45" fmla="*/ 179 h 382"/>
                <a:gd name="T46" fmla="*/ 296 w 343"/>
                <a:gd name="T47" fmla="*/ 161 h 382"/>
                <a:gd name="T48" fmla="*/ 301 w 343"/>
                <a:gd name="T49" fmla="*/ 144 h 382"/>
                <a:gd name="T50" fmla="*/ 308 w 343"/>
                <a:gd name="T51" fmla="*/ 126 h 382"/>
                <a:gd name="T52" fmla="*/ 333 w 343"/>
                <a:gd name="T53" fmla="*/ 77 h 382"/>
                <a:gd name="T54" fmla="*/ 343 w 343"/>
                <a:gd name="T55" fmla="*/ 62 h 382"/>
                <a:gd name="T56" fmla="*/ 333 w 343"/>
                <a:gd name="T57" fmla="*/ 52 h 382"/>
                <a:gd name="T58" fmla="*/ 328 w 343"/>
                <a:gd name="T59" fmla="*/ 27 h 382"/>
                <a:gd name="T60" fmla="*/ 311 w 343"/>
                <a:gd name="T61" fmla="*/ 15 h 382"/>
                <a:gd name="T62" fmla="*/ 264 w 343"/>
                <a:gd name="T63" fmla="*/ 2 h 382"/>
                <a:gd name="T64" fmla="*/ 231 w 343"/>
                <a:gd name="T65" fmla="*/ 5 h 382"/>
                <a:gd name="T66" fmla="*/ 216 w 343"/>
                <a:gd name="T67" fmla="*/ 10 h 382"/>
                <a:gd name="T68" fmla="*/ 177 w 343"/>
                <a:gd name="T69" fmla="*/ 20 h 382"/>
                <a:gd name="T70" fmla="*/ 139 w 343"/>
                <a:gd name="T71" fmla="*/ 12 h 382"/>
                <a:gd name="T72" fmla="*/ 119 w 343"/>
                <a:gd name="T73" fmla="*/ 17 h 382"/>
                <a:gd name="T74" fmla="*/ 105 w 343"/>
                <a:gd name="T75" fmla="*/ 27 h 382"/>
                <a:gd name="T76" fmla="*/ 112 w 343"/>
                <a:gd name="T77" fmla="*/ 54 h 382"/>
                <a:gd name="T78" fmla="*/ 105 w 343"/>
                <a:gd name="T79" fmla="*/ 114 h 382"/>
                <a:gd name="T80" fmla="*/ 92 w 343"/>
                <a:gd name="T81" fmla="*/ 129 h 382"/>
                <a:gd name="T82" fmla="*/ 77 w 343"/>
                <a:gd name="T83" fmla="*/ 156 h 382"/>
                <a:gd name="T84" fmla="*/ 57 w 343"/>
                <a:gd name="T85" fmla="*/ 191 h 382"/>
                <a:gd name="T86" fmla="*/ 37 w 343"/>
                <a:gd name="T87" fmla="*/ 198 h 382"/>
                <a:gd name="T88" fmla="*/ 18 w 343"/>
                <a:gd name="T89" fmla="*/ 198 h 382"/>
                <a:gd name="T90" fmla="*/ 0 w 343"/>
                <a:gd name="T91" fmla="*/ 203 h 382"/>
                <a:gd name="T92" fmla="*/ 8 w 343"/>
                <a:gd name="T93" fmla="*/ 211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343" h="382">
                  <a:moveTo>
                    <a:pt x="8" y="211"/>
                  </a:moveTo>
                  <a:lnTo>
                    <a:pt x="0" y="216"/>
                  </a:lnTo>
                  <a:lnTo>
                    <a:pt x="0" y="223"/>
                  </a:lnTo>
                  <a:lnTo>
                    <a:pt x="8" y="226"/>
                  </a:lnTo>
                  <a:lnTo>
                    <a:pt x="32" y="226"/>
                  </a:lnTo>
                  <a:lnTo>
                    <a:pt x="50" y="221"/>
                  </a:lnTo>
                  <a:lnTo>
                    <a:pt x="85" y="223"/>
                  </a:lnTo>
                  <a:lnTo>
                    <a:pt x="92" y="253"/>
                  </a:lnTo>
                  <a:lnTo>
                    <a:pt x="100" y="258"/>
                  </a:lnTo>
                  <a:lnTo>
                    <a:pt x="100" y="268"/>
                  </a:lnTo>
                  <a:lnTo>
                    <a:pt x="132" y="268"/>
                  </a:lnTo>
                  <a:lnTo>
                    <a:pt x="134" y="248"/>
                  </a:lnTo>
                  <a:lnTo>
                    <a:pt x="142" y="241"/>
                  </a:lnTo>
                  <a:lnTo>
                    <a:pt x="152" y="263"/>
                  </a:lnTo>
                  <a:lnTo>
                    <a:pt x="159" y="258"/>
                  </a:lnTo>
                  <a:lnTo>
                    <a:pt x="172" y="256"/>
                  </a:lnTo>
                  <a:lnTo>
                    <a:pt x="177" y="266"/>
                  </a:lnTo>
                  <a:lnTo>
                    <a:pt x="179" y="305"/>
                  </a:lnTo>
                  <a:lnTo>
                    <a:pt x="179" y="320"/>
                  </a:lnTo>
                  <a:lnTo>
                    <a:pt x="189" y="330"/>
                  </a:lnTo>
                  <a:lnTo>
                    <a:pt x="211" y="330"/>
                  </a:lnTo>
                  <a:lnTo>
                    <a:pt x="229" y="333"/>
                  </a:lnTo>
                  <a:lnTo>
                    <a:pt x="234" y="350"/>
                  </a:lnTo>
                  <a:lnTo>
                    <a:pt x="244" y="353"/>
                  </a:lnTo>
                  <a:lnTo>
                    <a:pt x="249" y="343"/>
                  </a:lnTo>
                  <a:lnTo>
                    <a:pt x="264" y="340"/>
                  </a:lnTo>
                  <a:lnTo>
                    <a:pt x="264" y="345"/>
                  </a:lnTo>
                  <a:lnTo>
                    <a:pt x="279" y="353"/>
                  </a:lnTo>
                  <a:lnTo>
                    <a:pt x="284" y="372"/>
                  </a:lnTo>
                  <a:lnTo>
                    <a:pt x="291" y="382"/>
                  </a:lnTo>
                  <a:lnTo>
                    <a:pt x="308" y="382"/>
                  </a:lnTo>
                  <a:lnTo>
                    <a:pt x="313" y="370"/>
                  </a:lnTo>
                  <a:lnTo>
                    <a:pt x="311" y="348"/>
                  </a:lnTo>
                  <a:lnTo>
                    <a:pt x="298" y="348"/>
                  </a:lnTo>
                  <a:lnTo>
                    <a:pt x="291" y="340"/>
                  </a:lnTo>
                  <a:lnTo>
                    <a:pt x="296" y="285"/>
                  </a:lnTo>
                  <a:lnTo>
                    <a:pt x="303" y="273"/>
                  </a:lnTo>
                  <a:lnTo>
                    <a:pt x="316" y="268"/>
                  </a:lnTo>
                  <a:lnTo>
                    <a:pt x="321" y="256"/>
                  </a:lnTo>
                  <a:lnTo>
                    <a:pt x="321" y="246"/>
                  </a:lnTo>
                  <a:lnTo>
                    <a:pt x="321" y="233"/>
                  </a:lnTo>
                  <a:lnTo>
                    <a:pt x="316" y="223"/>
                  </a:lnTo>
                  <a:lnTo>
                    <a:pt x="313" y="213"/>
                  </a:lnTo>
                  <a:lnTo>
                    <a:pt x="313" y="196"/>
                  </a:lnTo>
                  <a:lnTo>
                    <a:pt x="308" y="184"/>
                  </a:lnTo>
                  <a:lnTo>
                    <a:pt x="303" y="179"/>
                  </a:lnTo>
                  <a:lnTo>
                    <a:pt x="306" y="159"/>
                  </a:lnTo>
                  <a:lnTo>
                    <a:pt x="296" y="161"/>
                  </a:lnTo>
                  <a:lnTo>
                    <a:pt x="293" y="151"/>
                  </a:lnTo>
                  <a:lnTo>
                    <a:pt x="301" y="144"/>
                  </a:lnTo>
                  <a:lnTo>
                    <a:pt x="298" y="131"/>
                  </a:lnTo>
                  <a:lnTo>
                    <a:pt x="308" y="126"/>
                  </a:lnTo>
                  <a:lnTo>
                    <a:pt x="313" y="84"/>
                  </a:lnTo>
                  <a:lnTo>
                    <a:pt x="333" y="77"/>
                  </a:lnTo>
                  <a:lnTo>
                    <a:pt x="343" y="72"/>
                  </a:lnTo>
                  <a:lnTo>
                    <a:pt x="343" y="62"/>
                  </a:lnTo>
                  <a:lnTo>
                    <a:pt x="333" y="59"/>
                  </a:lnTo>
                  <a:lnTo>
                    <a:pt x="333" y="52"/>
                  </a:lnTo>
                  <a:lnTo>
                    <a:pt x="328" y="29"/>
                  </a:lnTo>
                  <a:lnTo>
                    <a:pt x="328" y="27"/>
                  </a:lnTo>
                  <a:lnTo>
                    <a:pt x="316" y="24"/>
                  </a:lnTo>
                  <a:lnTo>
                    <a:pt x="311" y="15"/>
                  </a:lnTo>
                  <a:lnTo>
                    <a:pt x="269" y="10"/>
                  </a:lnTo>
                  <a:lnTo>
                    <a:pt x="264" y="2"/>
                  </a:lnTo>
                  <a:lnTo>
                    <a:pt x="254" y="0"/>
                  </a:lnTo>
                  <a:lnTo>
                    <a:pt x="231" y="5"/>
                  </a:lnTo>
                  <a:lnTo>
                    <a:pt x="216" y="2"/>
                  </a:lnTo>
                  <a:lnTo>
                    <a:pt x="216" y="10"/>
                  </a:lnTo>
                  <a:lnTo>
                    <a:pt x="179" y="12"/>
                  </a:lnTo>
                  <a:lnTo>
                    <a:pt x="177" y="20"/>
                  </a:lnTo>
                  <a:lnTo>
                    <a:pt x="144" y="24"/>
                  </a:lnTo>
                  <a:lnTo>
                    <a:pt x="139" y="12"/>
                  </a:lnTo>
                  <a:lnTo>
                    <a:pt x="127" y="7"/>
                  </a:lnTo>
                  <a:lnTo>
                    <a:pt x="119" y="17"/>
                  </a:lnTo>
                  <a:lnTo>
                    <a:pt x="112" y="22"/>
                  </a:lnTo>
                  <a:lnTo>
                    <a:pt x="105" y="27"/>
                  </a:lnTo>
                  <a:lnTo>
                    <a:pt x="114" y="32"/>
                  </a:lnTo>
                  <a:lnTo>
                    <a:pt x="112" y="54"/>
                  </a:lnTo>
                  <a:lnTo>
                    <a:pt x="107" y="59"/>
                  </a:lnTo>
                  <a:lnTo>
                    <a:pt x="105" y="114"/>
                  </a:lnTo>
                  <a:lnTo>
                    <a:pt x="100" y="121"/>
                  </a:lnTo>
                  <a:lnTo>
                    <a:pt x="92" y="129"/>
                  </a:lnTo>
                  <a:lnTo>
                    <a:pt x="92" y="154"/>
                  </a:lnTo>
                  <a:lnTo>
                    <a:pt x="77" y="156"/>
                  </a:lnTo>
                  <a:lnTo>
                    <a:pt x="75" y="184"/>
                  </a:lnTo>
                  <a:lnTo>
                    <a:pt x="57" y="191"/>
                  </a:lnTo>
                  <a:lnTo>
                    <a:pt x="52" y="198"/>
                  </a:lnTo>
                  <a:lnTo>
                    <a:pt x="37" y="198"/>
                  </a:lnTo>
                  <a:lnTo>
                    <a:pt x="30" y="194"/>
                  </a:lnTo>
                  <a:lnTo>
                    <a:pt x="18" y="198"/>
                  </a:lnTo>
                  <a:lnTo>
                    <a:pt x="8" y="201"/>
                  </a:lnTo>
                  <a:lnTo>
                    <a:pt x="0" y="203"/>
                  </a:lnTo>
                  <a:lnTo>
                    <a:pt x="5" y="211"/>
                  </a:lnTo>
                  <a:lnTo>
                    <a:pt x="8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6" name="Freeform 187"/>
            <p:cNvSpPr>
              <a:spLocks/>
            </p:cNvSpPr>
            <p:nvPr/>
          </p:nvSpPr>
          <p:spPr bwMode="auto">
            <a:xfrm>
              <a:off x="4558249" y="4545042"/>
              <a:ext cx="318071" cy="356930"/>
            </a:xfrm>
            <a:custGeom>
              <a:avLst/>
              <a:gdLst>
                <a:gd name="T0" fmla="*/ 10 w 221"/>
                <a:gd name="T1" fmla="*/ 2 h 248"/>
                <a:gd name="T2" fmla="*/ 18 w 221"/>
                <a:gd name="T3" fmla="*/ 5 h 248"/>
                <a:gd name="T4" fmla="*/ 42 w 221"/>
                <a:gd name="T5" fmla="*/ 5 h 248"/>
                <a:gd name="T6" fmla="*/ 60 w 221"/>
                <a:gd name="T7" fmla="*/ 0 h 248"/>
                <a:gd name="T8" fmla="*/ 95 w 221"/>
                <a:gd name="T9" fmla="*/ 2 h 248"/>
                <a:gd name="T10" fmla="*/ 102 w 221"/>
                <a:gd name="T11" fmla="*/ 32 h 248"/>
                <a:gd name="T12" fmla="*/ 110 w 221"/>
                <a:gd name="T13" fmla="*/ 37 h 248"/>
                <a:gd name="T14" fmla="*/ 110 w 221"/>
                <a:gd name="T15" fmla="*/ 47 h 248"/>
                <a:gd name="T16" fmla="*/ 142 w 221"/>
                <a:gd name="T17" fmla="*/ 47 h 248"/>
                <a:gd name="T18" fmla="*/ 144 w 221"/>
                <a:gd name="T19" fmla="*/ 27 h 248"/>
                <a:gd name="T20" fmla="*/ 152 w 221"/>
                <a:gd name="T21" fmla="*/ 20 h 248"/>
                <a:gd name="T22" fmla="*/ 162 w 221"/>
                <a:gd name="T23" fmla="*/ 42 h 248"/>
                <a:gd name="T24" fmla="*/ 169 w 221"/>
                <a:gd name="T25" fmla="*/ 37 h 248"/>
                <a:gd name="T26" fmla="*/ 182 w 221"/>
                <a:gd name="T27" fmla="*/ 35 h 248"/>
                <a:gd name="T28" fmla="*/ 187 w 221"/>
                <a:gd name="T29" fmla="*/ 45 h 248"/>
                <a:gd name="T30" fmla="*/ 189 w 221"/>
                <a:gd name="T31" fmla="*/ 84 h 248"/>
                <a:gd name="T32" fmla="*/ 189 w 221"/>
                <a:gd name="T33" fmla="*/ 99 h 248"/>
                <a:gd name="T34" fmla="*/ 199 w 221"/>
                <a:gd name="T35" fmla="*/ 109 h 248"/>
                <a:gd name="T36" fmla="*/ 221 w 221"/>
                <a:gd name="T37" fmla="*/ 109 h 248"/>
                <a:gd name="T38" fmla="*/ 219 w 221"/>
                <a:gd name="T39" fmla="*/ 149 h 248"/>
                <a:gd name="T40" fmla="*/ 202 w 221"/>
                <a:gd name="T41" fmla="*/ 149 h 248"/>
                <a:gd name="T42" fmla="*/ 197 w 221"/>
                <a:gd name="T43" fmla="*/ 139 h 248"/>
                <a:gd name="T44" fmla="*/ 189 w 221"/>
                <a:gd name="T45" fmla="*/ 139 h 248"/>
                <a:gd name="T46" fmla="*/ 189 w 221"/>
                <a:gd name="T47" fmla="*/ 149 h 248"/>
                <a:gd name="T48" fmla="*/ 177 w 221"/>
                <a:gd name="T49" fmla="*/ 151 h 248"/>
                <a:gd name="T50" fmla="*/ 174 w 221"/>
                <a:gd name="T51" fmla="*/ 199 h 248"/>
                <a:gd name="T52" fmla="*/ 177 w 221"/>
                <a:gd name="T53" fmla="*/ 214 h 248"/>
                <a:gd name="T54" fmla="*/ 192 w 221"/>
                <a:gd name="T55" fmla="*/ 231 h 248"/>
                <a:gd name="T56" fmla="*/ 192 w 221"/>
                <a:gd name="T57" fmla="*/ 241 h 248"/>
                <a:gd name="T58" fmla="*/ 172 w 221"/>
                <a:gd name="T59" fmla="*/ 248 h 248"/>
                <a:gd name="T60" fmla="*/ 157 w 221"/>
                <a:gd name="T61" fmla="*/ 246 h 248"/>
                <a:gd name="T62" fmla="*/ 119 w 221"/>
                <a:gd name="T63" fmla="*/ 241 h 248"/>
                <a:gd name="T64" fmla="*/ 115 w 221"/>
                <a:gd name="T65" fmla="*/ 231 h 248"/>
                <a:gd name="T66" fmla="*/ 67 w 221"/>
                <a:gd name="T67" fmla="*/ 234 h 248"/>
                <a:gd name="T68" fmla="*/ 37 w 221"/>
                <a:gd name="T69" fmla="*/ 231 h 248"/>
                <a:gd name="T70" fmla="*/ 18 w 221"/>
                <a:gd name="T71" fmla="*/ 224 h 248"/>
                <a:gd name="T72" fmla="*/ 0 w 221"/>
                <a:gd name="T73" fmla="*/ 229 h 248"/>
                <a:gd name="T74" fmla="*/ 0 w 221"/>
                <a:gd name="T75" fmla="*/ 199 h 248"/>
                <a:gd name="T76" fmla="*/ 20 w 221"/>
                <a:gd name="T77" fmla="*/ 164 h 248"/>
                <a:gd name="T78" fmla="*/ 30 w 221"/>
                <a:gd name="T79" fmla="*/ 142 h 248"/>
                <a:gd name="T80" fmla="*/ 32 w 221"/>
                <a:gd name="T81" fmla="*/ 134 h 248"/>
                <a:gd name="T82" fmla="*/ 40 w 221"/>
                <a:gd name="T83" fmla="*/ 132 h 248"/>
                <a:gd name="T84" fmla="*/ 42 w 221"/>
                <a:gd name="T85" fmla="*/ 114 h 248"/>
                <a:gd name="T86" fmla="*/ 32 w 221"/>
                <a:gd name="T87" fmla="*/ 97 h 248"/>
                <a:gd name="T88" fmla="*/ 28 w 221"/>
                <a:gd name="T89" fmla="*/ 72 h 248"/>
                <a:gd name="T90" fmla="*/ 25 w 221"/>
                <a:gd name="T91" fmla="*/ 47 h 248"/>
                <a:gd name="T92" fmla="*/ 15 w 221"/>
                <a:gd name="T93" fmla="*/ 40 h 248"/>
                <a:gd name="T94" fmla="*/ 15 w 221"/>
                <a:gd name="T95" fmla="*/ 12 h 248"/>
                <a:gd name="T96" fmla="*/ 5 w 221"/>
                <a:gd name="T97" fmla="*/ 12 h 248"/>
                <a:gd name="T98" fmla="*/ 10 w 221"/>
                <a:gd name="T99" fmla="*/ 2 h 2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21" h="248">
                  <a:moveTo>
                    <a:pt x="10" y="2"/>
                  </a:moveTo>
                  <a:lnTo>
                    <a:pt x="18" y="5"/>
                  </a:lnTo>
                  <a:lnTo>
                    <a:pt x="42" y="5"/>
                  </a:lnTo>
                  <a:lnTo>
                    <a:pt x="60" y="0"/>
                  </a:lnTo>
                  <a:lnTo>
                    <a:pt x="95" y="2"/>
                  </a:lnTo>
                  <a:lnTo>
                    <a:pt x="102" y="32"/>
                  </a:lnTo>
                  <a:lnTo>
                    <a:pt x="110" y="37"/>
                  </a:lnTo>
                  <a:lnTo>
                    <a:pt x="110" y="47"/>
                  </a:lnTo>
                  <a:lnTo>
                    <a:pt x="142" y="47"/>
                  </a:lnTo>
                  <a:lnTo>
                    <a:pt x="144" y="27"/>
                  </a:lnTo>
                  <a:lnTo>
                    <a:pt x="152" y="20"/>
                  </a:lnTo>
                  <a:lnTo>
                    <a:pt x="162" y="42"/>
                  </a:lnTo>
                  <a:lnTo>
                    <a:pt x="169" y="37"/>
                  </a:lnTo>
                  <a:lnTo>
                    <a:pt x="182" y="35"/>
                  </a:lnTo>
                  <a:lnTo>
                    <a:pt x="187" y="45"/>
                  </a:lnTo>
                  <a:lnTo>
                    <a:pt x="189" y="84"/>
                  </a:lnTo>
                  <a:lnTo>
                    <a:pt x="189" y="99"/>
                  </a:lnTo>
                  <a:lnTo>
                    <a:pt x="199" y="109"/>
                  </a:lnTo>
                  <a:lnTo>
                    <a:pt x="221" y="109"/>
                  </a:lnTo>
                  <a:lnTo>
                    <a:pt x="219" y="149"/>
                  </a:lnTo>
                  <a:lnTo>
                    <a:pt x="202" y="149"/>
                  </a:lnTo>
                  <a:lnTo>
                    <a:pt x="197" y="139"/>
                  </a:lnTo>
                  <a:lnTo>
                    <a:pt x="189" y="139"/>
                  </a:lnTo>
                  <a:lnTo>
                    <a:pt x="189" y="149"/>
                  </a:lnTo>
                  <a:lnTo>
                    <a:pt x="177" y="151"/>
                  </a:lnTo>
                  <a:lnTo>
                    <a:pt x="174" y="199"/>
                  </a:lnTo>
                  <a:lnTo>
                    <a:pt x="177" y="214"/>
                  </a:lnTo>
                  <a:lnTo>
                    <a:pt x="192" y="231"/>
                  </a:lnTo>
                  <a:lnTo>
                    <a:pt x="192" y="241"/>
                  </a:lnTo>
                  <a:lnTo>
                    <a:pt x="172" y="248"/>
                  </a:lnTo>
                  <a:lnTo>
                    <a:pt x="157" y="246"/>
                  </a:lnTo>
                  <a:lnTo>
                    <a:pt x="119" y="241"/>
                  </a:lnTo>
                  <a:lnTo>
                    <a:pt x="115" y="231"/>
                  </a:lnTo>
                  <a:lnTo>
                    <a:pt x="67" y="234"/>
                  </a:lnTo>
                  <a:lnTo>
                    <a:pt x="37" y="231"/>
                  </a:lnTo>
                  <a:lnTo>
                    <a:pt x="18" y="224"/>
                  </a:lnTo>
                  <a:lnTo>
                    <a:pt x="0" y="229"/>
                  </a:lnTo>
                  <a:lnTo>
                    <a:pt x="0" y="199"/>
                  </a:lnTo>
                  <a:lnTo>
                    <a:pt x="20" y="164"/>
                  </a:lnTo>
                  <a:lnTo>
                    <a:pt x="30" y="142"/>
                  </a:lnTo>
                  <a:lnTo>
                    <a:pt x="32" y="134"/>
                  </a:lnTo>
                  <a:lnTo>
                    <a:pt x="40" y="132"/>
                  </a:lnTo>
                  <a:lnTo>
                    <a:pt x="42" y="114"/>
                  </a:lnTo>
                  <a:lnTo>
                    <a:pt x="32" y="97"/>
                  </a:lnTo>
                  <a:lnTo>
                    <a:pt x="28" y="72"/>
                  </a:lnTo>
                  <a:lnTo>
                    <a:pt x="25" y="47"/>
                  </a:lnTo>
                  <a:lnTo>
                    <a:pt x="15" y="40"/>
                  </a:lnTo>
                  <a:lnTo>
                    <a:pt x="15" y="12"/>
                  </a:lnTo>
                  <a:lnTo>
                    <a:pt x="5" y="12"/>
                  </a:lnTo>
                  <a:lnTo>
                    <a:pt x="1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7" name="Freeform 188"/>
            <p:cNvSpPr>
              <a:spLocks/>
            </p:cNvSpPr>
            <p:nvPr/>
          </p:nvSpPr>
          <p:spPr bwMode="auto">
            <a:xfrm>
              <a:off x="5034637" y="5145203"/>
              <a:ext cx="38859" cy="47495"/>
            </a:xfrm>
            <a:custGeom>
              <a:avLst/>
              <a:gdLst>
                <a:gd name="T0" fmla="*/ 27 w 27"/>
                <a:gd name="T1" fmla="*/ 28 h 33"/>
                <a:gd name="T2" fmla="*/ 22 w 27"/>
                <a:gd name="T3" fmla="*/ 13 h 33"/>
                <a:gd name="T4" fmla="*/ 17 w 27"/>
                <a:gd name="T5" fmla="*/ 0 h 33"/>
                <a:gd name="T6" fmla="*/ 2 w 27"/>
                <a:gd name="T7" fmla="*/ 5 h 33"/>
                <a:gd name="T8" fmla="*/ 0 w 27"/>
                <a:gd name="T9" fmla="*/ 18 h 33"/>
                <a:gd name="T10" fmla="*/ 2 w 27"/>
                <a:gd name="T11" fmla="*/ 25 h 33"/>
                <a:gd name="T12" fmla="*/ 10 w 27"/>
                <a:gd name="T13" fmla="*/ 28 h 33"/>
                <a:gd name="T14" fmla="*/ 20 w 27"/>
                <a:gd name="T15" fmla="*/ 33 h 33"/>
                <a:gd name="T16" fmla="*/ 27 w 27"/>
                <a:gd name="T17" fmla="*/ 28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7" h="33">
                  <a:moveTo>
                    <a:pt x="27" y="28"/>
                  </a:moveTo>
                  <a:lnTo>
                    <a:pt x="22" y="13"/>
                  </a:lnTo>
                  <a:lnTo>
                    <a:pt x="17" y="0"/>
                  </a:lnTo>
                  <a:lnTo>
                    <a:pt x="2" y="5"/>
                  </a:lnTo>
                  <a:lnTo>
                    <a:pt x="0" y="18"/>
                  </a:lnTo>
                  <a:lnTo>
                    <a:pt x="2" y="25"/>
                  </a:lnTo>
                  <a:lnTo>
                    <a:pt x="10" y="28"/>
                  </a:lnTo>
                  <a:lnTo>
                    <a:pt x="20" y="33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8" name="Freeform 189"/>
            <p:cNvSpPr>
              <a:spLocks/>
            </p:cNvSpPr>
            <p:nvPr/>
          </p:nvSpPr>
          <p:spPr bwMode="auto">
            <a:xfrm>
              <a:off x="5119551" y="4234167"/>
              <a:ext cx="204371" cy="267698"/>
            </a:xfrm>
            <a:custGeom>
              <a:avLst/>
              <a:gdLst>
                <a:gd name="T0" fmla="*/ 102 w 142"/>
                <a:gd name="T1" fmla="*/ 186 h 186"/>
                <a:gd name="T2" fmla="*/ 75 w 142"/>
                <a:gd name="T3" fmla="*/ 171 h 186"/>
                <a:gd name="T4" fmla="*/ 75 w 142"/>
                <a:gd name="T5" fmla="*/ 156 h 186"/>
                <a:gd name="T6" fmla="*/ 55 w 142"/>
                <a:gd name="T7" fmla="*/ 151 h 186"/>
                <a:gd name="T8" fmla="*/ 20 w 142"/>
                <a:gd name="T9" fmla="*/ 121 h 186"/>
                <a:gd name="T10" fmla="*/ 5 w 142"/>
                <a:gd name="T11" fmla="*/ 121 h 186"/>
                <a:gd name="T12" fmla="*/ 0 w 142"/>
                <a:gd name="T13" fmla="*/ 109 h 186"/>
                <a:gd name="T14" fmla="*/ 5 w 142"/>
                <a:gd name="T15" fmla="*/ 89 h 186"/>
                <a:gd name="T16" fmla="*/ 15 w 142"/>
                <a:gd name="T17" fmla="*/ 69 h 186"/>
                <a:gd name="T18" fmla="*/ 15 w 142"/>
                <a:gd name="T19" fmla="*/ 37 h 186"/>
                <a:gd name="T20" fmla="*/ 5 w 142"/>
                <a:gd name="T21" fmla="*/ 19 h 186"/>
                <a:gd name="T22" fmla="*/ 30 w 142"/>
                <a:gd name="T23" fmla="*/ 0 h 186"/>
                <a:gd name="T24" fmla="*/ 48 w 142"/>
                <a:gd name="T25" fmla="*/ 5 h 186"/>
                <a:gd name="T26" fmla="*/ 65 w 142"/>
                <a:gd name="T27" fmla="*/ 17 h 186"/>
                <a:gd name="T28" fmla="*/ 68 w 142"/>
                <a:gd name="T29" fmla="*/ 29 h 186"/>
                <a:gd name="T30" fmla="*/ 105 w 142"/>
                <a:gd name="T31" fmla="*/ 27 h 186"/>
                <a:gd name="T32" fmla="*/ 105 w 142"/>
                <a:gd name="T33" fmla="*/ 19 h 186"/>
                <a:gd name="T34" fmla="*/ 127 w 142"/>
                <a:gd name="T35" fmla="*/ 17 h 186"/>
                <a:gd name="T36" fmla="*/ 135 w 142"/>
                <a:gd name="T37" fmla="*/ 24 h 186"/>
                <a:gd name="T38" fmla="*/ 142 w 142"/>
                <a:gd name="T39" fmla="*/ 29 h 186"/>
                <a:gd name="T40" fmla="*/ 135 w 142"/>
                <a:gd name="T41" fmla="*/ 37 h 186"/>
                <a:gd name="T42" fmla="*/ 127 w 142"/>
                <a:gd name="T43" fmla="*/ 49 h 186"/>
                <a:gd name="T44" fmla="*/ 132 w 142"/>
                <a:gd name="T45" fmla="*/ 126 h 186"/>
                <a:gd name="T46" fmla="*/ 140 w 142"/>
                <a:gd name="T47" fmla="*/ 131 h 186"/>
                <a:gd name="T48" fmla="*/ 132 w 142"/>
                <a:gd name="T49" fmla="*/ 139 h 186"/>
                <a:gd name="T50" fmla="*/ 125 w 142"/>
                <a:gd name="T51" fmla="*/ 151 h 186"/>
                <a:gd name="T52" fmla="*/ 112 w 142"/>
                <a:gd name="T53" fmla="*/ 161 h 186"/>
                <a:gd name="T54" fmla="*/ 110 w 142"/>
                <a:gd name="T55" fmla="*/ 174 h 186"/>
                <a:gd name="T56" fmla="*/ 102 w 142"/>
                <a:gd name="T57" fmla="*/ 186 h 1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2" h="186">
                  <a:moveTo>
                    <a:pt x="102" y="186"/>
                  </a:moveTo>
                  <a:lnTo>
                    <a:pt x="75" y="171"/>
                  </a:lnTo>
                  <a:lnTo>
                    <a:pt x="75" y="156"/>
                  </a:lnTo>
                  <a:lnTo>
                    <a:pt x="55" y="151"/>
                  </a:lnTo>
                  <a:lnTo>
                    <a:pt x="20" y="121"/>
                  </a:lnTo>
                  <a:lnTo>
                    <a:pt x="5" y="121"/>
                  </a:lnTo>
                  <a:lnTo>
                    <a:pt x="0" y="109"/>
                  </a:lnTo>
                  <a:lnTo>
                    <a:pt x="5" y="89"/>
                  </a:lnTo>
                  <a:lnTo>
                    <a:pt x="15" y="69"/>
                  </a:lnTo>
                  <a:lnTo>
                    <a:pt x="15" y="37"/>
                  </a:lnTo>
                  <a:lnTo>
                    <a:pt x="5" y="19"/>
                  </a:lnTo>
                  <a:lnTo>
                    <a:pt x="30" y="0"/>
                  </a:lnTo>
                  <a:lnTo>
                    <a:pt x="48" y="5"/>
                  </a:lnTo>
                  <a:lnTo>
                    <a:pt x="65" y="17"/>
                  </a:lnTo>
                  <a:lnTo>
                    <a:pt x="68" y="29"/>
                  </a:lnTo>
                  <a:lnTo>
                    <a:pt x="105" y="27"/>
                  </a:lnTo>
                  <a:lnTo>
                    <a:pt x="105" y="19"/>
                  </a:lnTo>
                  <a:lnTo>
                    <a:pt x="127" y="17"/>
                  </a:lnTo>
                  <a:lnTo>
                    <a:pt x="135" y="24"/>
                  </a:lnTo>
                  <a:lnTo>
                    <a:pt x="142" y="29"/>
                  </a:lnTo>
                  <a:lnTo>
                    <a:pt x="135" y="37"/>
                  </a:lnTo>
                  <a:lnTo>
                    <a:pt x="127" y="49"/>
                  </a:lnTo>
                  <a:lnTo>
                    <a:pt x="132" y="126"/>
                  </a:lnTo>
                  <a:lnTo>
                    <a:pt x="140" y="131"/>
                  </a:lnTo>
                  <a:lnTo>
                    <a:pt x="132" y="139"/>
                  </a:lnTo>
                  <a:lnTo>
                    <a:pt x="125" y="151"/>
                  </a:lnTo>
                  <a:lnTo>
                    <a:pt x="112" y="161"/>
                  </a:lnTo>
                  <a:lnTo>
                    <a:pt x="110" y="174"/>
                  </a:lnTo>
                  <a:lnTo>
                    <a:pt x="102" y="18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79" name="Freeform 190"/>
            <p:cNvSpPr>
              <a:spLocks/>
            </p:cNvSpPr>
            <p:nvPr/>
          </p:nvSpPr>
          <p:spPr bwMode="auto">
            <a:xfrm>
              <a:off x="5102280" y="3786565"/>
              <a:ext cx="358370" cy="489340"/>
            </a:xfrm>
            <a:custGeom>
              <a:avLst/>
              <a:gdLst>
                <a:gd name="T0" fmla="*/ 154 w 249"/>
                <a:gd name="T1" fmla="*/ 340 h 340"/>
                <a:gd name="T2" fmla="*/ 147 w 249"/>
                <a:gd name="T3" fmla="*/ 335 h 340"/>
                <a:gd name="T4" fmla="*/ 139 w 249"/>
                <a:gd name="T5" fmla="*/ 328 h 340"/>
                <a:gd name="T6" fmla="*/ 117 w 249"/>
                <a:gd name="T7" fmla="*/ 330 h 340"/>
                <a:gd name="T8" fmla="*/ 117 w 249"/>
                <a:gd name="T9" fmla="*/ 338 h 340"/>
                <a:gd name="T10" fmla="*/ 80 w 249"/>
                <a:gd name="T11" fmla="*/ 340 h 340"/>
                <a:gd name="T12" fmla="*/ 77 w 249"/>
                <a:gd name="T13" fmla="*/ 328 h 340"/>
                <a:gd name="T14" fmla="*/ 60 w 249"/>
                <a:gd name="T15" fmla="*/ 316 h 340"/>
                <a:gd name="T16" fmla="*/ 42 w 249"/>
                <a:gd name="T17" fmla="*/ 311 h 340"/>
                <a:gd name="T18" fmla="*/ 42 w 249"/>
                <a:gd name="T19" fmla="*/ 301 h 340"/>
                <a:gd name="T20" fmla="*/ 35 w 249"/>
                <a:gd name="T21" fmla="*/ 286 h 340"/>
                <a:gd name="T22" fmla="*/ 27 w 249"/>
                <a:gd name="T23" fmla="*/ 281 h 340"/>
                <a:gd name="T24" fmla="*/ 20 w 249"/>
                <a:gd name="T25" fmla="*/ 276 h 340"/>
                <a:gd name="T26" fmla="*/ 17 w 249"/>
                <a:gd name="T27" fmla="*/ 261 h 340"/>
                <a:gd name="T28" fmla="*/ 10 w 249"/>
                <a:gd name="T29" fmla="*/ 258 h 340"/>
                <a:gd name="T30" fmla="*/ 0 w 249"/>
                <a:gd name="T31" fmla="*/ 241 h 340"/>
                <a:gd name="T32" fmla="*/ 17 w 249"/>
                <a:gd name="T33" fmla="*/ 239 h 340"/>
                <a:gd name="T34" fmla="*/ 22 w 249"/>
                <a:gd name="T35" fmla="*/ 199 h 340"/>
                <a:gd name="T36" fmla="*/ 37 w 249"/>
                <a:gd name="T37" fmla="*/ 199 h 340"/>
                <a:gd name="T38" fmla="*/ 40 w 249"/>
                <a:gd name="T39" fmla="*/ 159 h 340"/>
                <a:gd name="T40" fmla="*/ 62 w 249"/>
                <a:gd name="T41" fmla="*/ 154 h 340"/>
                <a:gd name="T42" fmla="*/ 60 w 249"/>
                <a:gd name="T43" fmla="*/ 107 h 340"/>
                <a:gd name="T44" fmla="*/ 47 w 249"/>
                <a:gd name="T45" fmla="*/ 102 h 340"/>
                <a:gd name="T46" fmla="*/ 47 w 249"/>
                <a:gd name="T47" fmla="*/ 89 h 340"/>
                <a:gd name="T48" fmla="*/ 65 w 249"/>
                <a:gd name="T49" fmla="*/ 89 h 340"/>
                <a:gd name="T50" fmla="*/ 62 w 249"/>
                <a:gd name="T51" fmla="*/ 74 h 340"/>
                <a:gd name="T52" fmla="*/ 55 w 249"/>
                <a:gd name="T53" fmla="*/ 57 h 340"/>
                <a:gd name="T54" fmla="*/ 55 w 249"/>
                <a:gd name="T55" fmla="*/ 35 h 340"/>
                <a:gd name="T56" fmla="*/ 67 w 249"/>
                <a:gd name="T57" fmla="*/ 0 h 340"/>
                <a:gd name="T58" fmla="*/ 75 w 249"/>
                <a:gd name="T59" fmla="*/ 15 h 340"/>
                <a:gd name="T60" fmla="*/ 82 w 249"/>
                <a:gd name="T61" fmla="*/ 32 h 340"/>
                <a:gd name="T62" fmla="*/ 92 w 249"/>
                <a:gd name="T63" fmla="*/ 42 h 340"/>
                <a:gd name="T64" fmla="*/ 102 w 249"/>
                <a:gd name="T65" fmla="*/ 65 h 340"/>
                <a:gd name="T66" fmla="*/ 109 w 249"/>
                <a:gd name="T67" fmla="*/ 79 h 340"/>
                <a:gd name="T68" fmla="*/ 112 w 249"/>
                <a:gd name="T69" fmla="*/ 94 h 340"/>
                <a:gd name="T70" fmla="*/ 132 w 249"/>
                <a:gd name="T71" fmla="*/ 102 h 340"/>
                <a:gd name="T72" fmla="*/ 142 w 249"/>
                <a:gd name="T73" fmla="*/ 124 h 340"/>
                <a:gd name="T74" fmla="*/ 157 w 249"/>
                <a:gd name="T75" fmla="*/ 152 h 340"/>
                <a:gd name="T76" fmla="*/ 152 w 249"/>
                <a:gd name="T77" fmla="*/ 164 h 340"/>
                <a:gd name="T78" fmla="*/ 149 w 249"/>
                <a:gd name="T79" fmla="*/ 196 h 340"/>
                <a:gd name="T80" fmla="*/ 169 w 249"/>
                <a:gd name="T81" fmla="*/ 201 h 340"/>
                <a:gd name="T82" fmla="*/ 182 w 249"/>
                <a:gd name="T83" fmla="*/ 211 h 340"/>
                <a:gd name="T84" fmla="*/ 211 w 249"/>
                <a:gd name="T85" fmla="*/ 241 h 340"/>
                <a:gd name="T86" fmla="*/ 234 w 249"/>
                <a:gd name="T87" fmla="*/ 241 h 340"/>
                <a:gd name="T88" fmla="*/ 249 w 249"/>
                <a:gd name="T89" fmla="*/ 258 h 340"/>
                <a:gd name="T90" fmla="*/ 231 w 249"/>
                <a:gd name="T91" fmla="*/ 273 h 340"/>
                <a:gd name="T92" fmla="*/ 229 w 249"/>
                <a:gd name="T93" fmla="*/ 298 h 340"/>
                <a:gd name="T94" fmla="*/ 209 w 249"/>
                <a:gd name="T95" fmla="*/ 316 h 340"/>
                <a:gd name="T96" fmla="*/ 186 w 249"/>
                <a:gd name="T97" fmla="*/ 321 h 340"/>
                <a:gd name="T98" fmla="*/ 169 w 249"/>
                <a:gd name="T99" fmla="*/ 321 h 340"/>
                <a:gd name="T100" fmla="*/ 154 w 249"/>
                <a:gd name="T101" fmla="*/ 34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49" h="340">
                  <a:moveTo>
                    <a:pt x="154" y="340"/>
                  </a:moveTo>
                  <a:lnTo>
                    <a:pt x="147" y="335"/>
                  </a:lnTo>
                  <a:lnTo>
                    <a:pt x="139" y="328"/>
                  </a:lnTo>
                  <a:lnTo>
                    <a:pt x="117" y="330"/>
                  </a:lnTo>
                  <a:lnTo>
                    <a:pt x="117" y="338"/>
                  </a:lnTo>
                  <a:lnTo>
                    <a:pt x="80" y="340"/>
                  </a:lnTo>
                  <a:lnTo>
                    <a:pt x="77" y="328"/>
                  </a:lnTo>
                  <a:lnTo>
                    <a:pt x="60" y="316"/>
                  </a:lnTo>
                  <a:lnTo>
                    <a:pt x="42" y="311"/>
                  </a:lnTo>
                  <a:lnTo>
                    <a:pt x="42" y="301"/>
                  </a:lnTo>
                  <a:lnTo>
                    <a:pt x="35" y="286"/>
                  </a:lnTo>
                  <a:lnTo>
                    <a:pt x="27" y="281"/>
                  </a:lnTo>
                  <a:lnTo>
                    <a:pt x="20" y="276"/>
                  </a:lnTo>
                  <a:lnTo>
                    <a:pt x="17" y="261"/>
                  </a:lnTo>
                  <a:lnTo>
                    <a:pt x="10" y="258"/>
                  </a:lnTo>
                  <a:lnTo>
                    <a:pt x="0" y="241"/>
                  </a:lnTo>
                  <a:lnTo>
                    <a:pt x="17" y="239"/>
                  </a:lnTo>
                  <a:lnTo>
                    <a:pt x="22" y="199"/>
                  </a:lnTo>
                  <a:lnTo>
                    <a:pt x="37" y="199"/>
                  </a:lnTo>
                  <a:lnTo>
                    <a:pt x="40" y="159"/>
                  </a:lnTo>
                  <a:lnTo>
                    <a:pt x="62" y="154"/>
                  </a:lnTo>
                  <a:lnTo>
                    <a:pt x="60" y="107"/>
                  </a:lnTo>
                  <a:lnTo>
                    <a:pt x="47" y="102"/>
                  </a:lnTo>
                  <a:lnTo>
                    <a:pt x="47" y="89"/>
                  </a:lnTo>
                  <a:lnTo>
                    <a:pt x="65" y="89"/>
                  </a:lnTo>
                  <a:lnTo>
                    <a:pt x="62" y="74"/>
                  </a:lnTo>
                  <a:lnTo>
                    <a:pt x="55" y="57"/>
                  </a:lnTo>
                  <a:lnTo>
                    <a:pt x="55" y="35"/>
                  </a:lnTo>
                  <a:lnTo>
                    <a:pt x="67" y="0"/>
                  </a:lnTo>
                  <a:lnTo>
                    <a:pt x="75" y="15"/>
                  </a:lnTo>
                  <a:lnTo>
                    <a:pt x="82" y="32"/>
                  </a:lnTo>
                  <a:lnTo>
                    <a:pt x="92" y="42"/>
                  </a:lnTo>
                  <a:lnTo>
                    <a:pt x="102" y="65"/>
                  </a:lnTo>
                  <a:lnTo>
                    <a:pt x="109" y="79"/>
                  </a:lnTo>
                  <a:lnTo>
                    <a:pt x="112" y="94"/>
                  </a:lnTo>
                  <a:lnTo>
                    <a:pt x="132" y="102"/>
                  </a:lnTo>
                  <a:lnTo>
                    <a:pt x="142" y="124"/>
                  </a:lnTo>
                  <a:lnTo>
                    <a:pt x="157" y="152"/>
                  </a:lnTo>
                  <a:lnTo>
                    <a:pt x="152" y="164"/>
                  </a:lnTo>
                  <a:lnTo>
                    <a:pt x="149" y="196"/>
                  </a:lnTo>
                  <a:lnTo>
                    <a:pt x="169" y="201"/>
                  </a:lnTo>
                  <a:lnTo>
                    <a:pt x="182" y="211"/>
                  </a:lnTo>
                  <a:lnTo>
                    <a:pt x="211" y="241"/>
                  </a:lnTo>
                  <a:lnTo>
                    <a:pt x="234" y="241"/>
                  </a:lnTo>
                  <a:lnTo>
                    <a:pt x="249" y="258"/>
                  </a:lnTo>
                  <a:lnTo>
                    <a:pt x="231" y="273"/>
                  </a:lnTo>
                  <a:lnTo>
                    <a:pt x="229" y="298"/>
                  </a:lnTo>
                  <a:lnTo>
                    <a:pt x="209" y="316"/>
                  </a:lnTo>
                  <a:lnTo>
                    <a:pt x="186" y="321"/>
                  </a:lnTo>
                  <a:lnTo>
                    <a:pt x="169" y="321"/>
                  </a:lnTo>
                  <a:lnTo>
                    <a:pt x="154" y="3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0" name="Freeform 193"/>
            <p:cNvSpPr>
              <a:spLocks/>
            </p:cNvSpPr>
            <p:nvPr/>
          </p:nvSpPr>
          <p:spPr bwMode="auto">
            <a:xfrm>
              <a:off x="5302334" y="4015403"/>
              <a:ext cx="272015" cy="407303"/>
            </a:xfrm>
            <a:custGeom>
              <a:avLst/>
              <a:gdLst>
                <a:gd name="T0" fmla="*/ 30 w 189"/>
                <a:gd name="T1" fmla="*/ 42 h 283"/>
                <a:gd name="T2" fmla="*/ 43 w 189"/>
                <a:gd name="T3" fmla="*/ 52 h 283"/>
                <a:gd name="T4" fmla="*/ 72 w 189"/>
                <a:gd name="T5" fmla="*/ 82 h 283"/>
                <a:gd name="T6" fmla="*/ 95 w 189"/>
                <a:gd name="T7" fmla="*/ 82 h 283"/>
                <a:gd name="T8" fmla="*/ 110 w 189"/>
                <a:gd name="T9" fmla="*/ 99 h 283"/>
                <a:gd name="T10" fmla="*/ 92 w 189"/>
                <a:gd name="T11" fmla="*/ 114 h 283"/>
                <a:gd name="T12" fmla="*/ 90 w 189"/>
                <a:gd name="T13" fmla="*/ 139 h 283"/>
                <a:gd name="T14" fmla="*/ 70 w 189"/>
                <a:gd name="T15" fmla="*/ 157 h 283"/>
                <a:gd name="T16" fmla="*/ 47 w 189"/>
                <a:gd name="T17" fmla="*/ 162 h 283"/>
                <a:gd name="T18" fmla="*/ 30 w 189"/>
                <a:gd name="T19" fmla="*/ 162 h 283"/>
                <a:gd name="T20" fmla="*/ 15 w 189"/>
                <a:gd name="T21" fmla="*/ 181 h 283"/>
                <a:gd name="T22" fmla="*/ 8 w 189"/>
                <a:gd name="T23" fmla="*/ 189 h 283"/>
                <a:gd name="T24" fmla="*/ 0 w 189"/>
                <a:gd name="T25" fmla="*/ 201 h 283"/>
                <a:gd name="T26" fmla="*/ 5 w 189"/>
                <a:gd name="T27" fmla="*/ 278 h 283"/>
                <a:gd name="T28" fmla="*/ 13 w 189"/>
                <a:gd name="T29" fmla="*/ 283 h 283"/>
                <a:gd name="T30" fmla="*/ 25 w 189"/>
                <a:gd name="T31" fmla="*/ 266 h 283"/>
                <a:gd name="T32" fmla="*/ 35 w 189"/>
                <a:gd name="T33" fmla="*/ 249 h 283"/>
                <a:gd name="T34" fmla="*/ 55 w 189"/>
                <a:gd name="T35" fmla="*/ 234 h 283"/>
                <a:gd name="T36" fmla="*/ 90 w 189"/>
                <a:gd name="T37" fmla="*/ 201 h 283"/>
                <a:gd name="T38" fmla="*/ 122 w 189"/>
                <a:gd name="T39" fmla="*/ 171 h 283"/>
                <a:gd name="T40" fmla="*/ 142 w 189"/>
                <a:gd name="T41" fmla="*/ 142 h 283"/>
                <a:gd name="T42" fmla="*/ 149 w 189"/>
                <a:gd name="T43" fmla="*/ 109 h 283"/>
                <a:gd name="T44" fmla="*/ 159 w 189"/>
                <a:gd name="T45" fmla="*/ 82 h 283"/>
                <a:gd name="T46" fmla="*/ 174 w 189"/>
                <a:gd name="T47" fmla="*/ 62 h 283"/>
                <a:gd name="T48" fmla="*/ 182 w 189"/>
                <a:gd name="T49" fmla="*/ 42 h 283"/>
                <a:gd name="T50" fmla="*/ 189 w 189"/>
                <a:gd name="T51" fmla="*/ 30 h 283"/>
                <a:gd name="T52" fmla="*/ 179 w 189"/>
                <a:gd name="T53" fmla="*/ 20 h 283"/>
                <a:gd name="T54" fmla="*/ 167 w 189"/>
                <a:gd name="T55" fmla="*/ 0 h 283"/>
                <a:gd name="T56" fmla="*/ 147 w 189"/>
                <a:gd name="T57" fmla="*/ 17 h 283"/>
                <a:gd name="T58" fmla="*/ 127 w 189"/>
                <a:gd name="T59" fmla="*/ 22 h 283"/>
                <a:gd name="T60" fmla="*/ 115 w 189"/>
                <a:gd name="T61" fmla="*/ 27 h 283"/>
                <a:gd name="T62" fmla="*/ 105 w 189"/>
                <a:gd name="T63" fmla="*/ 35 h 283"/>
                <a:gd name="T64" fmla="*/ 67 w 189"/>
                <a:gd name="T65" fmla="*/ 32 h 283"/>
                <a:gd name="T66" fmla="*/ 47 w 189"/>
                <a:gd name="T67" fmla="*/ 25 h 283"/>
                <a:gd name="T68" fmla="*/ 30 w 189"/>
                <a:gd name="T69" fmla="*/ 42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9" h="283">
                  <a:moveTo>
                    <a:pt x="30" y="42"/>
                  </a:moveTo>
                  <a:lnTo>
                    <a:pt x="43" y="52"/>
                  </a:lnTo>
                  <a:lnTo>
                    <a:pt x="72" y="82"/>
                  </a:lnTo>
                  <a:lnTo>
                    <a:pt x="95" y="82"/>
                  </a:lnTo>
                  <a:lnTo>
                    <a:pt x="110" y="99"/>
                  </a:lnTo>
                  <a:lnTo>
                    <a:pt x="92" y="114"/>
                  </a:lnTo>
                  <a:lnTo>
                    <a:pt x="90" y="139"/>
                  </a:lnTo>
                  <a:lnTo>
                    <a:pt x="70" y="157"/>
                  </a:lnTo>
                  <a:lnTo>
                    <a:pt x="47" y="162"/>
                  </a:lnTo>
                  <a:lnTo>
                    <a:pt x="30" y="162"/>
                  </a:lnTo>
                  <a:lnTo>
                    <a:pt x="15" y="181"/>
                  </a:lnTo>
                  <a:lnTo>
                    <a:pt x="8" y="189"/>
                  </a:lnTo>
                  <a:lnTo>
                    <a:pt x="0" y="201"/>
                  </a:lnTo>
                  <a:lnTo>
                    <a:pt x="5" y="278"/>
                  </a:lnTo>
                  <a:lnTo>
                    <a:pt x="13" y="283"/>
                  </a:lnTo>
                  <a:lnTo>
                    <a:pt x="25" y="266"/>
                  </a:lnTo>
                  <a:lnTo>
                    <a:pt x="35" y="249"/>
                  </a:lnTo>
                  <a:lnTo>
                    <a:pt x="55" y="234"/>
                  </a:lnTo>
                  <a:lnTo>
                    <a:pt x="90" y="201"/>
                  </a:lnTo>
                  <a:lnTo>
                    <a:pt x="122" y="171"/>
                  </a:lnTo>
                  <a:lnTo>
                    <a:pt x="142" y="142"/>
                  </a:lnTo>
                  <a:lnTo>
                    <a:pt x="149" y="109"/>
                  </a:lnTo>
                  <a:lnTo>
                    <a:pt x="159" y="82"/>
                  </a:lnTo>
                  <a:lnTo>
                    <a:pt x="174" y="62"/>
                  </a:lnTo>
                  <a:lnTo>
                    <a:pt x="182" y="42"/>
                  </a:lnTo>
                  <a:lnTo>
                    <a:pt x="189" y="30"/>
                  </a:lnTo>
                  <a:lnTo>
                    <a:pt x="179" y="20"/>
                  </a:lnTo>
                  <a:lnTo>
                    <a:pt x="167" y="0"/>
                  </a:lnTo>
                  <a:lnTo>
                    <a:pt x="147" y="17"/>
                  </a:lnTo>
                  <a:lnTo>
                    <a:pt x="127" y="22"/>
                  </a:lnTo>
                  <a:lnTo>
                    <a:pt x="115" y="27"/>
                  </a:lnTo>
                  <a:lnTo>
                    <a:pt x="105" y="35"/>
                  </a:lnTo>
                  <a:lnTo>
                    <a:pt x="67" y="32"/>
                  </a:lnTo>
                  <a:lnTo>
                    <a:pt x="47" y="25"/>
                  </a:lnTo>
                  <a:lnTo>
                    <a:pt x="30" y="4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1" name="Freeform 194"/>
            <p:cNvSpPr>
              <a:spLocks/>
            </p:cNvSpPr>
            <p:nvPr/>
          </p:nvSpPr>
          <p:spPr bwMode="auto">
            <a:xfrm>
              <a:off x="4500680" y="3377822"/>
              <a:ext cx="390033" cy="466312"/>
            </a:xfrm>
            <a:custGeom>
              <a:avLst/>
              <a:gdLst>
                <a:gd name="T0" fmla="*/ 33 w 271"/>
                <a:gd name="T1" fmla="*/ 3 h 324"/>
                <a:gd name="T2" fmla="*/ 48 w 271"/>
                <a:gd name="T3" fmla="*/ 13 h 324"/>
                <a:gd name="T4" fmla="*/ 58 w 271"/>
                <a:gd name="T5" fmla="*/ 13 h 324"/>
                <a:gd name="T6" fmla="*/ 100 w 271"/>
                <a:gd name="T7" fmla="*/ 20 h 324"/>
                <a:gd name="T8" fmla="*/ 105 w 271"/>
                <a:gd name="T9" fmla="*/ 35 h 324"/>
                <a:gd name="T10" fmla="*/ 132 w 271"/>
                <a:gd name="T11" fmla="*/ 38 h 324"/>
                <a:gd name="T12" fmla="*/ 132 w 271"/>
                <a:gd name="T13" fmla="*/ 48 h 324"/>
                <a:gd name="T14" fmla="*/ 159 w 271"/>
                <a:gd name="T15" fmla="*/ 53 h 324"/>
                <a:gd name="T16" fmla="*/ 174 w 271"/>
                <a:gd name="T17" fmla="*/ 60 h 324"/>
                <a:gd name="T18" fmla="*/ 179 w 271"/>
                <a:gd name="T19" fmla="*/ 50 h 324"/>
                <a:gd name="T20" fmla="*/ 179 w 271"/>
                <a:gd name="T21" fmla="*/ 25 h 324"/>
                <a:gd name="T22" fmla="*/ 187 w 271"/>
                <a:gd name="T23" fmla="*/ 18 h 324"/>
                <a:gd name="T24" fmla="*/ 194 w 271"/>
                <a:gd name="T25" fmla="*/ 8 h 324"/>
                <a:gd name="T26" fmla="*/ 202 w 271"/>
                <a:gd name="T27" fmla="*/ 0 h 324"/>
                <a:gd name="T28" fmla="*/ 219 w 271"/>
                <a:gd name="T29" fmla="*/ 3 h 324"/>
                <a:gd name="T30" fmla="*/ 229 w 271"/>
                <a:gd name="T31" fmla="*/ 13 h 324"/>
                <a:gd name="T32" fmla="*/ 239 w 271"/>
                <a:gd name="T33" fmla="*/ 20 h 324"/>
                <a:gd name="T34" fmla="*/ 256 w 271"/>
                <a:gd name="T35" fmla="*/ 20 h 324"/>
                <a:gd name="T36" fmla="*/ 271 w 271"/>
                <a:gd name="T37" fmla="*/ 25 h 324"/>
                <a:gd name="T38" fmla="*/ 269 w 271"/>
                <a:gd name="T39" fmla="*/ 43 h 324"/>
                <a:gd name="T40" fmla="*/ 269 w 271"/>
                <a:gd name="T41" fmla="*/ 259 h 324"/>
                <a:gd name="T42" fmla="*/ 269 w 271"/>
                <a:gd name="T43" fmla="*/ 289 h 324"/>
                <a:gd name="T44" fmla="*/ 256 w 271"/>
                <a:gd name="T45" fmla="*/ 291 h 324"/>
                <a:gd name="T46" fmla="*/ 259 w 271"/>
                <a:gd name="T47" fmla="*/ 324 h 324"/>
                <a:gd name="T48" fmla="*/ 246 w 271"/>
                <a:gd name="T49" fmla="*/ 324 h 324"/>
                <a:gd name="T50" fmla="*/ 217 w 271"/>
                <a:gd name="T51" fmla="*/ 299 h 324"/>
                <a:gd name="T52" fmla="*/ 204 w 271"/>
                <a:gd name="T53" fmla="*/ 294 h 324"/>
                <a:gd name="T54" fmla="*/ 177 w 271"/>
                <a:gd name="T55" fmla="*/ 279 h 324"/>
                <a:gd name="T56" fmla="*/ 169 w 271"/>
                <a:gd name="T57" fmla="*/ 264 h 324"/>
                <a:gd name="T58" fmla="*/ 137 w 271"/>
                <a:gd name="T59" fmla="*/ 259 h 324"/>
                <a:gd name="T60" fmla="*/ 132 w 271"/>
                <a:gd name="T61" fmla="*/ 244 h 324"/>
                <a:gd name="T62" fmla="*/ 117 w 271"/>
                <a:gd name="T63" fmla="*/ 239 h 324"/>
                <a:gd name="T64" fmla="*/ 115 w 271"/>
                <a:gd name="T65" fmla="*/ 232 h 324"/>
                <a:gd name="T66" fmla="*/ 97 w 271"/>
                <a:gd name="T67" fmla="*/ 229 h 324"/>
                <a:gd name="T68" fmla="*/ 87 w 271"/>
                <a:gd name="T69" fmla="*/ 224 h 324"/>
                <a:gd name="T70" fmla="*/ 68 w 271"/>
                <a:gd name="T71" fmla="*/ 222 h 324"/>
                <a:gd name="T72" fmla="*/ 63 w 271"/>
                <a:gd name="T73" fmla="*/ 214 h 324"/>
                <a:gd name="T74" fmla="*/ 40 w 271"/>
                <a:gd name="T75" fmla="*/ 214 h 324"/>
                <a:gd name="T76" fmla="*/ 38 w 271"/>
                <a:gd name="T77" fmla="*/ 197 h 324"/>
                <a:gd name="T78" fmla="*/ 10 w 271"/>
                <a:gd name="T79" fmla="*/ 192 h 324"/>
                <a:gd name="T80" fmla="*/ 0 w 271"/>
                <a:gd name="T81" fmla="*/ 182 h 324"/>
                <a:gd name="T82" fmla="*/ 0 w 271"/>
                <a:gd name="T83" fmla="*/ 162 h 324"/>
                <a:gd name="T84" fmla="*/ 3 w 271"/>
                <a:gd name="T85" fmla="*/ 43 h 324"/>
                <a:gd name="T86" fmla="*/ 20 w 271"/>
                <a:gd name="T87" fmla="*/ 33 h 324"/>
                <a:gd name="T88" fmla="*/ 30 w 271"/>
                <a:gd name="T89" fmla="*/ 30 h 324"/>
                <a:gd name="T90" fmla="*/ 33 w 271"/>
                <a:gd name="T91" fmla="*/ 3 h 3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71" h="324">
                  <a:moveTo>
                    <a:pt x="33" y="3"/>
                  </a:moveTo>
                  <a:lnTo>
                    <a:pt x="48" y="13"/>
                  </a:lnTo>
                  <a:lnTo>
                    <a:pt x="58" y="13"/>
                  </a:lnTo>
                  <a:lnTo>
                    <a:pt x="100" y="20"/>
                  </a:lnTo>
                  <a:lnTo>
                    <a:pt x="105" y="35"/>
                  </a:lnTo>
                  <a:lnTo>
                    <a:pt x="132" y="38"/>
                  </a:lnTo>
                  <a:lnTo>
                    <a:pt x="132" y="48"/>
                  </a:lnTo>
                  <a:lnTo>
                    <a:pt x="159" y="53"/>
                  </a:lnTo>
                  <a:lnTo>
                    <a:pt x="174" y="60"/>
                  </a:lnTo>
                  <a:lnTo>
                    <a:pt x="179" y="50"/>
                  </a:lnTo>
                  <a:lnTo>
                    <a:pt x="179" y="25"/>
                  </a:lnTo>
                  <a:lnTo>
                    <a:pt x="187" y="18"/>
                  </a:lnTo>
                  <a:lnTo>
                    <a:pt x="194" y="8"/>
                  </a:lnTo>
                  <a:lnTo>
                    <a:pt x="202" y="0"/>
                  </a:lnTo>
                  <a:lnTo>
                    <a:pt x="219" y="3"/>
                  </a:lnTo>
                  <a:lnTo>
                    <a:pt x="229" y="13"/>
                  </a:lnTo>
                  <a:lnTo>
                    <a:pt x="239" y="20"/>
                  </a:lnTo>
                  <a:lnTo>
                    <a:pt x="256" y="20"/>
                  </a:lnTo>
                  <a:lnTo>
                    <a:pt x="271" y="25"/>
                  </a:lnTo>
                  <a:lnTo>
                    <a:pt x="269" y="43"/>
                  </a:lnTo>
                  <a:lnTo>
                    <a:pt x="269" y="259"/>
                  </a:lnTo>
                  <a:lnTo>
                    <a:pt x="269" y="289"/>
                  </a:lnTo>
                  <a:lnTo>
                    <a:pt x="256" y="291"/>
                  </a:lnTo>
                  <a:lnTo>
                    <a:pt x="259" y="324"/>
                  </a:lnTo>
                  <a:lnTo>
                    <a:pt x="246" y="324"/>
                  </a:lnTo>
                  <a:lnTo>
                    <a:pt x="217" y="299"/>
                  </a:lnTo>
                  <a:lnTo>
                    <a:pt x="204" y="294"/>
                  </a:lnTo>
                  <a:lnTo>
                    <a:pt x="177" y="279"/>
                  </a:lnTo>
                  <a:lnTo>
                    <a:pt x="169" y="264"/>
                  </a:lnTo>
                  <a:lnTo>
                    <a:pt x="137" y="259"/>
                  </a:lnTo>
                  <a:lnTo>
                    <a:pt x="132" y="244"/>
                  </a:lnTo>
                  <a:lnTo>
                    <a:pt x="117" y="239"/>
                  </a:lnTo>
                  <a:lnTo>
                    <a:pt x="115" y="232"/>
                  </a:lnTo>
                  <a:lnTo>
                    <a:pt x="97" y="229"/>
                  </a:lnTo>
                  <a:lnTo>
                    <a:pt x="87" y="224"/>
                  </a:lnTo>
                  <a:lnTo>
                    <a:pt x="68" y="222"/>
                  </a:lnTo>
                  <a:lnTo>
                    <a:pt x="63" y="214"/>
                  </a:lnTo>
                  <a:lnTo>
                    <a:pt x="40" y="214"/>
                  </a:lnTo>
                  <a:lnTo>
                    <a:pt x="38" y="197"/>
                  </a:lnTo>
                  <a:lnTo>
                    <a:pt x="10" y="192"/>
                  </a:lnTo>
                  <a:lnTo>
                    <a:pt x="0" y="182"/>
                  </a:lnTo>
                  <a:lnTo>
                    <a:pt x="0" y="162"/>
                  </a:lnTo>
                  <a:lnTo>
                    <a:pt x="3" y="43"/>
                  </a:lnTo>
                  <a:lnTo>
                    <a:pt x="20" y="33"/>
                  </a:lnTo>
                  <a:lnTo>
                    <a:pt x="30" y="30"/>
                  </a:lnTo>
                  <a:lnTo>
                    <a:pt x="33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2" name="Freeform 197"/>
            <p:cNvSpPr>
              <a:spLocks/>
            </p:cNvSpPr>
            <p:nvPr/>
          </p:nvSpPr>
          <p:spPr bwMode="auto">
            <a:xfrm>
              <a:off x="4808676" y="3704529"/>
              <a:ext cx="390033" cy="564180"/>
            </a:xfrm>
            <a:custGeom>
              <a:avLst/>
              <a:gdLst>
                <a:gd name="T0" fmla="*/ 42 w 271"/>
                <a:gd name="T1" fmla="*/ 149 h 392"/>
                <a:gd name="T2" fmla="*/ 20 w 271"/>
                <a:gd name="T3" fmla="*/ 174 h 392"/>
                <a:gd name="T4" fmla="*/ 3 w 271"/>
                <a:gd name="T5" fmla="*/ 191 h 392"/>
                <a:gd name="T6" fmla="*/ 15 w 271"/>
                <a:gd name="T7" fmla="*/ 209 h 392"/>
                <a:gd name="T8" fmla="*/ 25 w 271"/>
                <a:gd name="T9" fmla="*/ 226 h 392"/>
                <a:gd name="T10" fmla="*/ 23 w 271"/>
                <a:gd name="T11" fmla="*/ 241 h 392"/>
                <a:gd name="T12" fmla="*/ 40 w 271"/>
                <a:gd name="T13" fmla="*/ 273 h 392"/>
                <a:gd name="T14" fmla="*/ 45 w 271"/>
                <a:gd name="T15" fmla="*/ 291 h 392"/>
                <a:gd name="T16" fmla="*/ 60 w 271"/>
                <a:gd name="T17" fmla="*/ 298 h 392"/>
                <a:gd name="T18" fmla="*/ 80 w 271"/>
                <a:gd name="T19" fmla="*/ 320 h 392"/>
                <a:gd name="T20" fmla="*/ 92 w 271"/>
                <a:gd name="T21" fmla="*/ 343 h 392"/>
                <a:gd name="T22" fmla="*/ 102 w 271"/>
                <a:gd name="T23" fmla="*/ 355 h 392"/>
                <a:gd name="T24" fmla="*/ 105 w 271"/>
                <a:gd name="T25" fmla="*/ 373 h 392"/>
                <a:gd name="T26" fmla="*/ 152 w 271"/>
                <a:gd name="T27" fmla="*/ 387 h 392"/>
                <a:gd name="T28" fmla="*/ 164 w 271"/>
                <a:gd name="T29" fmla="*/ 392 h 392"/>
                <a:gd name="T30" fmla="*/ 202 w 271"/>
                <a:gd name="T31" fmla="*/ 392 h 392"/>
                <a:gd name="T32" fmla="*/ 246 w 271"/>
                <a:gd name="T33" fmla="*/ 368 h 392"/>
                <a:gd name="T34" fmla="*/ 239 w 271"/>
                <a:gd name="T35" fmla="*/ 343 h 392"/>
                <a:gd name="T36" fmla="*/ 224 w 271"/>
                <a:gd name="T37" fmla="*/ 333 h 392"/>
                <a:gd name="T38" fmla="*/ 214 w 271"/>
                <a:gd name="T39" fmla="*/ 315 h 392"/>
                <a:gd name="T40" fmla="*/ 221 w 271"/>
                <a:gd name="T41" fmla="*/ 296 h 392"/>
                <a:gd name="T42" fmla="*/ 241 w 271"/>
                <a:gd name="T43" fmla="*/ 256 h 392"/>
                <a:gd name="T44" fmla="*/ 266 w 271"/>
                <a:gd name="T45" fmla="*/ 211 h 392"/>
                <a:gd name="T46" fmla="*/ 251 w 271"/>
                <a:gd name="T47" fmla="*/ 159 h 392"/>
                <a:gd name="T48" fmla="*/ 269 w 271"/>
                <a:gd name="T49" fmla="*/ 146 h 392"/>
                <a:gd name="T50" fmla="*/ 259 w 271"/>
                <a:gd name="T51" fmla="*/ 114 h 392"/>
                <a:gd name="T52" fmla="*/ 271 w 271"/>
                <a:gd name="T53" fmla="*/ 57 h 392"/>
                <a:gd name="T54" fmla="*/ 259 w 271"/>
                <a:gd name="T55" fmla="*/ 20 h 392"/>
                <a:gd name="T56" fmla="*/ 207 w 271"/>
                <a:gd name="T57" fmla="*/ 25 h 392"/>
                <a:gd name="T58" fmla="*/ 80 w 271"/>
                <a:gd name="T59" fmla="*/ 17 h 392"/>
                <a:gd name="T60" fmla="*/ 55 w 271"/>
                <a:gd name="T61" fmla="*/ 32 h 392"/>
                <a:gd name="T62" fmla="*/ 42 w 271"/>
                <a:gd name="T63" fmla="*/ 64 h 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71" h="392">
                  <a:moveTo>
                    <a:pt x="45" y="97"/>
                  </a:moveTo>
                  <a:lnTo>
                    <a:pt x="42" y="149"/>
                  </a:lnTo>
                  <a:lnTo>
                    <a:pt x="32" y="154"/>
                  </a:lnTo>
                  <a:lnTo>
                    <a:pt x="20" y="174"/>
                  </a:lnTo>
                  <a:lnTo>
                    <a:pt x="18" y="191"/>
                  </a:lnTo>
                  <a:lnTo>
                    <a:pt x="3" y="191"/>
                  </a:lnTo>
                  <a:lnTo>
                    <a:pt x="0" y="204"/>
                  </a:lnTo>
                  <a:lnTo>
                    <a:pt x="15" y="209"/>
                  </a:lnTo>
                  <a:lnTo>
                    <a:pt x="18" y="223"/>
                  </a:lnTo>
                  <a:lnTo>
                    <a:pt x="25" y="226"/>
                  </a:lnTo>
                  <a:lnTo>
                    <a:pt x="25" y="236"/>
                  </a:lnTo>
                  <a:lnTo>
                    <a:pt x="23" y="241"/>
                  </a:lnTo>
                  <a:lnTo>
                    <a:pt x="30" y="256"/>
                  </a:lnTo>
                  <a:lnTo>
                    <a:pt x="40" y="273"/>
                  </a:lnTo>
                  <a:lnTo>
                    <a:pt x="37" y="288"/>
                  </a:lnTo>
                  <a:lnTo>
                    <a:pt x="45" y="291"/>
                  </a:lnTo>
                  <a:lnTo>
                    <a:pt x="47" y="300"/>
                  </a:lnTo>
                  <a:lnTo>
                    <a:pt x="60" y="298"/>
                  </a:lnTo>
                  <a:lnTo>
                    <a:pt x="65" y="315"/>
                  </a:lnTo>
                  <a:lnTo>
                    <a:pt x="80" y="320"/>
                  </a:lnTo>
                  <a:lnTo>
                    <a:pt x="85" y="340"/>
                  </a:lnTo>
                  <a:lnTo>
                    <a:pt x="92" y="343"/>
                  </a:lnTo>
                  <a:lnTo>
                    <a:pt x="97" y="350"/>
                  </a:lnTo>
                  <a:lnTo>
                    <a:pt x="102" y="355"/>
                  </a:lnTo>
                  <a:lnTo>
                    <a:pt x="100" y="365"/>
                  </a:lnTo>
                  <a:lnTo>
                    <a:pt x="105" y="373"/>
                  </a:lnTo>
                  <a:lnTo>
                    <a:pt x="147" y="378"/>
                  </a:lnTo>
                  <a:lnTo>
                    <a:pt x="152" y="387"/>
                  </a:lnTo>
                  <a:lnTo>
                    <a:pt x="164" y="390"/>
                  </a:lnTo>
                  <a:lnTo>
                    <a:pt x="164" y="392"/>
                  </a:lnTo>
                  <a:lnTo>
                    <a:pt x="184" y="392"/>
                  </a:lnTo>
                  <a:lnTo>
                    <a:pt x="202" y="392"/>
                  </a:lnTo>
                  <a:lnTo>
                    <a:pt x="221" y="387"/>
                  </a:lnTo>
                  <a:lnTo>
                    <a:pt x="246" y="368"/>
                  </a:lnTo>
                  <a:lnTo>
                    <a:pt x="246" y="358"/>
                  </a:lnTo>
                  <a:lnTo>
                    <a:pt x="239" y="343"/>
                  </a:lnTo>
                  <a:lnTo>
                    <a:pt x="231" y="338"/>
                  </a:lnTo>
                  <a:lnTo>
                    <a:pt x="224" y="333"/>
                  </a:lnTo>
                  <a:lnTo>
                    <a:pt x="221" y="318"/>
                  </a:lnTo>
                  <a:lnTo>
                    <a:pt x="214" y="315"/>
                  </a:lnTo>
                  <a:lnTo>
                    <a:pt x="204" y="298"/>
                  </a:lnTo>
                  <a:lnTo>
                    <a:pt x="221" y="296"/>
                  </a:lnTo>
                  <a:lnTo>
                    <a:pt x="226" y="256"/>
                  </a:lnTo>
                  <a:lnTo>
                    <a:pt x="241" y="256"/>
                  </a:lnTo>
                  <a:lnTo>
                    <a:pt x="244" y="216"/>
                  </a:lnTo>
                  <a:lnTo>
                    <a:pt x="266" y="211"/>
                  </a:lnTo>
                  <a:lnTo>
                    <a:pt x="264" y="164"/>
                  </a:lnTo>
                  <a:lnTo>
                    <a:pt x="251" y="159"/>
                  </a:lnTo>
                  <a:lnTo>
                    <a:pt x="251" y="146"/>
                  </a:lnTo>
                  <a:lnTo>
                    <a:pt x="269" y="146"/>
                  </a:lnTo>
                  <a:lnTo>
                    <a:pt x="266" y="131"/>
                  </a:lnTo>
                  <a:lnTo>
                    <a:pt x="259" y="114"/>
                  </a:lnTo>
                  <a:lnTo>
                    <a:pt x="259" y="92"/>
                  </a:lnTo>
                  <a:lnTo>
                    <a:pt x="271" y="57"/>
                  </a:lnTo>
                  <a:lnTo>
                    <a:pt x="269" y="39"/>
                  </a:lnTo>
                  <a:lnTo>
                    <a:pt x="259" y="20"/>
                  </a:lnTo>
                  <a:lnTo>
                    <a:pt x="236" y="0"/>
                  </a:lnTo>
                  <a:lnTo>
                    <a:pt x="207" y="25"/>
                  </a:lnTo>
                  <a:lnTo>
                    <a:pt x="197" y="17"/>
                  </a:lnTo>
                  <a:lnTo>
                    <a:pt x="80" y="17"/>
                  </a:lnTo>
                  <a:lnTo>
                    <a:pt x="67" y="25"/>
                  </a:lnTo>
                  <a:lnTo>
                    <a:pt x="55" y="32"/>
                  </a:lnTo>
                  <a:lnTo>
                    <a:pt x="55" y="62"/>
                  </a:lnTo>
                  <a:lnTo>
                    <a:pt x="42" y="64"/>
                  </a:lnTo>
                  <a:lnTo>
                    <a:pt x="45" y="9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3" name="Freeform 198"/>
            <p:cNvSpPr>
              <a:spLocks/>
            </p:cNvSpPr>
            <p:nvPr/>
          </p:nvSpPr>
          <p:spPr bwMode="auto">
            <a:xfrm>
              <a:off x="6498339" y="3536138"/>
              <a:ext cx="67645" cy="38860"/>
            </a:xfrm>
            <a:custGeom>
              <a:avLst/>
              <a:gdLst>
                <a:gd name="T0" fmla="*/ 42 w 47"/>
                <a:gd name="T1" fmla="*/ 27 h 27"/>
                <a:gd name="T2" fmla="*/ 22 w 47"/>
                <a:gd name="T3" fmla="*/ 27 h 27"/>
                <a:gd name="T4" fmla="*/ 5 w 47"/>
                <a:gd name="T5" fmla="*/ 20 h 27"/>
                <a:gd name="T6" fmla="*/ 0 w 47"/>
                <a:gd name="T7" fmla="*/ 0 h 27"/>
                <a:gd name="T8" fmla="*/ 19 w 47"/>
                <a:gd name="T9" fmla="*/ 10 h 27"/>
                <a:gd name="T10" fmla="*/ 47 w 47"/>
                <a:gd name="T11" fmla="*/ 10 h 27"/>
                <a:gd name="T12" fmla="*/ 42 w 47"/>
                <a:gd name="T13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7" h="27">
                  <a:moveTo>
                    <a:pt x="42" y="27"/>
                  </a:moveTo>
                  <a:lnTo>
                    <a:pt x="22" y="27"/>
                  </a:lnTo>
                  <a:lnTo>
                    <a:pt x="5" y="20"/>
                  </a:lnTo>
                  <a:lnTo>
                    <a:pt x="0" y="0"/>
                  </a:lnTo>
                  <a:lnTo>
                    <a:pt x="19" y="10"/>
                  </a:lnTo>
                  <a:lnTo>
                    <a:pt x="47" y="10"/>
                  </a:lnTo>
                  <a:lnTo>
                    <a:pt x="42" y="2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4" name="Freeform 199"/>
            <p:cNvSpPr>
              <a:spLocks/>
            </p:cNvSpPr>
            <p:nvPr/>
          </p:nvSpPr>
          <p:spPr bwMode="auto">
            <a:xfrm>
              <a:off x="4479092" y="4309007"/>
              <a:ext cx="165512" cy="192858"/>
            </a:xfrm>
            <a:custGeom>
              <a:avLst/>
              <a:gdLst>
                <a:gd name="T0" fmla="*/ 85 w 115"/>
                <a:gd name="T1" fmla="*/ 0 h 134"/>
                <a:gd name="T2" fmla="*/ 58 w 115"/>
                <a:gd name="T3" fmla="*/ 2 h 134"/>
                <a:gd name="T4" fmla="*/ 48 w 115"/>
                <a:gd name="T5" fmla="*/ 12 h 134"/>
                <a:gd name="T6" fmla="*/ 48 w 115"/>
                <a:gd name="T7" fmla="*/ 20 h 134"/>
                <a:gd name="T8" fmla="*/ 43 w 115"/>
                <a:gd name="T9" fmla="*/ 32 h 134"/>
                <a:gd name="T10" fmla="*/ 23 w 115"/>
                <a:gd name="T11" fmla="*/ 35 h 134"/>
                <a:gd name="T12" fmla="*/ 18 w 115"/>
                <a:gd name="T13" fmla="*/ 30 h 134"/>
                <a:gd name="T14" fmla="*/ 18 w 115"/>
                <a:gd name="T15" fmla="*/ 52 h 134"/>
                <a:gd name="T16" fmla="*/ 5 w 115"/>
                <a:gd name="T17" fmla="*/ 59 h 134"/>
                <a:gd name="T18" fmla="*/ 0 w 115"/>
                <a:gd name="T19" fmla="*/ 64 h 134"/>
                <a:gd name="T20" fmla="*/ 10 w 115"/>
                <a:gd name="T21" fmla="*/ 69 h 134"/>
                <a:gd name="T22" fmla="*/ 8 w 115"/>
                <a:gd name="T23" fmla="*/ 87 h 134"/>
                <a:gd name="T24" fmla="*/ 30 w 115"/>
                <a:gd name="T25" fmla="*/ 107 h 134"/>
                <a:gd name="T26" fmla="*/ 48 w 115"/>
                <a:gd name="T27" fmla="*/ 127 h 134"/>
                <a:gd name="T28" fmla="*/ 55 w 115"/>
                <a:gd name="T29" fmla="*/ 134 h 134"/>
                <a:gd name="T30" fmla="*/ 60 w 115"/>
                <a:gd name="T31" fmla="*/ 124 h 134"/>
                <a:gd name="T32" fmla="*/ 68 w 115"/>
                <a:gd name="T33" fmla="*/ 109 h 134"/>
                <a:gd name="T34" fmla="*/ 58 w 115"/>
                <a:gd name="T35" fmla="*/ 104 h 134"/>
                <a:gd name="T36" fmla="*/ 58 w 115"/>
                <a:gd name="T37" fmla="*/ 94 h 134"/>
                <a:gd name="T38" fmla="*/ 70 w 115"/>
                <a:gd name="T39" fmla="*/ 89 h 134"/>
                <a:gd name="T40" fmla="*/ 78 w 115"/>
                <a:gd name="T41" fmla="*/ 87 h 134"/>
                <a:gd name="T42" fmla="*/ 87 w 115"/>
                <a:gd name="T43" fmla="*/ 99 h 134"/>
                <a:gd name="T44" fmla="*/ 102 w 115"/>
                <a:gd name="T45" fmla="*/ 92 h 134"/>
                <a:gd name="T46" fmla="*/ 115 w 115"/>
                <a:gd name="T47" fmla="*/ 74 h 134"/>
                <a:gd name="T48" fmla="*/ 110 w 115"/>
                <a:gd name="T49" fmla="*/ 59 h 134"/>
                <a:gd name="T50" fmla="*/ 102 w 115"/>
                <a:gd name="T51" fmla="*/ 50 h 134"/>
                <a:gd name="T52" fmla="*/ 97 w 115"/>
                <a:gd name="T53" fmla="*/ 37 h 134"/>
                <a:gd name="T54" fmla="*/ 100 w 115"/>
                <a:gd name="T55" fmla="*/ 27 h 134"/>
                <a:gd name="T56" fmla="*/ 97 w 115"/>
                <a:gd name="T57" fmla="*/ 17 h 134"/>
                <a:gd name="T58" fmla="*/ 85 w 115"/>
                <a:gd name="T59" fmla="*/ 17 h 134"/>
                <a:gd name="T60" fmla="*/ 85 w 115"/>
                <a:gd name="T61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5" h="134">
                  <a:moveTo>
                    <a:pt x="85" y="0"/>
                  </a:moveTo>
                  <a:lnTo>
                    <a:pt x="58" y="2"/>
                  </a:lnTo>
                  <a:lnTo>
                    <a:pt x="48" y="12"/>
                  </a:lnTo>
                  <a:lnTo>
                    <a:pt x="48" y="20"/>
                  </a:lnTo>
                  <a:lnTo>
                    <a:pt x="43" y="32"/>
                  </a:lnTo>
                  <a:lnTo>
                    <a:pt x="23" y="35"/>
                  </a:lnTo>
                  <a:lnTo>
                    <a:pt x="18" y="30"/>
                  </a:lnTo>
                  <a:lnTo>
                    <a:pt x="18" y="52"/>
                  </a:lnTo>
                  <a:lnTo>
                    <a:pt x="5" y="59"/>
                  </a:lnTo>
                  <a:lnTo>
                    <a:pt x="0" y="64"/>
                  </a:lnTo>
                  <a:lnTo>
                    <a:pt x="10" y="69"/>
                  </a:lnTo>
                  <a:lnTo>
                    <a:pt x="8" y="87"/>
                  </a:lnTo>
                  <a:lnTo>
                    <a:pt x="30" y="107"/>
                  </a:lnTo>
                  <a:lnTo>
                    <a:pt x="48" y="127"/>
                  </a:lnTo>
                  <a:lnTo>
                    <a:pt x="55" y="134"/>
                  </a:lnTo>
                  <a:lnTo>
                    <a:pt x="60" y="124"/>
                  </a:lnTo>
                  <a:lnTo>
                    <a:pt x="68" y="109"/>
                  </a:lnTo>
                  <a:lnTo>
                    <a:pt x="58" y="104"/>
                  </a:lnTo>
                  <a:lnTo>
                    <a:pt x="58" y="94"/>
                  </a:lnTo>
                  <a:lnTo>
                    <a:pt x="70" y="89"/>
                  </a:lnTo>
                  <a:lnTo>
                    <a:pt x="78" y="87"/>
                  </a:lnTo>
                  <a:lnTo>
                    <a:pt x="87" y="99"/>
                  </a:lnTo>
                  <a:lnTo>
                    <a:pt x="102" y="92"/>
                  </a:lnTo>
                  <a:lnTo>
                    <a:pt x="115" y="74"/>
                  </a:lnTo>
                  <a:lnTo>
                    <a:pt x="110" y="59"/>
                  </a:lnTo>
                  <a:lnTo>
                    <a:pt x="102" y="50"/>
                  </a:lnTo>
                  <a:lnTo>
                    <a:pt x="97" y="37"/>
                  </a:lnTo>
                  <a:lnTo>
                    <a:pt x="100" y="27"/>
                  </a:lnTo>
                  <a:lnTo>
                    <a:pt x="97" y="17"/>
                  </a:lnTo>
                  <a:lnTo>
                    <a:pt x="85" y="17"/>
                  </a:lnTo>
                  <a:lnTo>
                    <a:pt x="8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5" name="Freeform 200"/>
            <p:cNvSpPr>
              <a:spLocks/>
            </p:cNvSpPr>
            <p:nvPr/>
          </p:nvSpPr>
          <p:spPr bwMode="auto">
            <a:xfrm>
              <a:off x="5102280" y="3389336"/>
              <a:ext cx="28785" cy="89233"/>
            </a:xfrm>
            <a:custGeom>
              <a:avLst/>
              <a:gdLst>
                <a:gd name="T0" fmla="*/ 0 w 20"/>
                <a:gd name="T1" fmla="*/ 37 h 62"/>
                <a:gd name="T2" fmla="*/ 15 w 20"/>
                <a:gd name="T3" fmla="*/ 62 h 62"/>
                <a:gd name="T4" fmla="*/ 20 w 20"/>
                <a:gd name="T5" fmla="*/ 37 h 62"/>
                <a:gd name="T6" fmla="*/ 20 w 20"/>
                <a:gd name="T7" fmla="*/ 0 h 62"/>
                <a:gd name="T8" fmla="*/ 0 w 20"/>
                <a:gd name="T9" fmla="*/ 37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62">
                  <a:moveTo>
                    <a:pt x="0" y="37"/>
                  </a:moveTo>
                  <a:lnTo>
                    <a:pt x="15" y="62"/>
                  </a:lnTo>
                  <a:lnTo>
                    <a:pt x="20" y="37"/>
                  </a:lnTo>
                  <a:lnTo>
                    <a:pt x="20" y="0"/>
                  </a:lnTo>
                  <a:lnTo>
                    <a:pt x="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6" name="Freeform 201"/>
            <p:cNvSpPr>
              <a:spLocks/>
            </p:cNvSpPr>
            <p:nvPr/>
          </p:nvSpPr>
          <p:spPr bwMode="auto">
            <a:xfrm>
              <a:off x="5131065" y="3331766"/>
              <a:ext cx="35981" cy="57569"/>
            </a:xfrm>
            <a:custGeom>
              <a:avLst/>
              <a:gdLst>
                <a:gd name="T0" fmla="*/ 0 w 25"/>
                <a:gd name="T1" fmla="*/ 40 h 40"/>
                <a:gd name="T2" fmla="*/ 17 w 25"/>
                <a:gd name="T3" fmla="*/ 30 h 40"/>
                <a:gd name="T4" fmla="*/ 25 w 25"/>
                <a:gd name="T5" fmla="*/ 10 h 40"/>
                <a:gd name="T6" fmla="*/ 10 w 25"/>
                <a:gd name="T7" fmla="*/ 0 h 40"/>
                <a:gd name="T8" fmla="*/ 0 w 25"/>
                <a:gd name="T9" fmla="*/ 40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40">
                  <a:moveTo>
                    <a:pt x="0" y="40"/>
                  </a:moveTo>
                  <a:lnTo>
                    <a:pt x="17" y="30"/>
                  </a:lnTo>
                  <a:lnTo>
                    <a:pt x="25" y="10"/>
                  </a:lnTo>
                  <a:lnTo>
                    <a:pt x="10" y="0"/>
                  </a:lnTo>
                  <a:lnTo>
                    <a:pt x="0" y="4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7" name="Freeform 202"/>
            <p:cNvSpPr>
              <a:spLocks/>
            </p:cNvSpPr>
            <p:nvPr/>
          </p:nvSpPr>
          <p:spPr bwMode="auto">
            <a:xfrm>
              <a:off x="2169118" y="4104636"/>
              <a:ext cx="149680" cy="89233"/>
            </a:xfrm>
            <a:custGeom>
              <a:avLst/>
              <a:gdLst>
                <a:gd name="T0" fmla="*/ 14 w 104"/>
                <a:gd name="T1" fmla="*/ 8 h 62"/>
                <a:gd name="T2" fmla="*/ 0 w 104"/>
                <a:gd name="T3" fmla="*/ 15 h 62"/>
                <a:gd name="T4" fmla="*/ 0 w 104"/>
                <a:gd name="T5" fmla="*/ 35 h 62"/>
                <a:gd name="T6" fmla="*/ 37 w 104"/>
                <a:gd name="T7" fmla="*/ 40 h 62"/>
                <a:gd name="T8" fmla="*/ 49 w 104"/>
                <a:gd name="T9" fmla="*/ 52 h 62"/>
                <a:gd name="T10" fmla="*/ 64 w 104"/>
                <a:gd name="T11" fmla="*/ 42 h 62"/>
                <a:gd name="T12" fmla="*/ 59 w 104"/>
                <a:gd name="T13" fmla="*/ 27 h 62"/>
                <a:gd name="T14" fmla="*/ 77 w 104"/>
                <a:gd name="T15" fmla="*/ 27 h 62"/>
                <a:gd name="T16" fmla="*/ 94 w 104"/>
                <a:gd name="T17" fmla="*/ 47 h 62"/>
                <a:gd name="T18" fmla="*/ 101 w 104"/>
                <a:gd name="T19" fmla="*/ 62 h 62"/>
                <a:gd name="T20" fmla="*/ 104 w 104"/>
                <a:gd name="T21" fmla="*/ 22 h 62"/>
                <a:gd name="T22" fmla="*/ 82 w 104"/>
                <a:gd name="T23" fmla="*/ 8 h 62"/>
                <a:gd name="T24" fmla="*/ 62 w 104"/>
                <a:gd name="T25" fmla="*/ 0 h 62"/>
                <a:gd name="T26" fmla="*/ 49 w 104"/>
                <a:gd name="T27" fmla="*/ 15 h 62"/>
                <a:gd name="T28" fmla="*/ 14 w 104"/>
                <a:gd name="T29" fmla="*/ 8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04" h="62">
                  <a:moveTo>
                    <a:pt x="14" y="8"/>
                  </a:moveTo>
                  <a:lnTo>
                    <a:pt x="0" y="15"/>
                  </a:lnTo>
                  <a:lnTo>
                    <a:pt x="0" y="35"/>
                  </a:lnTo>
                  <a:lnTo>
                    <a:pt x="37" y="40"/>
                  </a:lnTo>
                  <a:lnTo>
                    <a:pt x="49" y="52"/>
                  </a:lnTo>
                  <a:lnTo>
                    <a:pt x="64" y="42"/>
                  </a:lnTo>
                  <a:lnTo>
                    <a:pt x="59" y="27"/>
                  </a:lnTo>
                  <a:lnTo>
                    <a:pt x="77" y="27"/>
                  </a:lnTo>
                  <a:lnTo>
                    <a:pt x="94" y="47"/>
                  </a:lnTo>
                  <a:lnTo>
                    <a:pt x="101" y="62"/>
                  </a:lnTo>
                  <a:lnTo>
                    <a:pt x="104" y="22"/>
                  </a:lnTo>
                  <a:lnTo>
                    <a:pt x="82" y="8"/>
                  </a:lnTo>
                  <a:lnTo>
                    <a:pt x="62" y="0"/>
                  </a:lnTo>
                  <a:lnTo>
                    <a:pt x="49" y="15"/>
                  </a:lnTo>
                  <a:lnTo>
                    <a:pt x="14" y="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8" name="Freeform 203"/>
            <p:cNvSpPr>
              <a:spLocks/>
            </p:cNvSpPr>
            <p:nvPr/>
          </p:nvSpPr>
          <p:spPr bwMode="auto">
            <a:xfrm>
              <a:off x="2225249" y="4359380"/>
              <a:ext cx="194296" cy="178465"/>
            </a:xfrm>
            <a:custGeom>
              <a:avLst/>
              <a:gdLst>
                <a:gd name="T0" fmla="*/ 135 w 135"/>
                <a:gd name="T1" fmla="*/ 57 h 124"/>
                <a:gd name="T2" fmla="*/ 120 w 135"/>
                <a:gd name="T3" fmla="*/ 37 h 124"/>
                <a:gd name="T4" fmla="*/ 102 w 135"/>
                <a:gd name="T5" fmla="*/ 24 h 124"/>
                <a:gd name="T6" fmla="*/ 87 w 135"/>
                <a:gd name="T7" fmla="*/ 12 h 124"/>
                <a:gd name="T8" fmla="*/ 60 w 135"/>
                <a:gd name="T9" fmla="*/ 15 h 124"/>
                <a:gd name="T10" fmla="*/ 33 w 135"/>
                <a:gd name="T11" fmla="*/ 0 h 124"/>
                <a:gd name="T12" fmla="*/ 18 w 135"/>
                <a:gd name="T13" fmla="*/ 7 h 124"/>
                <a:gd name="T14" fmla="*/ 15 w 135"/>
                <a:gd name="T15" fmla="*/ 27 h 124"/>
                <a:gd name="T16" fmla="*/ 8 w 135"/>
                <a:gd name="T17" fmla="*/ 39 h 124"/>
                <a:gd name="T18" fmla="*/ 0 w 135"/>
                <a:gd name="T19" fmla="*/ 52 h 124"/>
                <a:gd name="T20" fmla="*/ 8 w 135"/>
                <a:gd name="T21" fmla="*/ 67 h 124"/>
                <a:gd name="T22" fmla="*/ 18 w 135"/>
                <a:gd name="T23" fmla="*/ 77 h 124"/>
                <a:gd name="T24" fmla="*/ 20 w 135"/>
                <a:gd name="T25" fmla="*/ 92 h 124"/>
                <a:gd name="T26" fmla="*/ 20 w 135"/>
                <a:gd name="T27" fmla="*/ 109 h 124"/>
                <a:gd name="T28" fmla="*/ 33 w 135"/>
                <a:gd name="T29" fmla="*/ 124 h 124"/>
                <a:gd name="T30" fmla="*/ 50 w 135"/>
                <a:gd name="T31" fmla="*/ 109 h 124"/>
                <a:gd name="T32" fmla="*/ 75 w 135"/>
                <a:gd name="T33" fmla="*/ 92 h 124"/>
                <a:gd name="T34" fmla="*/ 127 w 135"/>
                <a:gd name="T35" fmla="*/ 69 h 124"/>
                <a:gd name="T36" fmla="*/ 135 w 135"/>
                <a:gd name="T37" fmla="*/ 57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35" h="124">
                  <a:moveTo>
                    <a:pt x="135" y="57"/>
                  </a:moveTo>
                  <a:lnTo>
                    <a:pt x="120" y="37"/>
                  </a:lnTo>
                  <a:lnTo>
                    <a:pt x="102" y="24"/>
                  </a:lnTo>
                  <a:lnTo>
                    <a:pt x="87" y="12"/>
                  </a:lnTo>
                  <a:lnTo>
                    <a:pt x="60" y="15"/>
                  </a:lnTo>
                  <a:lnTo>
                    <a:pt x="33" y="0"/>
                  </a:lnTo>
                  <a:lnTo>
                    <a:pt x="18" y="7"/>
                  </a:lnTo>
                  <a:lnTo>
                    <a:pt x="15" y="27"/>
                  </a:lnTo>
                  <a:lnTo>
                    <a:pt x="8" y="39"/>
                  </a:lnTo>
                  <a:lnTo>
                    <a:pt x="0" y="52"/>
                  </a:lnTo>
                  <a:lnTo>
                    <a:pt x="8" y="67"/>
                  </a:lnTo>
                  <a:lnTo>
                    <a:pt x="18" y="77"/>
                  </a:lnTo>
                  <a:lnTo>
                    <a:pt x="20" y="92"/>
                  </a:lnTo>
                  <a:lnTo>
                    <a:pt x="20" y="109"/>
                  </a:lnTo>
                  <a:lnTo>
                    <a:pt x="33" y="124"/>
                  </a:lnTo>
                  <a:lnTo>
                    <a:pt x="50" y="109"/>
                  </a:lnTo>
                  <a:lnTo>
                    <a:pt x="75" y="92"/>
                  </a:lnTo>
                  <a:lnTo>
                    <a:pt x="127" y="69"/>
                  </a:lnTo>
                  <a:lnTo>
                    <a:pt x="135" y="5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9" name="Freeform 204"/>
            <p:cNvSpPr>
              <a:spLocks/>
            </p:cNvSpPr>
            <p:nvPr/>
          </p:nvSpPr>
          <p:spPr bwMode="auto">
            <a:xfrm>
              <a:off x="2730420" y="4136299"/>
              <a:ext cx="110822" cy="223081"/>
            </a:xfrm>
            <a:custGeom>
              <a:avLst/>
              <a:gdLst>
                <a:gd name="T0" fmla="*/ 20 w 77"/>
                <a:gd name="T1" fmla="*/ 0 h 155"/>
                <a:gd name="T2" fmla="*/ 22 w 77"/>
                <a:gd name="T3" fmla="*/ 20 h 155"/>
                <a:gd name="T4" fmla="*/ 15 w 77"/>
                <a:gd name="T5" fmla="*/ 28 h 155"/>
                <a:gd name="T6" fmla="*/ 10 w 77"/>
                <a:gd name="T7" fmla="*/ 35 h 155"/>
                <a:gd name="T8" fmla="*/ 0 w 77"/>
                <a:gd name="T9" fmla="*/ 45 h 155"/>
                <a:gd name="T10" fmla="*/ 0 w 77"/>
                <a:gd name="T11" fmla="*/ 63 h 155"/>
                <a:gd name="T12" fmla="*/ 7 w 77"/>
                <a:gd name="T13" fmla="*/ 75 h 155"/>
                <a:gd name="T14" fmla="*/ 7 w 77"/>
                <a:gd name="T15" fmla="*/ 87 h 155"/>
                <a:gd name="T16" fmla="*/ 22 w 77"/>
                <a:gd name="T17" fmla="*/ 92 h 155"/>
                <a:gd name="T18" fmla="*/ 25 w 77"/>
                <a:gd name="T19" fmla="*/ 112 h 155"/>
                <a:gd name="T20" fmla="*/ 22 w 77"/>
                <a:gd name="T21" fmla="*/ 127 h 155"/>
                <a:gd name="T22" fmla="*/ 30 w 77"/>
                <a:gd name="T23" fmla="*/ 145 h 155"/>
                <a:gd name="T24" fmla="*/ 40 w 77"/>
                <a:gd name="T25" fmla="*/ 155 h 155"/>
                <a:gd name="T26" fmla="*/ 50 w 77"/>
                <a:gd name="T27" fmla="*/ 152 h 155"/>
                <a:gd name="T28" fmla="*/ 55 w 77"/>
                <a:gd name="T29" fmla="*/ 145 h 155"/>
                <a:gd name="T30" fmla="*/ 69 w 77"/>
                <a:gd name="T31" fmla="*/ 145 h 155"/>
                <a:gd name="T32" fmla="*/ 74 w 77"/>
                <a:gd name="T33" fmla="*/ 135 h 155"/>
                <a:gd name="T34" fmla="*/ 72 w 77"/>
                <a:gd name="T35" fmla="*/ 117 h 155"/>
                <a:gd name="T36" fmla="*/ 62 w 77"/>
                <a:gd name="T37" fmla="*/ 112 h 155"/>
                <a:gd name="T38" fmla="*/ 55 w 77"/>
                <a:gd name="T39" fmla="*/ 105 h 155"/>
                <a:gd name="T40" fmla="*/ 55 w 77"/>
                <a:gd name="T41" fmla="*/ 87 h 155"/>
                <a:gd name="T42" fmla="*/ 62 w 77"/>
                <a:gd name="T43" fmla="*/ 83 h 155"/>
                <a:gd name="T44" fmla="*/ 77 w 77"/>
                <a:gd name="T45" fmla="*/ 83 h 155"/>
                <a:gd name="T46" fmla="*/ 77 w 77"/>
                <a:gd name="T47" fmla="*/ 65 h 155"/>
                <a:gd name="T48" fmla="*/ 74 w 77"/>
                <a:gd name="T49" fmla="*/ 45 h 155"/>
                <a:gd name="T50" fmla="*/ 67 w 77"/>
                <a:gd name="T51" fmla="*/ 38 h 155"/>
                <a:gd name="T52" fmla="*/ 52 w 77"/>
                <a:gd name="T53" fmla="*/ 38 h 155"/>
                <a:gd name="T54" fmla="*/ 50 w 77"/>
                <a:gd name="T55" fmla="*/ 20 h 155"/>
                <a:gd name="T56" fmla="*/ 40 w 77"/>
                <a:gd name="T57" fmla="*/ 20 h 155"/>
                <a:gd name="T58" fmla="*/ 35 w 77"/>
                <a:gd name="T59" fmla="*/ 3 h 155"/>
                <a:gd name="T60" fmla="*/ 20 w 77"/>
                <a:gd name="T61" fmla="*/ 0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7" h="155">
                  <a:moveTo>
                    <a:pt x="20" y="0"/>
                  </a:moveTo>
                  <a:lnTo>
                    <a:pt x="22" y="20"/>
                  </a:lnTo>
                  <a:lnTo>
                    <a:pt x="15" y="28"/>
                  </a:lnTo>
                  <a:lnTo>
                    <a:pt x="10" y="35"/>
                  </a:lnTo>
                  <a:lnTo>
                    <a:pt x="0" y="45"/>
                  </a:lnTo>
                  <a:lnTo>
                    <a:pt x="0" y="63"/>
                  </a:lnTo>
                  <a:lnTo>
                    <a:pt x="7" y="75"/>
                  </a:lnTo>
                  <a:lnTo>
                    <a:pt x="7" y="87"/>
                  </a:lnTo>
                  <a:lnTo>
                    <a:pt x="22" y="92"/>
                  </a:lnTo>
                  <a:lnTo>
                    <a:pt x="25" y="112"/>
                  </a:lnTo>
                  <a:lnTo>
                    <a:pt x="22" y="127"/>
                  </a:lnTo>
                  <a:lnTo>
                    <a:pt x="30" y="145"/>
                  </a:lnTo>
                  <a:lnTo>
                    <a:pt x="40" y="155"/>
                  </a:lnTo>
                  <a:lnTo>
                    <a:pt x="50" y="152"/>
                  </a:lnTo>
                  <a:lnTo>
                    <a:pt x="55" y="145"/>
                  </a:lnTo>
                  <a:lnTo>
                    <a:pt x="69" y="145"/>
                  </a:lnTo>
                  <a:lnTo>
                    <a:pt x="74" y="135"/>
                  </a:lnTo>
                  <a:lnTo>
                    <a:pt x="72" y="117"/>
                  </a:lnTo>
                  <a:lnTo>
                    <a:pt x="62" y="112"/>
                  </a:lnTo>
                  <a:lnTo>
                    <a:pt x="55" y="105"/>
                  </a:lnTo>
                  <a:lnTo>
                    <a:pt x="55" y="87"/>
                  </a:lnTo>
                  <a:lnTo>
                    <a:pt x="62" y="83"/>
                  </a:lnTo>
                  <a:lnTo>
                    <a:pt x="77" y="83"/>
                  </a:lnTo>
                  <a:lnTo>
                    <a:pt x="77" y="65"/>
                  </a:lnTo>
                  <a:lnTo>
                    <a:pt x="74" y="45"/>
                  </a:lnTo>
                  <a:lnTo>
                    <a:pt x="67" y="38"/>
                  </a:lnTo>
                  <a:lnTo>
                    <a:pt x="52" y="38"/>
                  </a:lnTo>
                  <a:lnTo>
                    <a:pt x="50" y="20"/>
                  </a:lnTo>
                  <a:lnTo>
                    <a:pt x="40" y="20"/>
                  </a:lnTo>
                  <a:lnTo>
                    <a:pt x="35" y="3"/>
                  </a:lnTo>
                  <a:lnTo>
                    <a:pt x="2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0" name="Freeform 205"/>
            <p:cNvSpPr>
              <a:spLocks/>
            </p:cNvSpPr>
            <p:nvPr/>
          </p:nvSpPr>
          <p:spPr bwMode="auto">
            <a:xfrm>
              <a:off x="2809579" y="4201064"/>
              <a:ext cx="106503" cy="143924"/>
            </a:xfrm>
            <a:custGeom>
              <a:avLst/>
              <a:gdLst>
                <a:gd name="T0" fmla="*/ 22 w 74"/>
                <a:gd name="T1" fmla="*/ 20 h 100"/>
                <a:gd name="T2" fmla="*/ 22 w 74"/>
                <a:gd name="T3" fmla="*/ 38 h 100"/>
                <a:gd name="T4" fmla="*/ 7 w 74"/>
                <a:gd name="T5" fmla="*/ 38 h 100"/>
                <a:gd name="T6" fmla="*/ 0 w 74"/>
                <a:gd name="T7" fmla="*/ 42 h 100"/>
                <a:gd name="T8" fmla="*/ 0 w 74"/>
                <a:gd name="T9" fmla="*/ 60 h 100"/>
                <a:gd name="T10" fmla="*/ 7 w 74"/>
                <a:gd name="T11" fmla="*/ 67 h 100"/>
                <a:gd name="T12" fmla="*/ 17 w 74"/>
                <a:gd name="T13" fmla="*/ 72 h 100"/>
                <a:gd name="T14" fmla="*/ 19 w 74"/>
                <a:gd name="T15" fmla="*/ 90 h 100"/>
                <a:gd name="T16" fmla="*/ 14 w 74"/>
                <a:gd name="T17" fmla="*/ 100 h 100"/>
                <a:gd name="T18" fmla="*/ 37 w 74"/>
                <a:gd name="T19" fmla="*/ 100 h 100"/>
                <a:gd name="T20" fmla="*/ 37 w 74"/>
                <a:gd name="T21" fmla="*/ 82 h 100"/>
                <a:gd name="T22" fmla="*/ 64 w 74"/>
                <a:gd name="T23" fmla="*/ 82 h 100"/>
                <a:gd name="T24" fmla="*/ 69 w 74"/>
                <a:gd name="T25" fmla="*/ 75 h 100"/>
                <a:gd name="T26" fmla="*/ 69 w 74"/>
                <a:gd name="T27" fmla="*/ 25 h 100"/>
                <a:gd name="T28" fmla="*/ 74 w 74"/>
                <a:gd name="T29" fmla="*/ 15 h 100"/>
                <a:gd name="T30" fmla="*/ 67 w 74"/>
                <a:gd name="T31" fmla="*/ 3 h 100"/>
                <a:gd name="T32" fmla="*/ 44 w 74"/>
                <a:gd name="T33" fmla="*/ 0 h 100"/>
                <a:gd name="T34" fmla="*/ 39 w 74"/>
                <a:gd name="T35" fmla="*/ 13 h 100"/>
                <a:gd name="T36" fmla="*/ 22 w 74"/>
                <a:gd name="T37" fmla="*/ 20 h 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4" h="100">
                  <a:moveTo>
                    <a:pt x="22" y="20"/>
                  </a:moveTo>
                  <a:lnTo>
                    <a:pt x="22" y="38"/>
                  </a:lnTo>
                  <a:lnTo>
                    <a:pt x="7" y="38"/>
                  </a:lnTo>
                  <a:lnTo>
                    <a:pt x="0" y="42"/>
                  </a:lnTo>
                  <a:lnTo>
                    <a:pt x="0" y="60"/>
                  </a:lnTo>
                  <a:lnTo>
                    <a:pt x="7" y="67"/>
                  </a:lnTo>
                  <a:lnTo>
                    <a:pt x="17" y="72"/>
                  </a:lnTo>
                  <a:lnTo>
                    <a:pt x="19" y="90"/>
                  </a:lnTo>
                  <a:lnTo>
                    <a:pt x="14" y="100"/>
                  </a:lnTo>
                  <a:lnTo>
                    <a:pt x="37" y="100"/>
                  </a:lnTo>
                  <a:lnTo>
                    <a:pt x="37" y="82"/>
                  </a:lnTo>
                  <a:lnTo>
                    <a:pt x="64" y="82"/>
                  </a:lnTo>
                  <a:lnTo>
                    <a:pt x="69" y="75"/>
                  </a:lnTo>
                  <a:lnTo>
                    <a:pt x="69" y="25"/>
                  </a:lnTo>
                  <a:lnTo>
                    <a:pt x="74" y="15"/>
                  </a:lnTo>
                  <a:lnTo>
                    <a:pt x="67" y="3"/>
                  </a:lnTo>
                  <a:lnTo>
                    <a:pt x="44" y="0"/>
                  </a:lnTo>
                  <a:lnTo>
                    <a:pt x="39" y="13"/>
                  </a:lnTo>
                  <a:lnTo>
                    <a:pt x="2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1" name="Freeform 206"/>
            <p:cNvSpPr>
              <a:spLocks/>
            </p:cNvSpPr>
            <p:nvPr/>
          </p:nvSpPr>
          <p:spPr bwMode="auto">
            <a:xfrm>
              <a:off x="7256816" y="4029796"/>
              <a:ext cx="56130" cy="103625"/>
            </a:xfrm>
            <a:custGeom>
              <a:avLst/>
              <a:gdLst>
                <a:gd name="T0" fmla="*/ 27 w 39"/>
                <a:gd name="T1" fmla="*/ 10 h 72"/>
                <a:gd name="T2" fmla="*/ 24 w 39"/>
                <a:gd name="T3" fmla="*/ 22 h 72"/>
                <a:gd name="T4" fmla="*/ 7 w 39"/>
                <a:gd name="T5" fmla="*/ 32 h 72"/>
                <a:gd name="T6" fmla="*/ 0 w 39"/>
                <a:gd name="T7" fmla="*/ 50 h 72"/>
                <a:gd name="T8" fmla="*/ 2 w 39"/>
                <a:gd name="T9" fmla="*/ 72 h 72"/>
                <a:gd name="T10" fmla="*/ 19 w 39"/>
                <a:gd name="T11" fmla="*/ 55 h 72"/>
                <a:gd name="T12" fmla="*/ 32 w 39"/>
                <a:gd name="T13" fmla="*/ 30 h 72"/>
                <a:gd name="T14" fmla="*/ 39 w 39"/>
                <a:gd name="T15" fmla="*/ 15 h 72"/>
                <a:gd name="T16" fmla="*/ 32 w 39"/>
                <a:gd name="T17" fmla="*/ 0 h 72"/>
                <a:gd name="T18" fmla="*/ 27 w 39"/>
                <a:gd name="T19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" h="72">
                  <a:moveTo>
                    <a:pt x="27" y="10"/>
                  </a:moveTo>
                  <a:lnTo>
                    <a:pt x="24" y="22"/>
                  </a:lnTo>
                  <a:lnTo>
                    <a:pt x="7" y="32"/>
                  </a:lnTo>
                  <a:lnTo>
                    <a:pt x="0" y="50"/>
                  </a:lnTo>
                  <a:lnTo>
                    <a:pt x="2" y="72"/>
                  </a:lnTo>
                  <a:lnTo>
                    <a:pt x="19" y="55"/>
                  </a:lnTo>
                  <a:lnTo>
                    <a:pt x="32" y="30"/>
                  </a:lnTo>
                  <a:lnTo>
                    <a:pt x="39" y="15"/>
                  </a:lnTo>
                  <a:lnTo>
                    <a:pt x="32" y="0"/>
                  </a:lnTo>
                  <a:lnTo>
                    <a:pt x="2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2" name="Freeform 207"/>
            <p:cNvSpPr>
              <a:spLocks/>
            </p:cNvSpPr>
            <p:nvPr/>
          </p:nvSpPr>
          <p:spPr bwMode="auto">
            <a:xfrm>
              <a:off x="7291358" y="3815349"/>
              <a:ext cx="86354" cy="135288"/>
            </a:xfrm>
            <a:custGeom>
              <a:avLst/>
              <a:gdLst>
                <a:gd name="T0" fmla="*/ 28 w 60"/>
                <a:gd name="T1" fmla="*/ 0 h 94"/>
                <a:gd name="T2" fmla="*/ 18 w 60"/>
                <a:gd name="T3" fmla="*/ 20 h 94"/>
                <a:gd name="T4" fmla="*/ 10 w 60"/>
                <a:gd name="T5" fmla="*/ 47 h 94"/>
                <a:gd name="T6" fmla="*/ 0 w 60"/>
                <a:gd name="T7" fmla="*/ 57 h 94"/>
                <a:gd name="T8" fmla="*/ 3 w 60"/>
                <a:gd name="T9" fmla="*/ 82 h 94"/>
                <a:gd name="T10" fmla="*/ 15 w 60"/>
                <a:gd name="T11" fmla="*/ 84 h 94"/>
                <a:gd name="T12" fmla="*/ 23 w 60"/>
                <a:gd name="T13" fmla="*/ 94 h 94"/>
                <a:gd name="T14" fmla="*/ 43 w 60"/>
                <a:gd name="T15" fmla="*/ 94 h 94"/>
                <a:gd name="T16" fmla="*/ 60 w 60"/>
                <a:gd name="T17" fmla="*/ 87 h 94"/>
                <a:gd name="T18" fmla="*/ 55 w 60"/>
                <a:gd name="T19" fmla="*/ 62 h 94"/>
                <a:gd name="T20" fmla="*/ 58 w 60"/>
                <a:gd name="T21" fmla="*/ 47 h 94"/>
                <a:gd name="T22" fmla="*/ 58 w 60"/>
                <a:gd name="T23" fmla="*/ 32 h 94"/>
                <a:gd name="T24" fmla="*/ 50 w 60"/>
                <a:gd name="T25" fmla="*/ 12 h 94"/>
                <a:gd name="T26" fmla="*/ 48 w 60"/>
                <a:gd name="T27" fmla="*/ 0 h 94"/>
                <a:gd name="T28" fmla="*/ 28 w 60"/>
                <a:gd name="T29" fmla="*/ 0 h 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94">
                  <a:moveTo>
                    <a:pt x="28" y="0"/>
                  </a:moveTo>
                  <a:lnTo>
                    <a:pt x="18" y="20"/>
                  </a:lnTo>
                  <a:lnTo>
                    <a:pt x="10" y="47"/>
                  </a:lnTo>
                  <a:lnTo>
                    <a:pt x="0" y="57"/>
                  </a:lnTo>
                  <a:lnTo>
                    <a:pt x="3" y="82"/>
                  </a:lnTo>
                  <a:lnTo>
                    <a:pt x="15" y="84"/>
                  </a:lnTo>
                  <a:lnTo>
                    <a:pt x="23" y="94"/>
                  </a:lnTo>
                  <a:lnTo>
                    <a:pt x="43" y="94"/>
                  </a:lnTo>
                  <a:lnTo>
                    <a:pt x="60" y="87"/>
                  </a:lnTo>
                  <a:lnTo>
                    <a:pt x="55" y="62"/>
                  </a:lnTo>
                  <a:lnTo>
                    <a:pt x="58" y="47"/>
                  </a:lnTo>
                  <a:lnTo>
                    <a:pt x="58" y="32"/>
                  </a:lnTo>
                  <a:lnTo>
                    <a:pt x="50" y="12"/>
                  </a:lnTo>
                  <a:lnTo>
                    <a:pt x="48" y="0"/>
                  </a:lnTo>
                  <a:lnTo>
                    <a:pt x="2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3" name="Freeform 208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4" name="Freeform 210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5" name="Freeform 211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3 w 33"/>
                <a:gd name="T23" fmla="*/ 7 h 29"/>
                <a:gd name="T24" fmla="*/ 20 w 33"/>
                <a:gd name="T25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3" y="7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6" name="Freeform 212"/>
            <p:cNvSpPr>
              <a:spLocks/>
            </p:cNvSpPr>
            <p:nvPr/>
          </p:nvSpPr>
          <p:spPr bwMode="auto">
            <a:xfrm>
              <a:off x="7312946" y="3976544"/>
              <a:ext cx="47495" cy="41738"/>
            </a:xfrm>
            <a:custGeom>
              <a:avLst/>
              <a:gdLst>
                <a:gd name="T0" fmla="*/ 20 w 33"/>
                <a:gd name="T1" fmla="*/ 7 h 29"/>
                <a:gd name="T2" fmla="*/ 0 w 33"/>
                <a:gd name="T3" fmla="*/ 0 h 29"/>
                <a:gd name="T4" fmla="*/ 0 w 33"/>
                <a:gd name="T5" fmla="*/ 15 h 29"/>
                <a:gd name="T6" fmla="*/ 10 w 33"/>
                <a:gd name="T7" fmla="*/ 27 h 29"/>
                <a:gd name="T8" fmla="*/ 20 w 33"/>
                <a:gd name="T9" fmla="*/ 29 h 29"/>
                <a:gd name="T10" fmla="*/ 28 w 33"/>
                <a:gd name="T11" fmla="*/ 29 h 29"/>
                <a:gd name="T12" fmla="*/ 33 w 33"/>
                <a:gd name="T13" fmla="*/ 24 h 29"/>
                <a:gd name="T14" fmla="*/ 33 w 33"/>
                <a:gd name="T15" fmla="*/ 22 h 29"/>
                <a:gd name="T16" fmla="*/ 33 w 33"/>
                <a:gd name="T17" fmla="*/ 20 h 29"/>
                <a:gd name="T18" fmla="*/ 30 w 33"/>
                <a:gd name="T19" fmla="*/ 15 h 29"/>
                <a:gd name="T20" fmla="*/ 25 w 33"/>
                <a:gd name="T21" fmla="*/ 10 h 29"/>
                <a:gd name="T22" fmla="*/ 20 w 33"/>
                <a:gd name="T23" fmla="*/ 7 h 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33" h="29">
                  <a:moveTo>
                    <a:pt x="20" y="7"/>
                  </a:moveTo>
                  <a:lnTo>
                    <a:pt x="0" y="0"/>
                  </a:lnTo>
                  <a:lnTo>
                    <a:pt x="0" y="15"/>
                  </a:lnTo>
                  <a:lnTo>
                    <a:pt x="10" y="27"/>
                  </a:lnTo>
                  <a:lnTo>
                    <a:pt x="20" y="29"/>
                  </a:lnTo>
                  <a:lnTo>
                    <a:pt x="28" y="29"/>
                  </a:lnTo>
                  <a:lnTo>
                    <a:pt x="33" y="24"/>
                  </a:lnTo>
                  <a:lnTo>
                    <a:pt x="33" y="22"/>
                  </a:lnTo>
                  <a:lnTo>
                    <a:pt x="33" y="20"/>
                  </a:lnTo>
                  <a:lnTo>
                    <a:pt x="30" y="15"/>
                  </a:lnTo>
                  <a:lnTo>
                    <a:pt x="25" y="10"/>
                  </a:lnTo>
                  <a:lnTo>
                    <a:pt x="20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7" name="Freeform 213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8" name="Freeform 214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2 w 37"/>
                <a:gd name="T13" fmla="*/ 2 h 27"/>
                <a:gd name="T14" fmla="*/ 0 w 37"/>
                <a:gd name="T15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2" y="2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9" name="Freeform 215"/>
            <p:cNvSpPr>
              <a:spLocks/>
            </p:cNvSpPr>
            <p:nvPr/>
          </p:nvSpPr>
          <p:spPr bwMode="auto">
            <a:xfrm>
              <a:off x="7382029" y="3962151"/>
              <a:ext cx="53252" cy="38860"/>
            </a:xfrm>
            <a:custGeom>
              <a:avLst/>
              <a:gdLst>
                <a:gd name="T0" fmla="*/ 0 w 37"/>
                <a:gd name="T1" fmla="*/ 2 h 27"/>
                <a:gd name="T2" fmla="*/ 0 w 37"/>
                <a:gd name="T3" fmla="*/ 17 h 27"/>
                <a:gd name="T4" fmla="*/ 12 w 37"/>
                <a:gd name="T5" fmla="*/ 25 h 27"/>
                <a:gd name="T6" fmla="*/ 37 w 37"/>
                <a:gd name="T7" fmla="*/ 27 h 27"/>
                <a:gd name="T8" fmla="*/ 37 w 37"/>
                <a:gd name="T9" fmla="*/ 10 h 27"/>
                <a:gd name="T10" fmla="*/ 17 w 37"/>
                <a:gd name="T11" fmla="*/ 0 h 27"/>
                <a:gd name="T12" fmla="*/ 0 w 37"/>
                <a:gd name="T13" fmla="*/ 2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7">
                  <a:moveTo>
                    <a:pt x="0" y="2"/>
                  </a:moveTo>
                  <a:lnTo>
                    <a:pt x="0" y="17"/>
                  </a:lnTo>
                  <a:lnTo>
                    <a:pt x="12" y="25"/>
                  </a:lnTo>
                  <a:lnTo>
                    <a:pt x="37" y="27"/>
                  </a:lnTo>
                  <a:lnTo>
                    <a:pt x="37" y="10"/>
                  </a:lnTo>
                  <a:lnTo>
                    <a:pt x="17" y="0"/>
                  </a:lnTo>
                  <a:lnTo>
                    <a:pt x="0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0" name="Freeform 216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1" name="Freeform 217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8 w 25"/>
                <a:gd name="T11" fmla="*/ 0 h 25"/>
                <a:gd name="T12" fmla="*/ 5 w 25"/>
                <a:gd name="T13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8" y="0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2" name="Freeform 218"/>
            <p:cNvSpPr>
              <a:spLocks/>
            </p:cNvSpPr>
            <p:nvPr/>
          </p:nvSpPr>
          <p:spPr bwMode="auto">
            <a:xfrm>
              <a:off x="7370515" y="4025478"/>
              <a:ext cx="35981" cy="35981"/>
            </a:xfrm>
            <a:custGeom>
              <a:avLst/>
              <a:gdLst>
                <a:gd name="T0" fmla="*/ 5 w 25"/>
                <a:gd name="T1" fmla="*/ 0 h 25"/>
                <a:gd name="T2" fmla="*/ 0 w 25"/>
                <a:gd name="T3" fmla="*/ 15 h 25"/>
                <a:gd name="T4" fmla="*/ 8 w 25"/>
                <a:gd name="T5" fmla="*/ 25 h 25"/>
                <a:gd name="T6" fmla="*/ 25 w 25"/>
                <a:gd name="T7" fmla="*/ 20 h 25"/>
                <a:gd name="T8" fmla="*/ 20 w 25"/>
                <a:gd name="T9" fmla="*/ 5 h 25"/>
                <a:gd name="T10" fmla="*/ 5 w 25"/>
                <a:gd name="T11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5">
                  <a:moveTo>
                    <a:pt x="5" y="0"/>
                  </a:moveTo>
                  <a:lnTo>
                    <a:pt x="0" y="15"/>
                  </a:lnTo>
                  <a:lnTo>
                    <a:pt x="8" y="25"/>
                  </a:lnTo>
                  <a:lnTo>
                    <a:pt x="25" y="20"/>
                  </a:lnTo>
                  <a:lnTo>
                    <a:pt x="20" y="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3" name="Freeform 219"/>
            <p:cNvSpPr>
              <a:spLocks/>
            </p:cNvSpPr>
            <p:nvPr/>
          </p:nvSpPr>
          <p:spPr bwMode="auto">
            <a:xfrm>
              <a:off x="7438160" y="4018282"/>
              <a:ext cx="33102" cy="25906"/>
            </a:xfrm>
            <a:custGeom>
              <a:avLst/>
              <a:gdLst>
                <a:gd name="T0" fmla="*/ 0 w 23"/>
                <a:gd name="T1" fmla="*/ 5 h 18"/>
                <a:gd name="T2" fmla="*/ 3 w 23"/>
                <a:gd name="T3" fmla="*/ 18 h 18"/>
                <a:gd name="T4" fmla="*/ 13 w 23"/>
                <a:gd name="T5" fmla="*/ 18 h 18"/>
                <a:gd name="T6" fmla="*/ 20 w 23"/>
                <a:gd name="T7" fmla="*/ 13 h 18"/>
                <a:gd name="T8" fmla="*/ 23 w 23"/>
                <a:gd name="T9" fmla="*/ 0 h 18"/>
                <a:gd name="T10" fmla="*/ 10 w 23"/>
                <a:gd name="T11" fmla="*/ 0 h 18"/>
                <a:gd name="T12" fmla="*/ 0 w 23"/>
                <a:gd name="T13" fmla="*/ 5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3" h="18">
                  <a:moveTo>
                    <a:pt x="0" y="5"/>
                  </a:moveTo>
                  <a:lnTo>
                    <a:pt x="3" y="18"/>
                  </a:lnTo>
                  <a:lnTo>
                    <a:pt x="13" y="18"/>
                  </a:lnTo>
                  <a:lnTo>
                    <a:pt x="20" y="13"/>
                  </a:lnTo>
                  <a:lnTo>
                    <a:pt x="23" y="0"/>
                  </a:lnTo>
                  <a:lnTo>
                    <a:pt x="10" y="0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4" name="Freeform 220"/>
            <p:cNvSpPr>
              <a:spLocks/>
            </p:cNvSpPr>
            <p:nvPr/>
          </p:nvSpPr>
          <p:spPr bwMode="auto">
            <a:xfrm>
              <a:off x="7409375" y="4087365"/>
              <a:ext cx="83476" cy="113699"/>
            </a:xfrm>
            <a:custGeom>
              <a:avLst/>
              <a:gdLst>
                <a:gd name="T0" fmla="*/ 35 w 58"/>
                <a:gd name="T1" fmla="*/ 0 h 79"/>
                <a:gd name="T2" fmla="*/ 18 w 58"/>
                <a:gd name="T3" fmla="*/ 15 h 79"/>
                <a:gd name="T4" fmla="*/ 0 w 58"/>
                <a:gd name="T5" fmla="*/ 32 h 79"/>
                <a:gd name="T6" fmla="*/ 10 w 58"/>
                <a:gd name="T7" fmla="*/ 47 h 79"/>
                <a:gd name="T8" fmla="*/ 23 w 58"/>
                <a:gd name="T9" fmla="*/ 64 h 79"/>
                <a:gd name="T10" fmla="*/ 38 w 58"/>
                <a:gd name="T11" fmla="*/ 79 h 79"/>
                <a:gd name="T12" fmla="*/ 48 w 58"/>
                <a:gd name="T13" fmla="*/ 64 h 79"/>
                <a:gd name="T14" fmla="*/ 58 w 58"/>
                <a:gd name="T15" fmla="*/ 57 h 79"/>
                <a:gd name="T16" fmla="*/ 58 w 58"/>
                <a:gd name="T17" fmla="*/ 22 h 79"/>
                <a:gd name="T18" fmla="*/ 50 w 58"/>
                <a:gd name="T19" fmla="*/ 10 h 79"/>
                <a:gd name="T20" fmla="*/ 35 w 58"/>
                <a:gd name="T21" fmla="*/ 0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8" h="79">
                  <a:moveTo>
                    <a:pt x="35" y="0"/>
                  </a:moveTo>
                  <a:lnTo>
                    <a:pt x="18" y="15"/>
                  </a:lnTo>
                  <a:lnTo>
                    <a:pt x="0" y="32"/>
                  </a:lnTo>
                  <a:lnTo>
                    <a:pt x="10" y="47"/>
                  </a:lnTo>
                  <a:lnTo>
                    <a:pt x="23" y="64"/>
                  </a:lnTo>
                  <a:lnTo>
                    <a:pt x="38" y="79"/>
                  </a:lnTo>
                  <a:lnTo>
                    <a:pt x="48" y="64"/>
                  </a:lnTo>
                  <a:lnTo>
                    <a:pt x="58" y="57"/>
                  </a:lnTo>
                  <a:lnTo>
                    <a:pt x="58" y="22"/>
                  </a:lnTo>
                  <a:lnTo>
                    <a:pt x="50" y="10"/>
                  </a:lnTo>
                  <a:lnTo>
                    <a:pt x="3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5" name="Freeform 221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6" name="Freeform 222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5 w 32"/>
                <a:gd name="T15" fmla="*/ 0 h 42"/>
                <a:gd name="T16" fmla="*/ 23 w 32"/>
                <a:gd name="T17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5" y="0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7" name="Freeform 223"/>
            <p:cNvSpPr>
              <a:spLocks/>
            </p:cNvSpPr>
            <p:nvPr/>
          </p:nvSpPr>
          <p:spPr bwMode="auto">
            <a:xfrm>
              <a:off x="7363320" y="4097439"/>
              <a:ext cx="46056" cy="60448"/>
            </a:xfrm>
            <a:custGeom>
              <a:avLst/>
              <a:gdLst>
                <a:gd name="T0" fmla="*/ 23 w 32"/>
                <a:gd name="T1" fmla="*/ 0 h 42"/>
                <a:gd name="T2" fmla="*/ 10 w 32"/>
                <a:gd name="T3" fmla="*/ 13 h 42"/>
                <a:gd name="T4" fmla="*/ 3 w 32"/>
                <a:gd name="T5" fmla="*/ 30 h 42"/>
                <a:gd name="T6" fmla="*/ 0 w 32"/>
                <a:gd name="T7" fmla="*/ 42 h 42"/>
                <a:gd name="T8" fmla="*/ 18 w 32"/>
                <a:gd name="T9" fmla="*/ 37 h 42"/>
                <a:gd name="T10" fmla="*/ 25 w 32"/>
                <a:gd name="T11" fmla="*/ 23 h 42"/>
                <a:gd name="T12" fmla="*/ 32 w 32"/>
                <a:gd name="T13" fmla="*/ 5 h 42"/>
                <a:gd name="T14" fmla="*/ 23 w 32"/>
                <a:gd name="T15" fmla="*/ 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2" h="42">
                  <a:moveTo>
                    <a:pt x="23" y="0"/>
                  </a:moveTo>
                  <a:lnTo>
                    <a:pt x="10" y="13"/>
                  </a:lnTo>
                  <a:lnTo>
                    <a:pt x="3" y="30"/>
                  </a:lnTo>
                  <a:lnTo>
                    <a:pt x="0" y="42"/>
                  </a:lnTo>
                  <a:lnTo>
                    <a:pt x="18" y="37"/>
                  </a:lnTo>
                  <a:lnTo>
                    <a:pt x="25" y="23"/>
                  </a:lnTo>
                  <a:lnTo>
                    <a:pt x="32" y="5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8" name="Freeform 224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10 w 12"/>
                <a:gd name="T17" fmla="*/ 15 h 15"/>
                <a:gd name="T18" fmla="*/ 7 w 12"/>
                <a:gd name="T19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9" name="Freeform 225"/>
            <p:cNvSpPr>
              <a:spLocks/>
            </p:cNvSpPr>
            <p:nvPr/>
          </p:nvSpPr>
          <p:spPr bwMode="auto">
            <a:xfrm>
              <a:off x="7413692" y="4058581"/>
              <a:ext cx="17271" cy="21588"/>
            </a:xfrm>
            <a:custGeom>
              <a:avLst/>
              <a:gdLst>
                <a:gd name="T0" fmla="*/ 7 w 12"/>
                <a:gd name="T1" fmla="*/ 15 h 15"/>
                <a:gd name="T2" fmla="*/ 2 w 12"/>
                <a:gd name="T3" fmla="*/ 15 h 15"/>
                <a:gd name="T4" fmla="*/ 0 w 12"/>
                <a:gd name="T5" fmla="*/ 7 h 15"/>
                <a:gd name="T6" fmla="*/ 2 w 12"/>
                <a:gd name="T7" fmla="*/ 2 h 15"/>
                <a:gd name="T8" fmla="*/ 7 w 12"/>
                <a:gd name="T9" fmla="*/ 0 h 15"/>
                <a:gd name="T10" fmla="*/ 10 w 12"/>
                <a:gd name="T11" fmla="*/ 2 h 15"/>
                <a:gd name="T12" fmla="*/ 12 w 12"/>
                <a:gd name="T13" fmla="*/ 7 h 15"/>
                <a:gd name="T14" fmla="*/ 10 w 12"/>
                <a:gd name="T15" fmla="*/ 15 h 15"/>
                <a:gd name="T16" fmla="*/ 7 w 12"/>
                <a:gd name="T1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2" h="15">
                  <a:moveTo>
                    <a:pt x="7" y="15"/>
                  </a:moveTo>
                  <a:lnTo>
                    <a:pt x="2" y="15"/>
                  </a:lnTo>
                  <a:lnTo>
                    <a:pt x="0" y="7"/>
                  </a:lnTo>
                  <a:lnTo>
                    <a:pt x="2" y="2"/>
                  </a:lnTo>
                  <a:lnTo>
                    <a:pt x="7" y="0"/>
                  </a:lnTo>
                  <a:lnTo>
                    <a:pt x="10" y="2"/>
                  </a:lnTo>
                  <a:lnTo>
                    <a:pt x="12" y="7"/>
                  </a:lnTo>
                  <a:lnTo>
                    <a:pt x="10" y="15"/>
                  </a:lnTo>
                  <a:lnTo>
                    <a:pt x="7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0" name="Freeform 226"/>
            <p:cNvSpPr>
              <a:spLocks/>
            </p:cNvSpPr>
            <p:nvPr/>
          </p:nvSpPr>
          <p:spPr bwMode="auto">
            <a:xfrm>
              <a:off x="4047321" y="4075851"/>
              <a:ext cx="164073" cy="165512"/>
            </a:xfrm>
            <a:custGeom>
              <a:avLst/>
              <a:gdLst>
                <a:gd name="T0" fmla="*/ 37 w 114"/>
                <a:gd name="T1" fmla="*/ 115 h 115"/>
                <a:gd name="T2" fmla="*/ 17 w 114"/>
                <a:gd name="T3" fmla="*/ 107 h 115"/>
                <a:gd name="T4" fmla="*/ 15 w 114"/>
                <a:gd name="T5" fmla="*/ 85 h 115"/>
                <a:gd name="T6" fmla="*/ 5 w 114"/>
                <a:gd name="T7" fmla="*/ 82 h 115"/>
                <a:gd name="T8" fmla="*/ 0 w 114"/>
                <a:gd name="T9" fmla="*/ 67 h 115"/>
                <a:gd name="T10" fmla="*/ 5 w 114"/>
                <a:gd name="T11" fmla="*/ 42 h 115"/>
                <a:gd name="T12" fmla="*/ 22 w 114"/>
                <a:gd name="T13" fmla="*/ 30 h 115"/>
                <a:gd name="T14" fmla="*/ 12 w 114"/>
                <a:gd name="T15" fmla="*/ 20 h 115"/>
                <a:gd name="T16" fmla="*/ 17 w 114"/>
                <a:gd name="T17" fmla="*/ 5 h 115"/>
                <a:gd name="T18" fmla="*/ 32 w 114"/>
                <a:gd name="T19" fmla="*/ 3 h 115"/>
                <a:gd name="T20" fmla="*/ 54 w 114"/>
                <a:gd name="T21" fmla="*/ 0 h 115"/>
                <a:gd name="T22" fmla="*/ 64 w 114"/>
                <a:gd name="T23" fmla="*/ 8 h 115"/>
                <a:gd name="T24" fmla="*/ 99 w 114"/>
                <a:gd name="T25" fmla="*/ 10 h 115"/>
                <a:gd name="T26" fmla="*/ 102 w 114"/>
                <a:gd name="T27" fmla="*/ 28 h 115"/>
                <a:gd name="T28" fmla="*/ 114 w 114"/>
                <a:gd name="T29" fmla="*/ 33 h 115"/>
                <a:gd name="T30" fmla="*/ 112 w 114"/>
                <a:gd name="T31" fmla="*/ 45 h 115"/>
                <a:gd name="T32" fmla="*/ 102 w 114"/>
                <a:gd name="T33" fmla="*/ 47 h 115"/>
                <a:gd name="T34" fmla="*/ 99 w 114"/>
                <a:gd name="T35" fmla="*/ 75 h 115"/>
                <a:gd name="T36" fmla="*/ 102 w 114"/>
                <a:gd name="T37" fmla="*/ 105 h 115"/>
                <a:gd name="T38" fmla="*/ 57 w 114"/>
                <a:gd name="T39" fmla="*/ 105 h 115"/>
                <a:gd name="T40" fmla="*/ 37 w 114"/>
                <a:gd name="T41" fmla="*/ 115 h 1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4" h="115">
                  <a:moveTo>
                    <a:pt x="37" y="115"/>
                  </a:moveTo>
                  <a:lnTo>
                    <a:pt x="17" y="107"/>
                  </a:lnTo>
                  <a:lnTo>
                    <a:pt x="15" y="85"/>
                  </a:lnTo>
                  <a:lnTo>
                    <a:pt x="5" y="82"/>
                  </a:lnTo>
                  <a:lnTo>
                    <a:pt x="0" y="67"/>
                  </a:lnTo>
                  <a:lnTo>
                    <a:pt x="5" y="42"/>
                  </a:lnTo>
                  <a:lnTo>
                    <a:pt x="22" y="30"/>
                  </a:lnTo>
                  <a:lnTo>
                    <a:pt x="12" y="20"/>
                  </a:lnTo>
                  <a:lnTo>
                    <a:pt x="17" y="5"/>
                  </a:lnTo>
                  <a:lnTo>
                    <a:pt x="32" y="3"/>
                  </a:lnTo>
                  <a:lnTo>
                    <a:pt x="54" y="0"/>
                  </a:lnTo>
                  <a:lnTo>
                    <a:pt x="64" y="8"/>
                  </a:lnTo>
                  <a:lnTo>
                    <a:pt x="99" y="10"/>
                  </a:lnTo>
                  <a:lnTo>
                    <a:pt x="102" y="28"/>
                  </a:lnTo>
                  <a:lnTo>
                    <a:pt x="114" y="33"/>
                  </a:lnTo>
                  <a:lnTo>
                    <a:pt x="112" y="45"/>
                  </a:lnTo>
                  <a:lnTo>
                    <a:pt x="102" y="47"/>
                  </a:lnTo>
                  <a:lnTo>
                    <a:pt x="99" y="75"/>
                  </a:lnTo>
                  <a:lnTo>
                    <a:pt x="102" y="105"/>
                  </a:lnTo>
                  <a:lnTo>
                    <a:pt x="57" y="105"/>
                  </a:lnTo>
                  <a:lnTo>
                    <a:pt x="37" y="1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1" name="Freeform 227"/>
            <p:cNvSpPr>
              <a:spLocks/>
            </p:cNvSpPr>
            <p:nvPr/>
          </p:nvSpPr>
          <p:spPr bwMode="auto">
            <a:xfrm>
              <a:off x="2405153" y="4261512"/>
              <a:ext cx="1011783" cy="1134118"/>
            </a:xfrm>
            <a:custGeom>
              <a:avLst/>
              <a:gdLst>
                <a:gd name="T0" fmla="*/ 72 w 703"/>
                <a:gd name="T1" fmla="*/ 70 h 788"/>
                <a:gd name="T2" fmla="*/ 74 w 703"/>
                <a:gd name="T3" fmla="*/ 122 h 788"/>
                <a:gd name="T4" fmla="*/ 69 w 703"/>
                <a:gd name="T5" fmla="*/ 162 h 788"/>
                <a:gd name="T6" fmla="*/ 34 w 703"/>
                <a:gd name="T7" fmla="*/ 182 h 788"/>
                <a:gd name="T8" fmla="*/ 19 w 703"/>
                <a:gd name="T9" fmla="*/ 219 h 788"/>
                <a:gd name="T10" fmla="*/ 0 w 703"/>
                <a:gd name="T11" fmla="*/ 247 h 788"/>
                <a:gd name="T12" fmla="*/ 19 w 703"/>
                <a:gd name="T13" fmla="*/ 281 h 788"/>
                <a:gd name="T14" fmla="*/ 49 w 703"/>
                <a:gd name="T15" fmla="*/ 296 h 788"/>
                <a:gd name="T16" fmla="*/ 87 w 703"/>
                <a:gd name="T17" fmla="*/ 319 h 788"/>
                <a:gd name="T18" fmla="*/ 116 w 703"/>
                <a:gd name="T19" fmla="*/ 311 h 788"/>
                <a:gd name="T20" fmla="*/ 131 w 703"/>
                <a:gd name="T21" fmla="*/ 289 h 788"/>
                <a:gd name="T22" fmla="*/ 166 w 703"/>
                <a:gd name="T23" fmla="*/ 344 h 788"/>
                <a:gd name="T24" fmla="*/ 198 w 703"/>
                <a:gd name="T25" fmla="*/ 353 h 788"/>
                <a:gd name="T26" fmla="*/ 233 w 703"/>
                <a:gd name="T27" fmla="*/ 368 h 788"/>
                <a:gd name="T28" fmla="*/ 253 w 703"/>
                <a:gd name="T29" fmla="*/ 391 h 788"/>
                <a:gd name="T30" fmla="*/ 251 w 703"/>
                <a:gd name="T31" fmla="*/ 423 h 788"/>
                <a:gd name="T32" fmla="*/ 281 w 703"/>
                <a:gd name="T33" fmla="*/ 443 h 788"/>
                <a:gd name="T34" fmla="*/ 300 w 703"/>
                <a:gd name="T35" fmla="*/ 463 h 788"/>
                <a:gd name="T36" fmla="*/ 283 w 703"/>
                <a:gd name="T37" fmla="*/ 500 h 788"/>
                <a:gd name="T38" fmla="*/ 298 w 703"/>
                <a:gd name="T39" fmla="*/ 532 h 788"/>
                <a:gd name="T40" fmla="*/ 328 w 703"/>
                <a:gd name="T41" fmla="*/ 547 h 788"/>
                <a:gd name="T42" fmla="*/ 363 w 703"/>
                <a:gd name="T43" fmla="*/ 572 h 788"/>
                <a:gd name="T44" fmla="*/ 370 w 703"/>
                <a:gd name="T45" fmla="*/ 639 h 788"/>
                <a:gd name="T46" fmla="*/ 368 w 703"/>
                <a:gd name="T47" fmla="*/ 657 h 788"/>
                <a:gd name="T48" fmla="*/ 340 w 703"/>
                <a:gd name="T49" fmla="*/ 687 h 788"/>
                <a:gd name="T50" fmla="*/ 330 w 703"/>
                <a:gd name="T51" fmla="*/ 719 h 788"/>
                <a:gd name="T52" fmla="*/ 392 w 703"/>
                <a:gd name="T53" fmla="*/ 776 h 788"/>
                <a:gd name="T54" fmla="*/ 407 w 703"/>
                <a:gd name="T55" fmla="*/ 754 h 788"/>
                <a:gd name="T56" fmla="*/ 420 w 703"/>
                <a:gd name="T57" fmla="*/ 714 h 788"/>
                <a:gd name="T58" fmla="*/ 417 w 703"/>
                <a:gd name="T59" fmla="*/ 741 h 788"/>
                <a:gd name="T60" fmla="*/ 447 w 703"/>
                <a:gd name="T61" fmla="*/ 711 h 788"/>
                <a:gd name="T62" fmla="*/ 469 w 703"/>
                <a:gd name="T63" fmla="*/ 617 h 788"/>
                <a:gd name="T64" fmla="*/ 494 w 703"/>
                <a:gd name="T65" fmla="*/ 587 h 788"/>
                <a:gd name="T66" fmla="*/ 559 w 703"/>
                <a:gd name="T67" fmla="*/ 560 h 788"/>
                <a:gd name="T68" fmla="*/ 596 w 703"/>
                <a:gd name="T69" fmla="*/ 518 h 788"/>
                <a:gd name="T70" fmla="*/ 616 w 703"/>
                <a:gd name="T71" fmla="*/ 450 h 788"/>
                <a:gd name="T72" fmla="*/ 646 w 703"/>
                <a:gd name="T73" fmla="*/ 346 h 788"/>
                <a:gd name="T74" fmla="*/ 658 w 703"/>
                <a:gd name="T75" fmla="*/ 304 h 788"/>
                <a:gd name="T76" fmla="*/ 686 w 703"/>
                <a:gd name="T77" fmla="*/ 279 h 788"/>
                <a:gd name="T78" fmla="*/ 691 w 703"/>
                <a:gd name="T79" fmla="*/ 244 h 788"/>
                <a:gd name="T80" fmla="*/ 691 w 703"/>
                <a:gd name="T81" fmla="*/ 227 h 788"/>
                <a:gd name="T82" fmla="*/ 666 w 703"/>
                <a:gd name="T83" fmla="*/ 182 h 788"/>
                <a:gd name="T84" fmla="*/ 629 w 703"/>
                <a:gd name="T85" fmla="*/ 160 h 788"/>
                <a:gd name="T86" fmla="*/ 596 w 703"/>
                <a:gd name="T87" fmla="*/ 140 h 788"/>
                <a:gd name="T88" fmla="*/ 559 w 703"/>
                <a:gd name="T89" fmla="*/ 135 h 788"/>
                <a:gd name="T90" fmla="*/ 522 w 703"/>
                <a:gd name="T91" fmla="*/ 112 h 788"/>
                <a:gd name="T92" fmla="*/ 472 w 703"/>
                <a:gd name="T93" fmla="*/ 102 h 788"/>
                <a:gd name="T94" fmla="*/ 440 w 703"/>
                <a:gd name="T95" fmla="*/ 125 h 788"/>
                <a:gd name="T96" fmla="*/ 445 w 703"/>
                <a:gd name="T97" fmla="*/ 92 h 788"/>
                <a:gd name="T98" fmla="*/ 410 w 703"/>
                <a:gd name="T99" fmla="*/ 110 h 788"/>
                <a:gd name="T100" fmla="*/ 405 w 703"/>
                <a:gd name="T101" fmla="*/ 100 h 788"/>
                <a:gd name="T102" fmla="*/ 427 w 703"/>
                <a:gd name="T103" fmla="*/ 60 h 788"/>
                <a:gd name="T104" fmla="*/ 390 w 703"/>
                <a:gd name="T105" fmla="*/ 18 h 788"/>
                <a:gd name="T106" fmla="*/ 370 w 703"/>
                <a:gd name="T107" fmla="*/ 50 h 788"/>
                <a:gd name="T108" fmla="*/ 318 w 703"/>
                <a:gd name="T109" fmla="*/ 40 h 788"/>
                <a:gd name="T110" fmla="*/ 281 w 703"/>
                <a:gd name="T111" fmla="*/ 58 h 788"/>
                <a:gd name="T112" fmla="*/ 256 w 703"/>
                <a:gd name="T113" fmla="*/ 58 h 788"/>
                <a:gd name="T114" fmla="*/ 248 w 703"/>
                <a:gd name="T115" fmla="*/ 5 h 788"/>
                <a:gd name="T116" fmla="*/ 198 w 703"/>
                <a:gd name="T117" fmla="*/ 13 h 788"/>
                <a:gd name="T118" fmla="*/ 166 w 703"/>
                <a:gd name="T119" fmla="*/ 10 h 788"/>
                <a:gd name="T120" fmla="*/ 176 w 703"/>
                <a:gd name="T121" fmla="*/ 45 h 788"/>
                <a:gd name="T122" fmla="*/ 141 w 703"/>
                <a:gd name="T123" fmla="*/ 73 h 788"/>
                <a:gd name="T124" fmla="*/ 109 w 703"/>
                <a:gd name="T125" fmla="*/ 48 h 7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703" h="788">
                  <a:moveTo>
                    <a:pt x="109" y="48"/>
                  </a:moveTo>
                  <a:lnTo>
                    <a:pt x="79" y="58"/>
                  </a:lnTo>
                  <a:lnTo>
                    <a:pt x="72" y="70"/>
                  </a:lnTo>
                  <a:lnTo>
                    <a:pt x="79" y="80"/>
                  </a:lnTo>
                  <a:lnTo>
                    <a:pt x="72" y="87"/>
                  </a:lnTo>
                  <a:lnTo>
                    <a:pt x="74" y="122"/>
                  </a:lnTo>
                  <a:lnTo>
                    <a:pt x="74" y="137"/>
                  </a:lnTo>
                  <a:lnTo>
                    <a:pt x="57" y="140"/>
                  </a:lnTo>
                  <a:lnTo>
                    <a:pt x="69" y="162"/>
                  </a:lnTo>
                  <a:lnTo>
                    <a:pt x="64" y="179"/>
                  </a:lnTo>
                  <a:lnTo>
                    <a:pt x="49" y="187"/>
                  </a:lnTo>
                  <a:lnTo>
                    <a:pt x="34" y="182"/>
                  </a:lnTo>
                  <a:lnTo>
                    <a:pt x="22" y="192"/>
                  </a:lnTo>
                  <a:lnTo>
                    <a:pt x="17" y="207"/>
                  </a:lnTo>
                  <a:lnTo>
                    <a:pt x="19" y="219"/>
                  </a:lnTo>
                  <a:lnTo>
                    <a:pt x="12" y="227"/>
                  </a:lnTo>
                  <a:lnTo>
                    <a:pt x="2" y="232"/>
                  </a:lnTo>
                  <a:lnTo>
                    <a:pt x="0" y="247"/>
                  </a:lnTo>
                  <a:lnTo>
                    <a:pt x="2" y="259"/>
                  </a:lnTo>
                  <a:lnTo>
                    <a:pt x="15" y="269"/>
                  </a:lnTo>
                  <a:lnTo>
                    <a:pt x="19" y="281"/>
                  </a:lnTo>
                  <a:lnTo>
                    <a:pt x="32" y="284"/>
                  </a:lnTo>
                  <a:lnTo>
                    <a:pt x="34" y="294"/>
                  </a:lnTo>
                  <a:lnTo>
                    <a:pt x="49" y="296"/>
                  </a:lnTo>
                  <a:lnTo>
                    <a:pt x="64" y="289"/>
                  </a:lnTo>
                  <a:lnTo>
                    <a:pt x="72" y="311"/>
                  </a:lnTo>
                  <a:lnTo>
                    <a:pt x="87" y="319"/>
                  </a:lnTo>
                  <a:lnTo>
                    <a:pt x="99" y="321"/>
                  </a:lnTo>
                  <a:lnTo>
                    <a:pt x="111" y="316"/>
                  </a:lnTo>
                  <a:lnTo>
                    <a:pt x="116" y="311"/>
                  </a:lnTo>
                  <a:lnTo>
                    <a:pt x="121" y="301"/>
                  </a:lnTo>
                  <a:lnTo>
                    <a:pt x="131" y="304"/>
                  </a:lnTo>
                  <a:lnTo>
                    <a:pt x="131" y="289"/>
                  </a:lnTo>
                  <a:lnTo>
                    <a:pt x="156" y="291"/>
                  </a:lnTo>
                  <a:lnTo>
                    <a:pt x="159" y="329"/>
                  </a:lnTo>
                  <a:lnTo>
                    <a:pt x="166" y="344"/>
                  </a:lnTo>
                  <a:lnTo>
                    <a:pt x="169" y="348"/>
                  </a:lnTo>
                  <a:lnTo>
                    <a:pt x="196" y="348"/>
                  </a:lnTo>
                  <a:lnTo>
                    <a:pt x="198" y="353"/>
                  </a:lnTo>
                  <a:lnTo>
                    <a:pt x="211" y="356"/>
                  </a:lnTo>
                  <a:lnTo>
                    <a:pt x="213" y="366"/>
                  </a:lnTo>
                  <a:lnTo>
                    <a:pt x="233" y="368"/>
                  </a:lnTo>
                  <a:lnTo>
                    <a:pt x="241" y="371"/>
                  </a:lnTo>
                  <a:lnTo>
                    <a:pt x="243" y="388"/>
                  </a:lnTo>
                  <a:lnTo>
                    <a:pt x="253" y="391"/>
                  </a:lnTo>
                  <a:lnTo>
                    <a:pt x="243" y="398"/>
                  </a:lnTo>
                  <a:lnTo>
                    <a:pt x="246" y="423"/>
                  </a:lnTo>
                  <a:lnTo>
                    <a:pt x="251" y="423"/>
                  </a:lnTo>
                  <a:lnTo>
                    <a:pt x="256" y="431"/>
                  </a:lnTo>
                  <a:lnTo>
                    <a:pt x="281" y="431"/>
                  </a:lnTo>
                  <a:lnTo>
                    <a:pt x="281" y="443"/>
                  </a:lnTo>
                  <a:lnTo>
                    <a:pt x="290" y="445"/>
                  </a:lnTo>
                  <a:lnTo>
                    <a:pt x="293" y="458"/>
                  </a:lnTo>
                  <a:lnTo>
                    <a:pt x="300" y="463"/>
                  </a:lnTo>
                  <a:lnTo>
                    <a:pt x="298" y="485"/>
                  </a:lnTo>
                  <a:lnTo>
                    <a:pt x="290" y="498"/>
                  </a:lnTo>
                  <a:lnTo>
                    <a:pt x="283" y="500"/>
                  </a:lnTo>
                  <a:lnTo>
                    <a:pt x="283" y="513"/>
                  </a:lnTo>
                  <a:lnTo>
                    <a:pt x="295" y="518"/>
                  </a:lnTo>
                  <a:lnTo>
                    <a:pt x="298" y="532"/>
                  </a:lnTo>
                  <a:lnTo>
                    <a:pt x="315" y="535"/>
                  </a:lnTo>
                  <a:lnTo>
                    <a:pt x="318" y="545"/>
                  </a:lnTo>
                  <a:lnTo>
                    <a:pt x="328" y="547"/>
                  </a:lnTo>
                  <a:lnTo>
                    <a:pt x="345" y="550"/>
                  </a:lnTo>
                  <a:lnTo>
                    <a:pt x="348" y="570"/>
                  </a:lnTo>
                  <a:lnTo>
                    <a:pt x="363" y="572"/>
                  </a:lnTo>
                  <a:lnTo>
                    <a:pt x="365" y="617"/>
                  </a:lnTo>
                  <a:lnTo>
                    <a:pt x="368" y="622"/>
                  </a:lnTo>
                  <a:lnTo>
                    <a:pt x="370" y="639"/>
                  </a:lnTo>
                  <a:lnTo>
                    <a:pt x="380" y="639"/>
                  </a:lnTo>
                  <a:lnTo>
                    <a:pt x="380" y="654"/>
                  </a:lnTo>
                  <a:lnTo>
                    <a:pt x="368" y="657"/>
                  </a:lnTo>
                  <a:lnTo>
                    <a:pt x="358" y="669"/>
                  </a:lnTo>
                  <a:lnTo>
                    <a:pt x="350" y="672"/>
                  </a:lnTo>
                  <a:lnTo>
                    <a:pt x="340" y="687"/>
                  </a:lnTo>
                  <a:lnTo>
                    <a:pt x="330" y="696"/>
                  </a:lnTo>
                  <a:lnTo>
                    <a:pt x="323" y="709"/>
                  </a:lnTo>
                  <a:lnTo>
                    <a:pt x="330" y="719"/>
                  </a:lnTo>
                  <a:lnTo>
                    <a:pt x="348" y="726"/>
                  </a:lnTo>
                  <a:lnTo>
                    <a:pt x="385" y="761"/>
                  </a:lnTo>
                  <a:lnTo>
                    <a:pt x="392" y="776"/>
                  </a:lnTo>
                  <a:lnTo>
                    <a:pt x="395" y="788"/>
                  </a:lnTo>
                  <a:lnTo>
                    <a:pt x="405" y="774"/>
                  </a:lnTo>
                  <a:lnTo>
                    <a:pt x="407" y="754"/>
                  </a:lnTo>
                  <a:lnTo>
                    <a:pt x="410" y="739"/>
                  </a:lnTo>
                  <a:lnTo>
                    <a:pt x="412" y="714"/>
                  </a:lnTo>
                  <a:lnTo>
                    <a:pt x="420" y="714"/>
                  </a:lnTo>
                  <a:lnTo>
                    <a:pt x="422" y="719"/>
                  </a:lnTo>
                  <a:lnTo>
                    <a:pt x="422" y="734"/>
                  </a:lnTo>
                  <a:lnTo>
                    <a:pt x="417" y="741"/>
                  </a:lnTo>
                  <a:lnTo>
                    <a:pt x="432" y="736"/>
                  </a:lnTo>
                  <a:lnTo>
                    <a:pt x="437" y="719"/>
                  </a:lnTo>
                  <a:lnTo>
                    <a:pt x="447" y="711"/>
                  </a:lnTo>
                  <a:lnTo>
                    <a:pt x="445" y="687"/>
                  </a:lnTo>
                  <a:lnTo>
                    <a:pt x="464" y="677"/>
                  </a:lnTo>
                  <a:lnTo>
                    <a:pt x="469" y="617"/>
                  </a:lnTo>
                  <a:lnTo>
                    <a:pt x="474" y="602"/>
                  </a:lnTo>
                  <a:lnTo>
                    <a:pt x="489" y="597"/>
                  </a:lnTo>
                  <a:lnTo>
                    <a:pt x="494" y="587"/>
                  </a:lnTo>
                  <a:lnTo>
                    <a:pt x="504" y="580"/>
                  </a:lnTo>
                  <a:lnTo>
                    <a:pt x="522" y="565"/>
                  </a:lnTo>
                  <a:lnTo>
                    <a:pt x="559" y="560"/>
                  </a:lnTo>
                  <a:lnTo>
                    <a:pt x="564" y="550"/>
                  </a:lnTo>
                  <a:lnTo>
                    <a:pt x="591" y="550"/>
                  </a:lnTo>
                  <a:lnTo>
                    <a:pt x="596" y="518"/>
                  </a:lnTo>
                  <a:lnTo>
                    <a:pt x="606" y="503"/>
                  </a:lnTo>
                  <a:lnTo>
                    <a:pt x="614" y="483"/>
                  </a:lnTo>
                  <a:lnTo>
                    <a:pt x="616" y="450"/>
                  </a:lnTo>
                  <a:lnTo>
                    <a:pt x="624" y="445"/>
                  </a:lnTo>
                  <a:lnTo>
                    <a:pt x="629" y="351"/>
                  </a:lnTo>
                  <a:lnTo>
                    <a:pt x="646" y="346"/>
                  </a:lnTo>
                  <a:lnTo>
                    <a:pt x="646" y="326"/>
                  </a:lnTo>
                  <a:lnTo>
                    <a:pt x="653" y="321"/>
                  </a:lnTo>
                  <a:lnTo>
                    <a:pt x="658" y="304"/>
                  </a:lnTo>
                  <a:lnTo>
                    <a:pt x="666" y="301"/>
                  </a:lnTo>
                  <a:lnTo>
                    <a:pt x="671" y="284"/>
                  </a:lnTo>
                  <a:lnTo>
                    <a:pt x="686" y="279"/>
                  </a:lnTo>
                  <a:lnTo>
                    <a:pt x="686" y="264"/>
                  </a:lnTo>
                  <a:lnTo>
                    <a:pt x="693" y="261"/>
                  </a:lnTo>
                  <a:lnTo>
                    <a:pt x="691" y="244"/>
                  </a:lnTo>
                  <a:lnTo>
                    <a:pt x="701" y="244"/>
                  </a:lnTo>
                  <a:lnTo>
                    <a:pt x="703" y="229"/>
                  </a:lnTo>
                  <a:lnTo>
                    <a:pt x="691" y="227"/>
                  </a:lnTo>
                  <a:lnTo>
                    <a:pt x="688" y="192"/>
                  </a:lnTo>
                  <a:lnTo>
                    <a:pt x="678" y="184"/>
                  </a:lnTo>
                  <a:lnTo>
                    <a:pt x="666" y="182"/>
                  </a:lnTo>
                  <a:lnTo>
                    <a:pt x="653" y="174"/>
                  </a:lnTo>
                  <a:lnTo>
                    <a:pt x="646" y="160"/>
                  </a:lnTo>
                  <a:lnTo>
                    <a:pt x="629" y="160"/>
                  </a:lnTo>
                  <a:lnTo>
                    <a:pt x="626" y="147"/>
                  </a:lnTo>
                  <a:lnTo>
                    <a:pt x="614" y="140"/>
                  </a:lnTo>
                  <a:lnTo>
                    <a:pt x="596" y="140"/>
                  </a:lnTo>
                  <a:lnTo>
                    <a:pt x="579" y="137"/>
                  </a:lnTo>
                  <a:lnTo>
                    <a:pt x="571" y="130"/>
                  </a:lnTo>
                  <a:lnTo>
                    <a:pt x="559" y="135"/>
                  </a:lnTo>
                  <a:lnTo>
                    <a:pt x="549" y="137"/>
                  </a:lnTo>
                  <a:lnTo>
                    <a:pt x="534" y="127"/>
                  </a:lnTo>
                  <a:lnTo>
                    <a:pt x="522" y="112"/>
                  </a:lnTo>
                  <a:lnTo>
                    <a:pt x="507" y="105"/>
                  </a:lnTo>
                  <a:lnTo>
                    <a:pt x="492" y="102"/>
                  </a:lnTo>
                  <a:lnTo>
                    <a:pt x="472" y="102"/>
                  </a:lnTo>
                  <a:lnTo>
                    <a:pt x="460" y="107"/>
                  </a:lnTo>
                  <a:lnTo>
                    <a:pt x="455" y="117"/>
                  </a:lnTo>
                  <a:lnTo>
                    <a:pt x="440" y="125"/>
                  </a:lnTo>
                  <a:lnTo>
                    <a:pt x="445" y="112"/>
                  </a:lnTo>
                  <a:lnTo>
                    <a:pt x="455" y="97"/>
                  </a:lnTo>
                  <a:lnTo>
                    <a:pt x="445" y="92"/>
                  </a:lnTo>
                  <a:lnTo>
                    <a:pt x="430" y="92"/>
                  </a:lnTo>
                  <a:lnTo>
                    <a:pt x="420" y="100"/>
                  </a:lnTo>
                  <a:lnTo>
                    <a:pt x="410" y="110"/>
                  </a:lnTo>
                  <a:lnTo>
                    <a:pt x="400" y="122"/>
                  </a:lnTo>
                  <a:lnTo>
                    <a:pt x="390" y="127"/>
                  </a:lnTo>
                  <a:lnTo>
                    <a:pt x="405" y="100"/>
                  </a:lnTo>
                  <a:lnTo>
                    <a:pt x="415" y="87"/>
                  </a:lnTo>
                  <a:lnTo>
                    <a:pt x="422" y="70"/>
                  </a:lnTo>
                  <a:lnTo>
                    <a:pt x="427" y="60"/>
                  </a:lnTo>
                  <a:lnTo>
                    <a:pt x="415" y="28"/>
                  </a:lnTo>
                  <a:lnTo>
                    <a:pt x="405" y="18"/>
                  </a:lnTo>
                  <a:lnTo>
                    <a:pt x="390" y="18"/>
                  </a:lnTo>
                  <a:lnTo>
                    <a:pt x="380" y="28"/>
                  </a:lnTo>
                  <a:lnTo>
                    <a:pt x="375" y="38"/>
                  </a:lnTo>
                  <a:lnTo>
                    <a:pt x="370" y="50"/>
                  </a:lnTo>
                  <a:lnTo>
                    <a:pt x="353" y="48"/>
                  </a:lnTo>
                  <a:lnTo>
                    <a:pt x="345" y="40"/>
                  </a:lnTo>
                  <a:lnTo>
                    <a:pt x="318" y="40"/>
                  </a:lnTo>
                  <a:lnTo>
                    <a:pt x="318" y="58"/>
                  </a:lnTo>
                  <a:lnTo>
                    <a:pt x="295" y="58"/>
                  </a:lnTo>
                  <a:lnTo>
                    <a:pt x="281" y="58"/>
                  </a:lnTo>
                  <a:lnTo>
                    <a:pt x="276" y="65"/>
                  </a:lnTo>
                  <a:lnTo>
                    <a:pt x="266" y="68"/>
                  </a:lnTo>
                  <a:lnTo>
                    <a:pt x="256" y="58"/>
                  </a:lnTo>
                  <a:lnTo>
                    <a:pt x="248" y="40"/>
                  </a:lnTo>
                  <a:lnTo>
                    <a:pt x="251" y="25"/>
                  </a:lnTo>
                  <a:lnTo>
                    <a:pt x="248" y="5"/>
                  </a:lnTo>
                  <a:lnTo>
                    <a:pt x="233" y="0"/>
                  </a:lnTo>
                  <a:lnTo>
                    <a:pt x="228" y="13"/>
                  </a:lnTo>
                  <a:lnTo>
                    <a:pt x="198" y="13"/>
                  </a:lnTo>
                  <a:lnTo>
                    <a:pt x="189" y="20"/>
                  </a:lnTo>
                  <a:lnTo>
                    <a:pt x="174" y="8"/>
                  </a:lnTo>
                  <a:lnTo>
                    <a:pt x="166" y="10"/>
                  </a:lnTo>
                  <a:lnTo>
                    <a:pt x="161" y="25"/>
                  </a:lnTo>
                  <a:lnTo>
                    <a:pt x="164" y="38"/>
                  </a:lnTo>
                  <a:lnTo>
                    <a:pt x="176" y="45"/>
                  </a:lnTo>
                  <a:lnTo>
                    <a:pt x="176" y="58"/>
                  </a:lnTo>
                  <a:lnTo>
                    <a:pt x="161" y="70"/>
                  </a:lnTo>
                  <a:lnTo>
                    <a:pt x="141" y="73"/>
                  </a:lnTo>
                  <a:lnTo>
                    <a:pt x="129" y="65"/>
                  </a:lnTo>
                  <a:lnTo>
                    <a:pt x="119" y="53"/>
                  </a:lnTo>
                  <a:lnTo>
                    <a:pt x="109" y="4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2" name="Freeform 228"/>
            <p:cNvSpPr>
              <a:spLocks/>
            </p:cNvSpPr>
            <p:nvPr/>
          </p:nvSpPr>
          <p:spPr bwMode="auto">
            <a:xfrm>
              <a:off x="5313848" y="3059751"/>
              <a:ext cx="96428" cy="136727"/>
            </a:xfrm>
            <a:custGeom>
              <a:avLst/>
              <a:gdLst>
                <a:gd name="T0" fmla="*/ 67 w 67"/>
                <a:gd name="T1" fmla="*/ 85 h 95"/>
                <a:gd name="T2" fmla="*/ 52 w 67"/>
                <a:gd name="T3" fmla="*/ 95 h 95"/>
                <a:gd name="T4" fmla="*/ 44 w 67"/>
                <a:gd name="T5" fmla="*/ 80 h 95"/>
                <a:gd name="T6" fmla="*/ 30 w 67"/>
                <a:gd name="T7" fmla="*/ 70 h 95"/>
                <a:gd name="T8" fmla="*/ 15 w 67"/>
                <a:gd name="T9" fmla="*/ 55 h 95"/>
                <a:gd name="T10" fmla="*/ 0 w 67"/>
                <a:gd name="T11" fmla="*/ 30 h 95"/>
                <a:gd name="T12" fmla="*/ 20 w 67"/>
                <a:gd name="T13" fmla="*/ 23 h 95"/>
                <a:gd name="T14" fmla="*/ 30 w 67"/>
                <a:gd name="T15" fmla="*/ 0 h 95"/>
                <a:gd name="T16" fmla="*/ 37 w 67"/>
                <a:gd name="T17" fmla="*/ 25 h 95"/>
                <a:gd name="T18" fmla="*/ 49 w 67"/>
                <a:gd name="T19" fmla="*/ 52 h 95"/>
                <a:gd name="T20" fmla="*/ 67 w 67"/>
                <a:gd name="T21" fmla="*/ 85 h 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7" h="95">
                  <a:moveTo>
                    <a:pt x="67" y="85"/>
                  </a:moveTo>
                  <a:lnTo>
                    <a:pt x="52" y="95"/>
                  </a:lnTo>
                  <a:lnTo>
                    <a:pt x="44" y="80"/>
                  </a:lnTo>
                  <a:lnTo>
                    <a:pt x="30" y="70"/>
                  </a:lnTo>
                  <a:lnTo>
                    <a:pt x="15" y="55"/>
                  </a:lnTo>
                  <a:lnTo>
                    <a:pt x="0" y="30"/>
                  </a:lnTo>
                  <a:lnTo>
                    <a:pt x="20" y="23"/>
                  </a:lnTo>
                  <a:lnTo>
                    <a:pt x="30" y="0"/>
                  </a:lnTo>
                  <a:lnTo>
                    <a:pt x="37" y="25"/>
                  </a:lnTo>
                  <a:lnTo>
                    <a:pt x="49" y="52"/>
                  </a:lnTo>
                  <a:lnTo>
                    <a:pt x="67" y="8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3" name="Freeform 229"/>
            <p:cNvSpPr>
              <a:spLocks/>
            </p:cNvSpPr>
            <p:nvPr/>
          </p:nvSpPr>
          <p:spPr bwMode="auto">
            <a:xfrm>
              <a:off x="6390396" y="2734484"/>
              <a:ext cx="751281" cy="375640"/>
            </a:xfrm>
            <a:custGeom>
              <a:avLst/>
              <a:gdLst>
                <a:gd name="T0" fmla="*/ 0 w 522"/>
                <a:gd name="T1" fmla="*/ 99 h 261"/>
                <a:gd name="T2" fmla="*/ 12 w 522"/>
                <a:gd name="T3" fmla="*/ 90 h 261"/>
                <a:gd name="T4" fmla="*/ 35 w 522"/>
                <a:gd name="T5" fmla="*/ 85 h 261"/>
                <a:gd name="T6" fmla="*/ 87 w 522"/>
                <a:gd name="T7" fmla="*/ 80 h 261"/>
                <a:gd name="T8" fmla="*/ 92 w 522"/>
                <a:gd name="T9" fmla="*/ 87 h 261"/>
                <a:gd name="T10" fmla="*/ 112 w 522"/>
                <a:gd name="T11" fmla="*/ 90 h 261"/>
                <a:gd name="T12" fmla="*/ 119 w 522"/>
                <a:gd name="T13" fmla="*/ 97 h 261"/>
                <a:gd name="T14" fmla="*/ 154 w 522"/>
                <a:gd name="T15" fmla="*/ 92 h 261"/>
                <a:gd name="T16" fmla="*/ 147 w 522"/>
                <a:gd name="T17" fmla="*/ 72 h 261"/>
                <a:gd name="T18" fmla="*/ 139 w 522"/>
                <a:gd name="T19" fmla="*/ 62 h 261"/>
                <a:gd name="T20" fmla="*/ 154 w 522"/>
                <a:gd name="T21" fmla="*/ 62 h 261"/>
                <a:gd name="T22" fmla="*/ 154 w 522"/>
                <a:gd name="T23" fmla="*/ 32 h 261"/>
                <a:gd name="T24" fmla="*/ 154 w 522"/>
                <a:gd name="T25" fmla="*/ 0 h 261"/>
                <a:gd name="T26" fmla="*/ 186 w 522"/>
                <a:gd name="T27" fmla="*/ 12 h 261"/>
                <a:gd name="T28" fmla="*/ 209 w 522"/>
                <a:gd name="T29" fmla="*/ 12 h 261"/>
                <a:gd name="T30" fmla="*/ 224 w 522"/>
                <a:gd name="T31" fmla="*/ 30 h 261"/>
                <a:gd name="T32" fmla="*/ 231 w 522"/>
                <a:gd name="T33" fmla="*/ 45 h 261"/>
                <a:gd name="T34" fmla="*/ 259 w 522"/>
                <a:gd name="T35" fmla="*/ 45 h 261"/>
                <a:gd name="T36" fmla="*/ 296 w 522"/>
                <a:gd name="T37" fmla="*/ 47 h 261"/>
                <a:gd name="T38" fmla="*/ 318 w 522"/>
                <a:gd name="T39" fmla="*/ 60 h 261"/>
                <a:gd name="T40" fmla="*/ 336 w 522"/>
                <a:gd name="T41" fmla="*/ 65 h 261"/>
                <a:gd name="T42" fmla="*/ 341 w 522"/>
                <a:gd name="T43" fmla="*/ 80 h 261"/>
                <a:gd name="T44" fmla="*/ 385 w 522"/>
                <a:gd name="T45" fmla="*/ 72 h 261"/>
                <a:gd name="T46" fmla="*/ 393 w 522"/>
                <a:gd name="T47" fmla="*/ 60 h 261"/>
                <a:gd name="T48" fmla="*/ 410 w 522"/>
                <a:gd name="T49" fmla="*/ 70 h 261"/>
                <a:gd name="T50" fmla="*/ 430 w 522"/>
                <a:gd name="T51" fmla="*/ 50 h 261"/>
                <a:gd name="T52" fmla="*/ 447 w 522"/>
                <a:gd name="T53" fmla="*/ 50 h 261"/>
                <a:gd name="T54" fmla="*/ 462 w 522"/>
                <a:gd name="T55" fmla="*/ 57 h 261"/>
                <a:gd name="T56" fmla="*/ 457 w 522"/>
                <a:gd name="T57" fmla="*/ 72 h 261"/>
                <a:gd name="T58" fmla="*/ 460 w 522"/>
                <a:gd name="T59" fmla="*/ 112 h 261"/>
                <a:gd name="T60" fmla="*/ 465 w 522"/>
                <a:gd name="T61" fmla="*/ 119 h 261"/>
                <a:gd name="T62" fmla="*/ 480 w 522"/>
                <a:gd name="T63" fmla="*/ 114 h 261"/>
                <a:gd name="T64" fmla="*/ 507 w 522"/>
                <a:gd name="T65" fmla="*/ 112 h 261"/>
                <a:gd name="T66" fmla="*/ 522 w 522"/>
                <a:gd name="T67" fmla="*/ 129 h 261"/>
                <a:gd name="T68" fmla="*/ 490 w 522"/>
                <a:gd name="T69" fmla="*/ 144 h 261"/>
                <a:gd name="T70" fmla="*/ 465 w 522"/>
                <a:gd name="T71" fmla="*/ 159 h 261"/>
                <a:gd name="T72" fmla="*/ 450 w 522"/>
                <a:gd name="T73" fmla="*/ 172 h 261"/>
                <a:gd name="T74" fmla="*/ 433 w 522"/>
                <a:gd name="T75" fmla="*/ 189 h 261"/>
                <a:gd name="T76" fmla="*/ 408 w 522"/>
                <a:gd name="T77" fmla="*/ 182 h 261"/>
                <a:gd name="T78" fmla="*/ 410 w 522"/>
                <a:gd name="T79" fmla="*/ 201 h 261"/>
                <a:gd name="T80" fmla="*/ 405 w 522"/>
                <a:gd name="T81" fmla="*/ 224 h 261"/>
                <a:gd name="T82" fmla="*/ 378 w 522"/>
                <a:gd name="T83" fmla="*/ 246 h 261"/>
                <a:gd name="T84" fmla="*/ 343 w 522"/>
                <a:gd name="T85" fmla="*/ 241 h 261"/>
                <a:gd name="T86" fmla="*/ 328 w 522"/>
                <a:gd name="T87" fmla="*/ 251 h 261"/>
                <a:gd name="T88" fmla="*/ 303 w 522"/>
                <a:gd name="T89" fmla="*/ 261 h 261"/>
                <a:gd name="T90" fmla="*/ 276 w 522"/>
                <a:gd name="T91" fmla="*/ 246 h 261"/>
                <a:gd name="T92" fmla="*/ 256 w 522"/>
                <a:gd name="T93" fmla="*/ 239 h 261"/>
                <a:gd name="T94" fmla="*/ 157 w 522"/>
                <a:gd name="T95" fmla="*/ 231 h 261"/>
                <a:gd name="T96" fmla="*/ 144 w 522"/>
                <a:gd name="T97" fmla="*/ 221 h 261"/>
                <a:gd name="T98" fmla="*/ 132 w 522"/>
                <a:gd name="T99" fmla="*/ 199 h 261"/>
                <a:gd name="T100" fmla="*/ 112 w 522"/>
                <a:gd name="T101" fmla="*/ 186 h 261"/>
                <a:gd name="T102" fmla="*/ 94 w 522"/>
                <a:gd name="T103" fmla="*/ 184 h 261"/>
                <a:gd name="T104" fmla="*/ 55 w 522"/>
                <a:gd name="T105" fmla="*/ 174 h 261"/>
                <a:gd name="T106" fmla="*/ 42 w 522"/>
                <a:gd name="T107" fmla="*/ 147 h 261"/>
                <a:gd name="T108" fmla="*/ 35 w 522"/>
                <a:gd name="T109" fmla="*/ 127 h 261"/>
                <a:gd name="T110" fmla="*/ 10 w 522"/>
                <a:gd name="T111" fmla="*/ 112 h 261"/>
                <a:gd name="T112" fmla="*/ 0 w 522"/>
                <a:gd name="T113" fmla="*/ 99 h 2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522" h="261">
                  <a:moveTo>
                    <a:pt x="0" y="99"/>
                  </a:moveTo>
                  <a:lnTo>
                    <a:pt x="12" y="90"/>
                  </a:lnTo>
                  <a:lnTo>
                    <a:pt x="35" y="85"/>
                  </a:lnTo>
                  <a:lnTo>
                    <a:pt x="87" y="80"/>
                  </a:lnTo>
                  <a:lnTo>
                    <a:pt x="92" y="87"/>
                  </a:lnTo>
                  <a:lnTo>
                    <a:pt x="112" y="90"/>
                  </a:lnTo>
                  <a:lnTo>
                    <a:pt x="119" y="97"/>
                  </a:lnTo>
                  <a:lnTo>
                    <a:pt x="154" y="92"/>
                  </a:lnTo>
                  <a:lnTo>
                    <a:pt x="147" y="72"/>
                  </a:lnTo>
                  <a:lnTo>
                    <a:pt x="139" y="62"/>
                  </a:lnTo>
                  <a:lnTo>
                    <a:pt x="154" y="62"/>
                  </a:lnTo>
                  <a:lnTo>
                    <a:pt x="154" y="32"/>
                  </a:lnTo>
                  <a:lnTo>
                    <a:pt x="154" y="0"/>
                  </a:lnTo>
                  <a:lnTo>
                    <a:pt x="186" y="12"/>
                  </a:lnTo>
                  <a:lnTo>
                    <a:pt x="209" y="12"/>
                  </a:lnTo>
                  <a:lnTo>
                    <a:pt x="224" y="30"/>
                  </a:lnTo>
                  <a:lnTo>
                    <a:pt x="231" y="45"/>
                  </a:lnTo>
                  <a:lnTo>
                    <a:pt x="259" y="45"/>
                  </a:lnTo>
                  <a:lnTo>
                    <a:pt x="296" y="47"/>
                  </a:lnTo>
                  <a:lnTo>
                    <a:pt x="318" y="60"/>
                  </a:lnTo>
                  <a:lnTo>
                    <a:pt x="336" y="65"/>
                  </a:lnTo>
                  <a:lnTo>
                    <a:pt x="341" y="80"/>
                  </a:lnTo>
                  <a:lnTo>
                    <a:pt x="385" y="72"/>
                  </a:lnTo>
                  <a:lnTo>
                    <a:pt x="393" y="60"/>
                  </a:lnTo>
                  <a:lnTo>
                    <a:pt x="410" y="70"/>
                  </a:lnTo>
                  <a:lnTo>
                    <a:pt x="430" y="50"/>
                  </a:lnTo>
                  <a:lnTo>
                    <a:pt x="447" y="50"/>
                  </a:lnTo>
                  <a:lnTo>
                    <a:pt x="462" y="57"/>
                  </a:lnTo>
                  <a:lnTo>
                    <a:pt x="457" y="72"/>
                  </a:lnTo>
                  <a:lnTo>
                    <a:pt x="460" y="112"/>
                  </a:lnTo>
                  <a:lnTo>
                    <a:pt x="465" y="119"/>
                  </a:lnTo>
                  <a:lnTo>
                    <a:pt x="480" y="114"/>
                  </a:lnTo>
                  <a:lnTo>
                    <a:pt x="507" y="112"/>
                  </a:lnTo>
                  <a:lnTo>
                    <a:pt x="522" y="129"/>
                  </a:lnTo>
                  <a:lnTo>
                    <a:pt x="490" y="144"/>
                  </a:lnTo>
                  <a:lnTo>
                    <a:pt x="465" y="159"/>
                  </a:lnTo>
                  <a:lnTo>
                    <a:pt x="450" y="172"/>
                  </a:lnTo>
                  <a:lnTo>
                    <a:pt x="433" y="189"/>
                  </a:lnTo>
                  <a:lnTo>
                    <a:pt x="408" y="182"/>
                  </a:lnTo>
                  <a:lnTo>
                    <a:pt x="410" y="201"/>
                  </a:lnTo>
                  <a:lnTo>
                    <a:pt x="405" y="224"/>
                  </a:lnTo>
                  <a:lnTo>
                    <a:pt x="378" y="246"/>
                  </a:lnTo>
                  <a:lnTo>
                    <a:pt x="343" y="241"/>
                  </a:lnTo>
                  <a:lnTo>
                    <a:pt x="328" y="251"/>
                  </a:lnTo>
                  <a:lnTo>
                    <a:pt x="303" y="261"/>
                  </a:lnTo>
                  <a:lnTo>
                    <a:pt x="276" y="246"/>
                  </a:lnTo>
                  <a:lnTo>
                    <a:pt x="256" y="239"/>
                  </a:lnTo>
                  <a:lnTo>
                    <a:pt x="157" y="231"/>
                  </a:lnTo>
                  <a:lnTo>
                    <a:pt x="144" y="221"/>
                  </a:lnTo>
                  <a:lnTo>
                    <a:pt x="132" y="199"/>
                  </a:lnTo>
                  <a:lnTo>
                    <a:pt x="112" y="186"/>
                  </a:lnTo>
                  <a:lnTo>
                    <a:pt x="94" y="184"/>
                  </a:lnTo>
                  <a:lnTo>
                    <a:pt x="55" y="174"/>
                  </a:lnTo>
                  <a:lnTo>
                    <a:pt x="42" y="147"/>
                  </a:lnTo>
                  <a:lnTo>
                    <a:pt x="35" y="127"/>
                  </a:lnTo>
                  <a:lnTo>
                    <a:pt x="10" y="112"/>
                  </a:lnTo>
                  <a:lnTo>
                    <a:pt x="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4" name="Freeform 230"/>
            <p:cNvSpPr>
              <a:spLocks/>
            </p:cNvSpPr>
            <p:nvPr/>
          </p:nvSpPr>
          <p:spPr bwMode="auto">
            <a:xfrm>
              <a:off x="1946037" y="2691307"/>
              <a:ext cx="71962" cy="132410"/>
            </a:xfrm>
            <a:custGeom>
              <a:avLst/>
              <a:gdLst>
                <a:gd name="T0" fmla="*/ 5 w 50"/>
                <a:gd name="T1" fmla="*/ 0 h 92"/>
                <a:gd name="T2" fmla="*/ 20 w 50"/>
                <a:gd name="T3" fmla="*/ 5 h 92"/>
                <a:gd name="T4" fmla="*/ 20 w 50"/>
                <a:gd name="T5" fmla="*/ 28 h 92"/>
                <a:gd name="T6" fmla="*/ 25 w 50"/>
                <a:gd name="T7" fmla="*/ 50 h 92"/>
                <a:gd name="T8" fmla="*/ 30 w 50"/>
                <a:gd name="T9" fmla="*/ 62 h 92"/>
                <a:gd name="T10" fmla="*/ 38 w 50"/>
                <a:gd name="T11" fmla="*/ 72 h 92"/>
                <a:gd name="T12" fmla="*/ 50 w 50"/>
                <a:gd name="T13" fmla="*/ 90 h 92"/>
                <a:gd name="T14" fmla="*/ 40 w 50"/>
                <a:gd name="T15" fmla="*/ 92 h 92"/>
                <a:gd name="T16" fmla="*/ 30 w 50"/>
                <a:gd name="T17" fmla="*/ 92 h 92"/>
                <a:gd name="T18" fmla="*/ 18 w 50"/>
                <a:gd name="T19" fmla="*/ 87 h 92"/>
                <a:gd name="T20" fmla="*/ 18 w 50"/>
                <a:gd name="T21" fmla="*/ 57 h 92"/>
                <a:gd name="T22" fmla="*/ 0 w 50"/>
                <a:gd name="T23" fmla="*/ 55 h 92"/>
                <a:gd name="T24" fmla="*/ 5 w 50"/>
                <a:gd name="T25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0" h="92">
                  <a:moveTo>
                    <a:pt x="5" y="0"/>
                  </a:moveTo>
                  <a:lnTo>
                    <a:pt x="20" y="5"/>
                  </a:lnTo>
                  <a:lnTo>
                    <a:pt x="20" y="28"/>
                  </a:lnTo>
                  <a:lnTo>
                    <a:pt x="25" y="50"/>
                  </a:lnTo>
                  <a:lnTo>
                    <a:pt x="30" y="62"/>
                  </a:lnTo>
                  <a:lnTo>
                    <a:pt x="38" y="72"/>
                  </a:lnTo>
                  <a:lnTo>
                    <a:pt x="50" y="90"/>
                  </a:lnTo>
                  <a:lnTo>
                    <a:pt x="40" y="92"/>
                  </a:lnTo>
                  <a:lnTo>
                    <a:pt x="30" y="92"/>
                  </a:lnTo>
                  <a:lnTo>
                    <a:pt x="18" y="87"/>
                  </a:lnTo>
                  <a:lnTo>
                    <a:pt x="18" y="57"/>
                  </a:lnTo>
                  <a:lnTo>
                    <a:pt x="0" y="55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5" name="Freeform 231"/>
            <p:cNvSpPr>
              <a:spLocks/>
            </p:cNvSpPr>
            <p:nvPr/>
          </p:nvSpPr>
          <p:spPr bwMode="auto">
            <a:xfrm>
              <a:off x="2078447" y="2874089"/>
              <a:ext cx="254744" cy="197176"/>
            </a:xfrm>
            <a:custGeom>
              <a:avLst/>
              <a:gdLst>
                <a:gd name="T0" fmla="*/ 55 w 177"/>
                <a:gd name="T1" fmla="*/ 2 h 137"/>
                <a:gd name="T2" fmla="*/ 35 w 177"/>
                <a:gd name="T3" fmla="*/ 7 h 137"/>
                <a:gd name="T4" fmla="*/ 43 w 177"/>
                <a:gd name="T5" fmla="*/ 12 h 137"/>
                <a:gd name="T6" fmla="*/ 0 w 177"/>
                <a:gd name="T7" fmla="*/ 42 h 137"/>
                <a:gd name="T8" fmla="*/ 0 w 177"/>
                <a:gd name="T9" fmla="*/ 55 h 137"/>
                <a:gd name="T10" fmla="*/ 25 w 177"/>
                <a:gd name="T11" fmla="*/ 65 h 137"/>
                <a:gd name="T12" fmla="*/ 58 w 177"/>
                <a:gd name="T13" fmla="*/ 30 h 137"/>
                <a:gd name="T14" fmla="*/ 58 w 177"/>
                <a:gd name="T15" fmla="*/ 35 h 137"/>
                <a:gd name="T16" fmla="*/ 87 w 177"/>
                <a:gd name="T17" fmla="*/ 42 h 137"/>
                <a:gd name="T18" fmla="*/ 107 w 177"/>
                <a:gd name="T19" fmla="*/ 67 h 137"/>
                <a:gd name="T20" fmla="*/ 127 w 177"/>
                <a:gd name="T21" fmla="*/ 94 h 137"/>
                <a:gd name="T22" fmla="*/ 120 w 177"/>
                <a:gd name="T23" fmla="*/ 129 h 137"/>
                <a:gd name="T24" fmla="*/ 135 w 177"/>
                <a:gd name="T25" fmla="*/ 119 h 137"/>
                <a:gd name="T26" fmla="*/ 152 w 177"/>
                <a:gd name="T27" fmla="*/ 137 h 137"/>
                <a:gd name="T28" fmla="*/ 162 w 177"/>
                <a:gd name="T29" fmla="*/ 97 h 137"/>
                <a:gd name="T30" fmla="*/ 177 w 177"/>
                <a:gd name="T31" fmla="*/ 99 h 137"/>
                <a:gd name="T32" fmla="*/ 162 w 177"/>
                <a:gd name="T33" fmla="*/ 72 h 137"/>
                <a:gd name="T34" fmla="*/ 132 w 177"/>
                <a:gd name="T35" fmla="*/ 55 h 137"/>
                <a:gd name="T36" fmla="*/ 117 w 177"/>
                <a:gd name="T37" fmla="*/ 37 h 137"/>
                <a:gd name="T38" fmla="*/ 90 w 177"/>
                <a:gd name="T39" fmla="*/ 0 h 137"/>
                <a:gd name="T40" fmla="*/ 55 w 177"/>
                <a:gd name="T41" fmla="*/ 2 h 1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77" h="137">
                  <a:moveTo>
                    <a:pt x="55" y="2"/>
                  </a:moveTo>
                  <a:lnTo>
                    <a:pt x="35" y="7"/>
                  </a:lnTo>
                  <a:lnTo>
                    <a:pt x="43" y="12"/>
                  </a:lnTo>
                  <a:lnTo>
                    <a:pt x="0" y="42"/>
                  </a:lnTo>
                  <a:lnTo>
                    <a:pt x="0" y="55"/>
                  </a:lnTo>
                  <a:lnTo>
                    <a:pt x="25" y="65"/>
                  </a:lnTo>
                  <a:lnTo>
                    <a:pt x="58" y="30"/>
                  </a:lnTo>
                  <a:lnTo>
                    <a:pt x="58" y="35"/>
                  </a:lnTo>
                  <a:lnTo>
                    <a:pt x="87" y="42"/>
                  </a:lnTo>
                  <a:lnTo>
                    <a:pt x="107" y="67"/>
                  </a:lnTo>
                  <a:lnTo>
                    <a:pt x="127" y="94"/>
                  </a:lnTo>
                  <a:lnTo>
                    <a:pt x="120" y="129"/>
                  </a:lnTo>
                  <a:lnTo>
                    <a:pt x="135" y="119"/>
                  </a:lnTo>
                  <a:lnTo>
                    <a:pt x="152" y="137"/>
                  </a:lnTo>
                  <a:lnTo>
                    <a:pt x="162" y="97"/>
                  </a:lnTo>
                  <a:lnTo>
                    <a:pt x="177" y="99"/>
                  </a:lnTo>
                  <a:lnTo>
                    <a:pt x="162" y="72"/>
                  </a:lnTo>
                  <a:lnTo>
                    <a:pt x="132" y="55"/>
                  </a:lnTo>
                  <a:lnTo>
                    <a:pt x="117" y="37"/>
                  </a:lnTo>
                  <a:lnTo>
                    <a:pt x="90" y="0"/>
                  </a:lnTo>
                  <a:lnTo>
                    <a:pt x="5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6" name="Freeform 232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7" name="Freeform 233"/>
            <p:cNvSpPr>
              <a:spLocks/>
            </p:cNvSpPr>
            <p:nvPr/>
          </p:nvSpPr>
          <p:spPr bwMode="auto">
            <a:xfrm>
              <a:off x="2150409" y="2956126"/>
              <a:ext cx="71962" cy="175587"/>
            </a:xfrm>
            <a:custGeom>
              <a:avLst/>
              <a:gdLst>
                <a:gd name="T0" fmla="*/ 40 w 50"/>
                <a:gd name="T1" fmla="*/ 5 h 122"/>
                <a:gd name="T2" fmla="*/ 20 w 50"/>
                <a:gd name="T3" fmla="*/ 8 h 122"/>
                <a:gd name="T4" fmla="*/ 3 w 50"/>
                <a:gd name="T5" fmla="*/ 25 h 122"/>
                <a:gd name="T6" fmla="*/ 0 w 50"/>
                <a:gd name="T7" fmla="*/ 42 h 122"/>
                <a:gd name="T8" fmla="*/ 10 w 50"/>
                <a:gd name="T9" fmla="*/ 32 h 122"/>
                <a:gd name="T10" fmla="*/ 8 w 50"/>
                <a:gd name="T11" fmla="*/ 55 h 122"/>
                <a:gd name="T12" fmla="*/ 3 w 50"/>
                <a:gd name="T13" fmla="*/ 72 h 122"/>
                <a:gd name="T14" fmla="*/ 3 w 50"/>
                <a:gd name="T15" fmla="*/ 105 h 122"/>
                <a:gd name="T16" fmla="*/ 18 w 50"/>
                <a:gd name="T17" fmla="*/ 122 h 122"/>
                <a:gd name="T18" fmla="*/ 37 w 50"/>
                <a:gd name="T19" fmla="*/ 107 h 122"/>
                <a:gd name="T20" fmla="*/ 27 w 50"/>
                <a:gd name="T21" fmla="*/ 57 h 122"/>
                <a:gd name="T22" fmla="*/ 27 w 50"/>
                <a:gd name="T23" fmla="*/ 40 h 122"/>
                <a:gd name="T24" fmla="*/ 45 w 50"/>
                <a:gd name="T25" fmla="*/ 30 h 122"/>
                <a:gd name="T26" fmla="*/ 50 w 50"/>
                <a:gd name="T27" fmla="*/ 18 h 122"/>
                <a:gd name="T28" fmla="*/ 40 w 50"/>
                <a:gd name="T29" fmla="*/ 0 h 122"/>
                <a:gd name="T30" fmla="*/ 40 w 50"/>
                <a:gd name="T31" fmla="*/ 5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122">
                  <a:moveTo>
                    <a:pt x="40" y="5"/>
                  </a:moveTo>
                  <a:lnTo>
                    <a:pt x="20" y="8"/>
                  </a:lnTo>
                  <a:lnTo>
                    <a:pt x="3" y="25"/>
                  </a:lnTo>
                  <a:lnTo>
                    <a:pt x="0" y="42"/>
                  </a:lnTo>
                  <a:lnTo>
                    <a:pt x="10" y="32"/>
                  </a:lnTo>
                  <a:lnTo>
                    <a:pt x="8" y="55"/>
                  </a:lnTo>
                  <a:lnTo>
                    <a:pt x="3" y="72"/>
                  </a:lnTo>
                  <a:lnTo>
                    <a:pt x="3" y="105"/>
                  </a:lnTo>
                  <a:lnTo>
                    <a:pt x="18" y="122"/>
                  </a:lnTo>
                  <a:lnTo>
                    <a:pt x="37" y="107"/>
                  </a:lnTo>
                  <a:lnTo>
                    <a:pt x="27" y="57"/>
                  </a:lnTo>
                  <a:lnTo>
                    <a:pt x="27" y="40"/>
                  </a:lnTo>
                  <a:lnTo>
                    <a:pt x="45" y="30"/>
                  </a:lnTo>
                  <a:lnTo>
                    <a:pt x="50" y="18"/>
                  </a:lnTo>
                  <a:lnTo>
                    <a:pt x="40" y="0"/>
                  </a:lnTo>
                  <a:lnTo>
                    <a:pt x="40" y="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8" name="Freeform 235"/>
            <p:cNvSpPr>
              <a:spLocks/>
            </p:cNvSpPr>
            <p:nvPr/>
          </p:nvSpPr>
          <p:spPr bwMode="auto">
            <a:xfrm>
              <a:off x="4504998" y="4337792"/>
              <a:ext cx="43177" cy="21588"/>
            </a:xfrm>
            <a:custGeom>
              <a:avLst/>
              <a:gdLst>
                <a:gd name="T0" fmla="*/ 30 w 30"/>
                <a:gd name="T1" fmla="*/ 0 h 15"/>
                <a:gd name="T2" fmla="*/ 2 w 30"/>
                <a:gd name="T3" fmla="*/ 2 h 15"/>
                <a:gd name="T4" fmla="*/ 0 w 30"/>
                <a:gd name="T5" fmla="*/ 10 h 15"/>
                <a:gd name="T6" fmla="*/ 5 w 30"/>
                <a:gd name="T7" fmla="*/ 15 h 15"/>
                <a:gd name="T8" fmla="*/ 25 w 30"/>
                <a:gd name="T9" fmla="*/ 12 h 15"/>
                <a:gd name="T10" fmla="*/ 30 w 30"/>
                <a:gd name="T11" fmla="*/ 0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0" h="15">
                  <a:moveTo>
                    <a:pt x="30" y="0"/>
                  </a:moveTo>
                  <a:lnTo>
                    <a:pt x="2" y="2"/>
                  </a:lnTo>
                  <a:lnTo>
                    <a:pt x="0" y="10"/>
                  </a:lnTo>
                  <a:lnTo>
                    <a:pt x="5" y="15"/>
                  </a:lnTo>
                  <a:lnTo>
                    <a:pt x="25" y="12"/>
                  </a:lnTo>
                  <a:lnTo>
                    <a:pt x="3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19" name="Freeform 236"/>
            <p:cNvSpPr>
              <a:spLocks/>
            </p:cNvSpPr>
            <p:nvPr/>
          </p:nvSpPr>
          <p:spPr bwMode="auto">
            <a:xfrm>
              <a:off x="4994338" y="4408314"/>
              <a:ext cx="47494" cy="50374"/>
            </a:xfrm>
            <a:custGeom>
              <a:avLst/>
              <a:gdLst>
                <a:gd name="T0" fmla="*/ 15 w 33"/>
                <a:gd name="T1" fmla="*/ 0 h 35"/>
                <a:gd name="T2" fmla="*/ 5 w 33"/>
                <a:gd name="T3" fmla="*/ 5 h 35"/>
                <a:gd name="T4" fmla="*/ 8 w 33"/>
                <a:gd name="T5" fmla="*/ 18 h 35"/>
                <a:gd name="T6" fmla="*/ 0 w 33"/>
                <a:gd name="T7" fmla="*/ 25 h 35"/>
                <a:gd name="T8" fmla="*/ 3 w 33"/>
                <a:gd name="T9" fmla="*/ 35 h 35"/>
                <a:gd name="T10" fmla="*/ 13 w 33"/>
                <a:gd name="T11" fmla="*/ 33 h 35"/>
                <a:gd name="T12" fmla="*/ 28 w 33"/>
                <a:gd name="T13" fmla="*/ 33 h 35"/>
                <a:gd name="T14" fmla="*/ 33 w 33"/>
                <a:gd name="T15" fmla="*/ 25 h 35"/>
                <a:gd name="T16" fmla="*/ 30 w 33"/>
                <a:gd name="T17" fmla="*/ 5 h 35"/>
                <a:gd name="T18" fmla="*/ 15 w 33"/>
                <a:gd name="T19" fmla="*/ 0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3" h="35">
                  <a:moveTo>
                    <a:pt x="15" y="0"/>
                  </a:moveTo>
                  <a:lnTo>
                    <a:pt x="5" y="5"/>
                  </a:lnTo>
                  <a:lnTo>
                    <a:pt x="8" y="18"/>
                  </a:lnTo>
                  <a:lnTo>
                    <a:pt x="0" y="25"/>
                  </a:lnTo>
                  <a:lnTo>
                    <a:pt x="3" y="35"/>
                  </a:lnTo>
                  <a:lnTo>
                    <a:pt x="13" y="33"/>
                  </a:lnTo>
                  <a:lnTo>
                    <a:pt x="28" y="33"/>
                  </a:lnTo>
                  <a:lnTo>
                    <a:pt x="33" y="25"/>
                  </a:lnTo>
                  <a:lnTo>
                    <a:pt x="30" y="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0" name="Freeform 237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157 w 214"/>
                <a:gd name="T1" fmla="*/ 0 h 211"/>
                <a:gd name="T2" fmla="*/ 152 w 214"/>
                <a:gd name="T3" fmla="*/ 12 h 211"/>
                <a:gd name="T4" fmla="*/ 139 w 214"/>
                <a:gd name="T5" fmla="*/ 17 h 211"/>
                <a:gd name="T6" fmla="*/ 132 w 214"/>
                <a:gd name="T7" fmla="*/ 29 h 211"/>
                <a:gd name="T8" fmla="*/ 127 w 214"/>
                <a:gd name="T9" fmla="*/ 84 h 211"/>
                <a:gd name="T10" fmla="*/ 134 w 214"/>
                <a:gd name="T11" fmla="*/ 92 h 211"/>
                <a:gd name="T12" fmla="*/ 147 w 214"/>
                <a:gd name="T13" fmla="*/ 92 h 211"/>
                <a:gd name="T14" fmla="*/ 149 w 214"/>
                <a:gd name="T15" fmla="*/ 114 h 211"/>
                <a:gd name="T16" fmla="*/ 144 w 214"/>
                <a:gd name="T17" fmla="*/ 126 h 211"/>
                <a:gd name="T18" fmla="*/ 127 w 214"/>
                <a:gd name="T19" fmla="*/ 126 h 211"/>
                <a:gd name="T20" fmla="*/ 120 w 214"/>
                <a:gd name="T21" fmla="*/ 116 h 211"/>
                <a:gd name="T22" fmla="*/ 115 w 214"/>
                <a:gd name="T23" fmla="*/ 97 h 211"/>
                <a:gd name="T24" fmla="*/ 100 w 214"/>
                <a:gd name="T25" fmla="*/ 89 h 211"/>
                <a:gd name="T26" fmla="*/ 100 w 214"/>
                <a:gd name="T27" fmla="*/ 84 h 211"/>
                <a:gd name="T28" fmla="*/ 85 w 214"/>
                <a:gd name="T29" fmla="*/ 87 h 211"/>
                <a:gd name="T30" fmla="*/ 80 w 214"/>
                <a:gd name="T31" fmla="*/ 97 h 211"/>
                <a:gd name="T32" fmla="*/ 70 w 214"/>
                <a:gd name="T33" fmla="*/ 94 h 211"/>
                <a:gd name="T34" fmla="*/ 65 w 214"/>
                <a:gd name="T35" fmla="*/ 77 h 211"/>
                <a:gd name="T36" fmla="*/ 47 w 214"/>
                <a:gd name="T37" fmla="*/ 74 h 211"/>
                <a:gd name="T38" fmla="*/ 45 w 214"/>
                <a:gd name="T39" fmla="*/ 114 h 211"/>
                <a:gd name="T40" fmla="*/ 28 w 214"/>
                <a:gd name="T41" fmla="*/ 114 h 211"/>
                <a:gd name="T42" fmla="*/ 23 w 214"/>
                <a:gd name="T43" fmla="*/ 104 h 211"/>
                <a:gd name="T44" fmla="*/ 15 w 214"/>
                <a:gd name="T45" fmla="*/ 104 h 211"/>
                <a:gd name="T46" fmla="*/ 15 w 214"/>
                <a:gd name="T47" fmla="*/ 114 h 211"/>
                <a:gd name="T48" fmla="*/ 3 w 214"/>
                <a:gd name="T49" fmla="*/ 116 h 211"/>
                <a:gd name="T50" fmla="*/ 0 w 214"/>
                <a:gd name="T51" fmla="*/ 164 h 211"/>
                <a:gd name="T52" fmla="*/ 3 w 214"/>
                <a:gd name="T53" fmla="*/ 179 h 211"/>
                <a:gd name="T54" fmla="*/ 18 w 214"/>
                <a:gd name="T55" fmla="*/ 196 h 211"/>
                <a:gd name="T56" fmla="*/ 18 w 214"/>
                <a:gd name="T57" fmla="*/ 206 h 211"/>
                <a:gd name="T58" fmla="*/ 28 w 214"/>
                <a:gd name="T59" fmla="*/ 208 h 211"/>
                <a:gd name="T60" fmla="*/ 75 w 214"/>
                <a:gd name="T61" fmla="*/ 211 h 211"/>
                <a:gd name="T62" fmla="*/ 85 w 214"/>
                <a:gd name="T63" fmla="*/ 208 h 211"/>
                <a:gd name="T64" fmla="*/ 100 w 214"/>
                <a:gd name="T65" fmla="*/ 208 h 211"/>
                <a:gd name="T66" fmla="*/ 110 w 214"/>
                <a:gd name="T67" fmla="*/ 203 h 211"/>
                <a:gd name="T68" fmla="*/ 112 w 214"/>
                <a:gd name="T69" fmla="*/ 191 h 211"/>
                <a:gd name="T70" fmla="*/ 122 w 214"/>
                <a:gd name="T71" fmla="*/ 189 h 211"/>
                <a:gd name="T72" fmla="*/ 129 w 214"/>
                <a:gd name="T73" fmla="*/ 184 h 211"/>
                <a:gd name="T74" fmla="*/ 132 w 214"/>
                <a:gd name="T75" fmla="*/ 171 h 211"/>
                <a:gd name="T76" fmla="*/ 147 w 214"/>
                <a:gd name="T77" fmla="*/ 169 h 211"/>
                <a:gd name="T78" fmla="*/ 154 w 214"/>
                <a:gd name="T79" fmla="*/ 159 h 211"/>
                <a:gd name="T80" fmla="*/ 182 w 214"/>
                <a:gd name="T81" fmla="*/ 154 h 211"/>
                <a:gd name="T82" fmla="*/ 187 w 214"/>
                <a:gd name="T83" fmla="*/ 141 h 211"/>
                <a:gd name="T84" fmla="*/ 202 w 214"/>
                <a:gd name="T85" fmla="*/ 134 h 211"/>
                <a:gd name="T86" fmla="*/ 204 w 214"/>
                <a:gd name="T87" fmla="*/ 102 h 211"/>
                <a:gd name="T88" fmla="*/ 214 w 214"/>
                <a:gd name="T89" fmla="*/ 94 h 211"/>
                <a:gd name="T90" fmla="*/ 209 w 214"/>
                <a:gd name="T91" fmla="*/ 72 h 211"/>
                <a:gd name="T92" fmla="*/ 211 w 214"/>
                <a:gd name="T93" fmla="*/ 47 h 211"/>
                <a:gd name="T94" fmla="*/ 199 w 214"/>
                <a:gd name="T95" fmla="*/ 29 h 211"/>
                <a:gd name="T96" fmla="*/ 184 w 214"/>
                <a:gd name="T97" fmla="*/ 22 h 211"/>
                <a:gd name="T98" fmla="*/ 172 w 214"/>
                <a:gd name="T99" fmla="*/ 10 h 211"/>
                <a:gd name="T100" fmla="*/ 169 w 214"/>
                <a:gd name="T101" fmla="*/ 0 h 211"/>
                <a:gd name="T102" fmla="*/ 157 w 214"/>
                <a:gd name="T103" fmla="*/ 0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157" y="0"/>
                  </a:move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1" name="Freeform 238"/>
            <p:cNvSpPr>
              <a:spLocks/>
            </p:cNvSpPr>
            <p:nvPr/>
          </p:nvSpPr>
          <p:spPr bwMode="auto">
            <a:xfrm>
              <a:off x="6286771" y="4090244"/>
              <a:ext cx="50373" cy="107942"/>
            </a:xfrm>
            <a:custGeom>
              <a:avLst/>
              <a:gdLst>
                <a:gd name="T0" fmla="*/ 12 w 35"/>
                <a:gd name="T1" fmla="*/ 0 h 75"/>
                <a:gd name="T2" fmla="*/ 2 w 35"/>
                <a:gd name="T3" fmla="*/ 23 h 75"/>
                <a:gd name="T4" fmla="*/ 0 w 35"/>
                <a:gd name="T5" fmla="*/ 50 h 75"/>
                <a:gd name="T6" fmla="*/ 10 w 35"/>
                <a:gd name="T7" fmla="*/ 75 h 75"/>
                <a:gd name="T8" fmla="*/ 35 w 35"/>
                <a:gd name="T9" fmla="*/ 70 h 75"/>
                <a:gd name="T10" fmla="*/ 35 w 35"/>
                <a:gd name="T11" fmla="*/ 25 h 75"/>
                <a:gd name="T12" fmla="*/ 27 w 35"/>
                <a:gd name="T13" fmla="*/ 15 h 75"/>
                <a:gd name="T14" fmla="*/ 12 w 35"/>
                <a:gd name="T15" fmla="*/ 0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5" h="75">
                  <a:moveTo>
                    <a:pt x="12" y="0"/>
                  </a:moveTo>
                  <a:lnTo>
                    <a:pt x="2" y="23"/>
                  </a:lnTo>
                  <a:lnTo>
                    <a:pt x="0" y="50"/>
                  </a:lnTo>
                  <a:lnTo>
                    <a:pt x="10" y="75"/>
                  </a:lnTo>
                  <a:lnTo>
                    <a:pt x="35" y="70"/>
                  </a:lnTo>
                  <a:lnTo>
                    <a:pt x="35" y="25"/>
                  </a:lnTo>
                  <a:lnTo>
                    <a:pt x="27" y="15"/>
                  </a:lnTo>
                  <a:lnTo>
                    <a:pt x="1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2" name="Freeform 239"/>
            <p:cNvSpPr>
              <a:spLocks/>
            </p:cNvSpPr>
            <p:nvPr/>
          </p:nvSpPr>
          <p:spPr bwMode="auto">
            <a:xfrm>
              <a:off x="4125040" y="3943442"/>
              <a:ext cx="201493" cy="146802"/>
            </a:xfrm>
            <a:custGeom>
              <a:avLst/>
              <a:gdLst>
                <a:gd name="T0" fmla="*/ 140 w 140"/>
                <a:gd name="T1" fmla="*/ 50 h 102"/>
                <a:gd name="T2" fmla="*/ 135 w 140"/>
                <a:gd name="T3" fmla="*/ 70 h 102"/>
                <a:gd name="T4" fmla="*/ 115 w 140"/>
                <a:gd name="T5" fmla="*/ 75 h 102"/>
                <a:gd name="T6" fmla="*/ 102 w 140"/>
                <a:gd name="T7" fmla="*/ 95 h 102"/>
                <a:gd name="T8" fmla="*/ 92 w 140"/>
                <a:gd name="T9" fmla="*/ 95 h 102"/>
                <a:gd name="T10" fmla="*/ 77 w 140"/>
                <a:gd name="T11" fmla="*/ 92 h 102"/>
                <a:gd name="T12" fmla="*/ 65 w 140"/>
                <a:gd name="T13" fmla="*/ 85 h 102"/>
                <a:gd name="T14" fmla="*/ 55 w 140"/>
                <a:gd name="T15" fmla="*/ 85 h 102"/>
                <a:gd name="T16" fmla="*/ 45 w 140"/>
                <a:gd name="T17" fmla="*/ 102 h 102"/>
                <a:gd name="T18" fmla="*/ 10 w 140"/>
                <a:gd name="T19" fmla="*/ 100 h 102"/>
                <a:gd name="T20" fmla="*/ 0 w 140"/>
                <a:gd name="T21" fmla="*/ 92 h 102"/>
                <a:gd name="T22" fmla="*/ 5 w 140"/>
                <a:gd name="T23" fmla="*/ 67 h 102"/>
                <a:gd name="T24" fmla="*/ 18 w 140"/>
                <a:gd name="T25" fmla="*/ 50 h 102"/>
                <a:gd name="T26" fmla="*/ 25 w 140"/>
                <a:gd name="T27" fmla="*/ 38 h 102"/>
                <a:gd name="T28" fmla="*/ 30 w 140"/>
                <a:gd name="T29" fmla="*/ 28 h 102"/>
                <a:gd name="T30" fmla="*/ 53 w 140"/>
                <a:gd name="T31" fmla="*/ 20 h 102"/>
                <a:gd name="T32" fmla="*/ 63 w 140"/>
                <a:gd name="T33" fmla="*/ 10 h 102"/>
                <a:gd name="T34" fmla="*/ 70 w 140"/>
                <a:gd name="T35" fmla="*/ 0 h 102"/>
                <a:gd name="T36" fmla="*/ 100 w 140"/>
                <a:gd name="T37" fmla="*/ 0 h 102"/>
                <a:gd name="T38" fmla="*/ 107 w 140"/>
                <a:gd name="T39" fmla="*/ 10 h 102"/>
                <a:gd name="T40" fmla="*/ 117 w 140"/>
                <a:gd name="T41" fmla="*/ 18 h 102"/>
                <a:gd name="T42" fmla="*/ 117 w 140"/>
                <a:gd name="T43" fmla="*/ 35 h 102"/>
                <a:gd name="T44" fmla="*/ 130 w 140"/>
                <a:gd name="T45" fmla="*/ 38 h 102"/>
                <a:gd name="T46" fmla="*/ 140 w 140"/>
                <a:gd name="T47" fmla="*/ 5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40" h="102">
                  <a:moveTo>
                    <a:pt x="140" y="50"/>
                  </a:moveTo>
                  <a:lnTo>
                    <a:pt x="135" y="70"/>
                  </a:lnTo>
                  <a:lnTo>
                    <a:pt x="115" y="75"/>
                  </a:lnTo>
                  <a:lnTo>
                    <a:pt x="102" y="95"/>
                  </a:lnTo>
                  <a:lnTo>
                    <a:pt x="92" y="95"/>
                  </a:lnTo>
                  <a:lnTo>
                    <a:pt x="77" y="92"/>
                  </a:lnTo>
                  <a:lnTo>
                    <a:pt x="65" y="85"/>
                  </a:lnTo>
                  <a:lnTo>
                    <a:pt x="55" y="85"/>
                  </a:lnTo>
                  <a:lnTo>
                    <a:pt x="45" y="102"/>
                  </a:lnTo>
                  <a:lnTo>
                    <a:pt x="10" y="100"/>
                  </a:lnTo>
                  <a:lnTo>
                    <a:pt x="0" y="92"/>
                  </a:lnTo>
                  <a:lnTo>
                    <a:pt x="5" y="67"/>
                  </a:lnTo>
                  <a:lnTo>
                    <a:pt x="18" y="50"/>
                  </a:lnTo>
                  <a:lnTo>
                    <a:pt x="25" y="38"/>
                  </a:lnTo>
                  <a:lnTo>
                    <a:pt x="30" y="28"/>
                  </a:lnTo>
                  <a:lnTo>
                    <a:pt x="53" y="20"/>
                  </a:lnTo>
                  <a:lnTo>
                    <a:pt x="63" y="10"/>
                  </a:lnTo>
                  <a:lnTo>
                    <a:pt x="70" y="0"/>
                  </a:lnTo>
                  <a:lnTo>
                    <a:pt x="100" y="0"/>
                  </a:lnTo>
                  <a:lnTo>
                    <a:pt x="107" y="10"/>
                  </a:lnTo>
                  <a:lnTo>
                    <a:pt x="117" y="18"/>
                  </a:lnTo>
                  <a:lnTo>
                    <a:pt x="117" y="35"/>
                  </a:lnTo>
                  <a:lnTo>
                    <a:pt x="130" y="38"/>
                  </a:lnTo>
                  <a:lnTo>
                    <a:pt x="14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3" name="Freeform 240"/>
            <p:cNvSpPr>
              <a:spLocks/>
            </p:cNvSpPr>
            <p:nvPr/>
          </p:nvSpPr>
          <p:spPr bwMode="auto">
            <a:xfrm>
              <a:off x="3881809" y="4008207"/>
              <a:ext cx="197176" cy="164073"/>
            </a:xfrm>
            <a:custGeom>
              <a:avLst/>
              <a:gdLst>
                <a:gd name="T0" fmla="*/ 0 w 137"/>
                <a:gd name="T1" fmla="*/ 20 h 114"/>
                <a:gd name="T2" fmla="*/ 10 w 137"/>
                <a:gd name="T3" fmla="*/ 7 h 114"/>
                <a:gd name="T4" fmla="*/ 30 w 137"/>
                <a:gd name="T5" fmla="*/ 0 h 114"/>
                <a:gd name="T6" fmla="*/ 55 w 137"/>
                <a:gd name="T7" fmla="*/ 5 h 114"/>
                <a:gd name="T8" fmla="*/ 75 w 137"/>
                <a:gd name="T9" fmla="*/ 5 h 114"/>
                <a:gd name="T10" fmla="*/ 92 w 137"/>
                <a:gd name="T11" fmla="*/ 10 h 114"/>
                <a:gd name="T12" fmla="*/ 115 w 137"/>
                <a:gd name="T13" fmla="*/ 12 h 114"/>
                <a:gd name="T14" fmla="*/ 127 w 137"/>
                <a:gd name="T15" fmla="*/ 27 h 114"/>
                <a:gd name="T16" fmla="*/ 132 w 137"/>
                <a:gd name="T17" fmla="*/ 52 h 114"/>
                <a:gd name="T18" fmla="*/ 127 w 137"/>
                <a:gd name="T19" fmla="*/ 67 h 114"/>
                <a:gd name="T20" fmla="*/ 137 w 137"/>
                <a:gd name="T21" fmla="*/ 77 h 114"/>
                <a:gd name="T22" fmla="*/ 120 w 137"/>
                <a:gd name="T23" fmla="*/ 89 h 114"/>
                <a:gd name="T24" fmla="*/ 115 w 137"/>
                <a:gd name="T25" fmla="*/ 114 h 114"/>
                <a:gd name="T26" fmla="*/ 100 w 137"/>
                <a:gd name="T27" fmla="*/ 109 h 114"/>
                <a:gd name="T28" fmla="*/ 90 w 137"/>
                <a:gd name="T29" fmla="*/ 87 h 114"/>
                <a:gd name="T30" fmla="*/ 85 w 137"/>
                <a:gd name="T31" fmla="*/ 67 h 114"/>
                <a:gd name="T32" fmla="*/ 65 w 137"/>
                <a:gd name="T33" fmla="*/ 57 h 114"/>
                <a:gd name="T34" fmla="*/ 50 w 137"/>
                <a:gd name="T35" fmla="*/ 65 h 114"/>
                <a:gd name="T36" fmla="*/ 30 w 137"/>
                <a:gd name="T37" fmla="*/ 70 h 114"/>
                <a:gd name="T38" fmla="*/ 8 w 137"/>
                <a:gd name="T39" fmla="*/ 47 h 114"/>
                <a:gd name="T40" fmla="*/ 0 w 137"/>
                <a:gd name="T41" fmla="*/ 2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7" h="114">
                  <a:moveTo>
                    <a:pt x="0" y="20"/>
                  </a:moveTo>
                  <a:lnTo>
                    <a:pt x="10" y="7"/>
                  </a:lnTo>
                  <a:lnTo>
                    <a:pt x="30" y="0"/>
                  </a:lnTo>
                  <a:lnTo>
                    <a:pt x="55" y="5"/>
                  </a:lnTo>
                  <a:lnTo>
                    <a:pt x="75" y="5"/>
                  </a:lnTo>
                  <a:lnTo>
                    <a:pt x="92" y="10"/>
                  </a:lnTo>
                  <a:lnTo>
                    <a:pt x="115" y="12"/>
                  </a:lnTo>
                  <a:lnTo>
                    <a:pt x="127" y="27"/>
                  </a:lnTo>
                  <a:lnTo>
                    <a:pt x="132" y="52"/>
                  </a:lnTo>
                  <a:lnTo>
                    <a:pt x="127" y="67"/>
                  </a:lnTo>
                  <a:lnTo>
                    <a:pt x="137" y="77"/>
                  </a:lnTo>
                  <a:lnTo>
                    <a:pt x="120" y="89"/>
                  </a:lnTo>
                  <a:lnTo>
                    <a:pt x="115" y="114"/>
                  </a:lnTo>
                  <a:lnTo>
                    <a:pt x="100" y="109"/>
                  </a:lnTo>
                  <a:lnTo>
                    <a:pt x="90" y="87"/>
                  </a:lnTo>
                  <a:lnTo>
                    <a:pt x="85" y="67"/>
                  </a:lnTo>
                  <a:lnTo>
                    <a:pt x="65" y="57"/>
                  </a:lnTo>
                  <a:lnTo>
                    <a:pt x="50" y="65"/>
                  </a:lnTo>
                  <a:lnTo>
                    <a:pt x="30" y="70"/>
                  </a:lnTo>
                  <a:lnTo>
                    <a:pt x="8" y="47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4" name="Freeform 241"/>
            <p:cNvSpPr>
              <a:spLocks/>
            </p:cNvSpPr>
            <p:nvPr/>
          </p:nvSpPr>
          <p:spPr bwMode="auto">
            <a:xfrm>
              <a:off x="4189805" y="4065776"/>
              <a:ext cx="93551" cy="164073"/>
            </a:xfrm>
            <a:custGeom>
              <a:avLst/>
              <a:gdLst>
                <a:gd name="T0" fmla="*/ 3 w 65"/>
                <a:gd name="T1" fmla="*/ 112 h 114"/>
                <a:gd name="T2" fmla="*/ 0 w 65"/>
                <a:gd name="T3" fmla="*/ 82 h 114"/>
                <a:gd name="T4" fmla="*/ 3 w 65"/>
                <a:gd name="T5" fmla="*/ 54 h 114"/>
                <a:gd name="T6" fmla="*/ 13 w 65"/>
                <a:gd name="T7" fmla="*/ 52 h 114"/>
                <a:gd name="T8" fmla="*/ 15 w 65"/>
                <a:gd name="T9" fmla="*/ 40 h 114"/>
                <a:gd name="T10" fmla="*/ 3 w 65"/>
                <a:gd name="T11" fmla="*/ 35 h 114"/>
                <a:gd name="T12" fmla="*/ 0 w 65"/>
                <a:gd name="T13" fmla="*/ 17 h 114"/>
                <a:gd name="T14" fmla="*/ 10 w 65"/>
                <a:gd name="T15" fmla="*/ 0 h 114"/>
                <a:gd name="T16" fmla="*/ 20 w 65"/>
                <a:gd name="T17" fmla="*/ 0 h 114"/>
                <a:gd name="T18" fmla="*/ 32 w 65"/>
                <a:gd name="T19" fmla="*/ 7 h 114"/>
                <a:gd name="T20" fmla="*/ 47 w 65"/>
                <a:gd name="T21" fmla="*/ 10 h 114"/>
                <a:gd name="T22" fmla="*/ 50 w 65"/>
                <a:gd name="T23" fmla="*/ 27 h 114"/>
                <a:gd name="T24" fmla="*/ 57 w 65"/>
                <a:gd name="T25" fmla="*/ 32 h 114"/>
                <a:gd name="T26" fmla="*/ 57 w 65"/>
                <a:gd name="T27" fmla="*/ 47 h 114"/>
                <a:gd name="T28" fmla="*/ 60 w 65"/>
                <a:gd name="T29" fmla="*/ 72 h 114"/>
                <a:gd name="T30" fmla="*/ 65 w 65"/>
                <a:gd name="T31" fmla="*/ 94 h 114"/>
                <a:gd name="T32" fmla="*/ 57 w 65"/>
                <a:gd name="T33" fmla="*/ 104 h 114"/>
                <a:gd name="T34" fmla="*/ 42 w 65"/>
                <a:gd name="T35" fmla="*/ 104 h 114"/>
                <a:gd name="T36" fmla="*/ 35 w 65"/>
                <a:gd name="T37" fmla="*/ 114 h 114"/>
                <a:gd name="T38" fmla="*/ 22 w 65"/>
                <a:gd name="T39" fmla="*/ 114 h 114"/>
                <a:gd name="T40" fmla="*/ 3 w 65"/>
                <a:gd name="T41" fmla="*/ 112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5" h="114">
                  <a:moveTo>
                    <a:pt x="3" y="112"/>
                  </a:moveTo>
                  <a:lnTo>
                    <a:pt x="0" y="82"/>
                  </a:lnTo>
                  <a:lnTo>
                    <a:pt x="3" y="54"/>
                  </a:lnTo>
                  <a:lnTo>
                    <a:pt x="13" y="52"/>
                  </a:lnTo>
                  <a:lnTo>
                    <a:pt x="15" y="40"/>
                  </a:lnTo>
                  <a:lnTo>
                    <a:pt x="3" y="35"/>
                  </a:lnTo>
                  <a:lnTo>
                    <a:pt x="0" y="17"/>
                  </a:lnTo>
                  <a:lnTo>
                    <a:pt x="10" y="0"/>
                  </a:lnTo>
                  <a:lnTo>
                    <a:pt x="20" y="0"/>
                  </a:lnTo>
                  <a:lnTo>
                    <a:pt x="32" y="7"/>
                  </a:lnTo>
                  <a:lnTo>
                    <a:pt x="47" y="10"/>
                  </a:lnTo>
                  <a:lnTo>
                    <a:pt x="50" y="27"/>
                  </a:lnTo>
                  <a:lnTo>
                    <a:pt x="57" y="32"/>
                  </a:lnTo>
                  <a:lnTo>
                    <a:pt x="57" y="47"/>
                  </a:lnTo>
                  <a:lnTo>
                    <a:pt x="60" y="72"/>
                  </a:lnTo>
                  <a:lnTo>
                    <a:pt x="65" y="94"/>
                  </a:lnTo>
                  <a:lnTo>
                    <a:pt x="57" y="104"/>
                  </a:lnTo>
                  <a:lnTo>
                    <a:pt x="42" y="104"/>
                  </a:lnTo>
                  <a:lnTo>
                    <a:pt x="35" y="114"/>
                  </a:lnTo>
                  <a:lnTo>
                    <a:pt x="22" y="114"/>
                  </a:lnTo>
                  <a:lnTo>
                    <a:pt x="3" y="11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5" name="Freeform 242"/>
            <p:cNvSpPr>
              <a:spLocks/>
            </p:cNvSpPr>
            <p:nvPr/>
          </p:nvSpPr>
          <p:spPr bwMode="auto">
            <a:xfrm>
              <a:off x="5008730" y="4444296"/>
              <a:ext cx="43177" cy="47494"/>
            </a:xfrm>
            <a:custGeom>
              <a:avLst/>
              <a:gdLst>
                <a:gd name="T0" fmla="*/ 15 w 30"/>
                <a:gd name="T1" fmla="*/ 30 h 33"/>
                <a:gd name="T2" fmla="*/ 30 w 30"/>
                <a:gd name="T3" fmla="*/ 30 h 33"/>
                <a:gd name="T4" fmla="*/ 28 w 30"/>
                <a:gd name="T5" fmla="*/ 8 h 33"/>
                <a:gd name="T6" fmla="*/ 23 w 30"/>
                <a:gd name="T7" fmla="*/ 0 h 33"/>
                <a:gd name="T8" fmla="*/ 18 w 30"/>
                <a:gd name="T9" fmla="*/ 8 h 33"/>
                <a:gd name="T10" fmla="*/ 3 w 30"/>
                <a:gd name="T11" fmla="*/ 8 h 33"/>
                <a:gd name="T12" fmla="*/ 0 w 30"/>
                <a:gd name="T13" fmla="*/ 28 h 33"/>
                <a:gd name="T14" fmla="*/ 5 w 30"/>
                <a:gd name="T15" fmla="*/ 33 h 33"/>
                <a:gd name="T16" fmla="*/ 15 w 30"/>
                <a:gd name="T17" fmla="*/ 3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0" h="33">
                  <a:moveTo>
                    <a:pt x="15" y="30"/>
                  </a:moveTo>
                  <a:lnTo>
                    <a:pt x="30" y="30"/>
                  </a:lnTo>
                  <a:lnTo>
                    <a:pt x="28" y="8"/>
                  </a:lnTo>
                  <a:lnTo>
                    <a:pt x="23" y="0"/>
                  </a:lnTo>
                  <a:lnTo>
                    <a:pt x="18" y="8"/>
                  </a:lnTo>
                  <a:lnTo>
                    <a:pt x="3" y="8"/>
                  </a:lnTo>
                  <a:lnTo>
                    <a:pt x="0" y="28"/>
                  </a:lnTo>
                  <a:lnTo>
                    <a:pt x="5" y="33"/>
                  </a:lnTo>
                  <a:lnTo>
                    <a:pt x="15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6" name="Freeform 243"/>
            <p:cNvSpPr>
              <a:spLocks/>
            </p:cNvSpPr>
            <p:nvPr/>
          </p:nvSpPr>
          <p:spPr bwMode="auto">
            <a:xfrm>
              <a:off x="4676266" y="5027186"/>
              <a:ext cx="418818" cy="390033"/>
            </a:xfrm>
            <a:custGeom>
              <a:avLst/>
              <a:gdLst>
                <a:gd name="T0" fmla="*/ 266 w 291"/>
                <a:gd name="T1" fmla="*/ 13 h 271"/>
                <a:gd name="T2" fmla="*/ 246 w 291"/>
                <a:gd name="T3" fmla="*/ 13 h 271"/>
                <a:gd name="T4" fmla="*/ 241 w 291"/>
                <a:gd name="T5" fmla="*/ 5 h 271"/>
                <a:gd name="T6" fmla="*/ 229 w 291"/>
                <a:gd name="T7" fmla="*/ 0 h 271"/>
                <a:gd name="T8" fmla="*/ 226 w 291"/>
                <a:gd name="T9" fmla="*/ 10 h 271"/>
                <a:gd name="T10" fmla="*/ 214 w 291"/>
                <a:gd name="T11" fmla="*/ 20 h 271"/>
                <a:gd name="T12" fmla="*/ 204 w 291"/>
                <a:gd name="T13" fmla="*/ 30 h 271"/>
                <a:gd name="T14" fmla="*/ 192 w 291"/>
                <a:gd name="T15" fmla="*/ 38 h 271"/>
                <a:gd name="T16" fmla="*/ 187 w 291"/>
                <a:gd name="T17" fmla="*/ 55 h 271"/>
                <a:gd name="T18" fmla="*/ 174 w 291"/>
                <a:gd name="T19" fmla="*/ 58 h 271"/>
                <a:gd name="T20" fmla="*/ 167 w 291"/>
                <a:gd name="T21" fmla="*/ 68 h 271"/>
                <a:gd name="T22" fmla="*/ 157 w 291"/>
                <a:gd name="T23" fmla="*/ 80 h 271"/>
                <a:gd name="T24" fmla="*/ 139 w 291"/>
                <a:gd name="T25" fmla="*/ 80 h 271"/>
                <a:gd name="T26" fmla="*/ 127 w 291"/>
                <a:gd name="T27" fmla="*/ 73 h 271"/>
                <a:gd name="T28" fmla="*/ 117 w 291"/>
                <a:gd name="T29" fmla="*/ 73 h 271"/>
                <a:gd name="T30" fmla="*/ 112 w 291"/>
                <a:gd name="T31" fmla="*/ 82 h 271"/>
                <a:gd name="T32" fmla="*/ 107 w 291"/>
                <a:gd name="T33" fmla="*/ 92 h 271"/>
                <a:gd name="T34" fmla="*/ 97 w 291"/>
                <a:gd name="T35" fmla="*/ 100 h 271"/>
                <a:gd name="T36" fmla="*/ 75 w 291"/>
                <a:gd name="T37" fmla="*/ 95 h 271"/>
                <a:gd name="T38" fmla="*/ 70 w 291"/>
                <a:gd name="T39" fmla="*/ 75 h 271"/>
                <a:gd name="T40" fmla="*/ 62 w 291"/>
                <a:gd name="T41" fmla="*/ 68 h 271"/>
                <a:gd name="T42" fmla="*/ 57 w 291"/>
                <a:gd name="T43" fmla="*/ 137 h 271"/>
                <a:gd name="T44" fmla="*/ 47 w 291"/>
                <a:gd name="T45" fmla="*/ 147 h 271"/>
                <a:gd name="T46" fmla="*/ 25 w 291"/>
                <a:gd name="T47" fmla="*/ 145 h 271"/>
                <a:gd name="T48" fmla="*/ 15 w 291"/>
                <a:gd name="T49" fmla="*/ 130 h 271"/>
                <a:gd name="T50" fmla="*/ 13 w 291"/>
                <a:gd name="T51" fmla="*/ 137 h 271"/>
                <a:gd name="T52" fmla="*/ 0 w 291"/>
                <a:gd name="T53" fmla="*/ 137 h 271"/>
                <a:gd name="T54" fmla="*/ 3 w 291"/>
                <a:gd name="T55" fmla="*/ 145 h 271"/>
                <a:gd name="T56" fmla="*/ 3 w 291"/>
                <a:gd name="T57" fmla="*/ 164 h 271"/>
                <a:gd name="T58" fmla="*/ 15 w 291"/>
                <a:gd name="T59" fmla="*/ 169 h 271"/>
                <a:gd name="T60" fmla="*/ 15 w 291"/>
                <a:gd name="T61" fmla="*/ 194 h 271"/>
                <a:gd name="T62" fmla="*/ 25 w 291"/>
                <a:gd name="T63" fmla="*/ 197 h 271"/>
                <a:gd name="T64" fmla="*/ 25 w 291"/>
                <a:gd name="T65" fmla="*/ 204 h 271"/>
                <a:gd name="T66" fmla="*/ 33 w 291"/>
                <a:gd name="T67" fmla="*/ 204 h 271"/>
                <a:gd name="T68" fmla="*/ 30 w 291"/>
                <a:gd name="T69" fmla="*/ 219 h 271"/>
                <a:gd name="T70" fmla="*/ 20 w 291"/>
                <a:gd name="T71" fmla="*/ 227 h 271"/>
                <a:gd name="T72" fmla="*/ 52 w 291"/>
                <a:gd name="T73" fmla="*/ 269 h 271"/>
                <a:gd name="T74" fmla="*/ 75 w 291"/>
                <a:gd name="T75" fmla="*/ 271 h 271"/>
                <a:gd name="T76" fmla="*/ 85 w 291"/>
                <a:gd name="T77" fmla="*/ 264 h 271"/>
                <a:gd name="T78" fmla="*/ 95 w 291"/>
                <a:gd name="T79" fmla="*/ 249 h 271"/>
                <a:gd name="T80" fmla="*/ 132 w 291"/>
                <a:gd name="T81" fmla="*/ 251 h 271"/>
                <a:gd name="T82" fmla="*/ 137 w 291"/>
                <a:gd name="T83" fmla="*/ 256 h 271"/>
                <a:gd name="T84" fmla="*/ 157 w 291"/>
                <a:gd name="T85" fmla="*/ 249 h 271"/>
                <a:gd name="T86" fmla="*/ 164 w 291"/>
                <a:gd name="T87" fmla="*/ 242 h 271"/>
                <a:gd name="T88" fmla="*/ 192 w 291"/>
                <a:gd name="T89" fmla="*/ 239 h 271"/>
                <a:gd name="T90" fmla="*/ 204 w 291"/>
                <a:gd name="T91" fmla="*/ 229 h 271"/>
                <a:gd name="T92" fmla="*/ 219 w 291"/>
                <a:gd name="T93" fmla="*/ 207 h 271"/>
                <a:gd name="T94" fmla="*/ 234 w 291"/>
                <a:gd name="T95" fmla="*/ 194 h 271"/>
                <a:gd name="T96" fmla="*/ 256 w 291"/>
                <a:gd name="T97" fmla="*/ 174 h 271"/>
                <a:gd name="T98" fmla="*/ 261 w 291"/>
                <a:gd name="T99" fmla="*/ 155 h 271"/>
                <a:gd name="T100" fmla="*/ 266 w 291"/>
                <a:gd name="T101" fmla="*/ 137 h 271"/>
                <a:gd name="T102" fmla="*/ 279 w 291"/>
                <a:gd name="T103" fmla="*/ 135 h 271"/>
                <a:gd name="T104" fmla="*/ 291 w 291"/>
                <a:gd name="T105" fmla="*/ 115 h 271"/>
                <a:gd name="T106" fmla="*/ 276 w 291"/>
                <a:gd name="T107" fmla="*/ 110 h 271"/>
                <a:gd name="T108" fmla="*/ 271 w 291"/>
                <a:gd name="T109" fmla="*/ 95 h 271"/>
                <a:gd name="T110" fmla="*/ 266 w 291"/>
                <a:gd name="T111" fmla="*/ 82 h 271"/>
                <a:gd name="T112" fmla="*/ 266 w 291"/>
                <a:gd name="T113" fmla="*/ 65 h 271"/>
                <a:gd name="T114" fmla="*/ 266 w 291"/>
                <a:gd name="T115" fmla="*/ 43 h 271"/>
                <a:gd name="T116" fmla="*/ 266 w 291"/>
                <a:gd name="T117" fmla="*/ 13 h 2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91" h="271">
                  <a:moveTo>
                    <a:pt x="266" y="13"/>
                  </a:moveTo>
                  <a:lnTo>
                    <a:pt x="246" y="13"/>
                  </a:lnTo>
                  <a:lnTo>
                    <a:pt x="241" y="5"/>
                  </a:lnTo>
                  <a:lnTo>
                    <a:pt x="229" y="0"/>
                  </a:lnTo>
                  <a:lnTo>
                    <a:pt x="226" y="10"/>
                  </a:lnTo>
                  <a:lnTo>
                    <a:pt x="214" y="20"/>
                  </a:lnTo>
                  <a:lnTo>
                    <a:pt x="204" y="30"/>
                  </a:lnTo>
                  <a:lnTo>
                    <a:pt x="192" y="38"/>
                  </a:lnTo>
                  <a:lnTo>
                    <a:pt x="187" y="55"/>
                  </a:lnTo>
                  <a:lnTo>
                    <a:pt x="174" y="58"/>
                  </a:lnTo>
                  <a:lnTo>
                    <a:pt x="167" y="68"/>
                  </a:lnTo>
                  <a:lnTo>
                    <a:pt x="157" y="80"/>
                  </a:lnTo>
                  <a:lnTo>
                    <a:pt x="139" y="80"/>
                  </a:lnTo>
                  <a:lnTo>
                    <a:pt x="127" y="73"/>
                  </a:lnTo>
                  <a:lnTo>
                    <a:pt x="117" y="73"/>
                  </a:lnTo>
                  <a:lnTo>
                    <a:pt x="112" y="82"/>
                  </a:lnTo>
                  <a:lnTo>
                    <a:pt x="107" y="92"/>
                  </a:lnTo>
                  <a:lnTo>
                    <a:pt x="97" y="100"/>
                  </a:lnTo>
                  <a:lnTo>
                    <a:pt x="75" y="95"/>
                  </a:lnTo>
                  <a:lnTo>
                    <a:pt x="70" y="75"/>
                  </a:lnTo>
                  <a:lnTo>
                    <a:pt x="62" y="68"/>
                  </a:lnTo>
                  <a:lnTo>
                    <a:pt x="57" y="137"/>
                  </a:lnTo>
                  <a:lnTo>
                    <a:pt x="47" y="147"/>
                  </a:lnTo>
                  <a:lnTo>
                    <a:pt x="25" y="145"/>
                  </a:lnTo>
                  <a:lnTo>
                    <a:pt x="15" y="130"/>
                  </a:lnTo>
                  <a:lnTo>
                    <a:pt x="13" y="137"/>
                  </a:lnTo>
                  <a:lnTo>
                    <a:pt x="0" y="137"/>
                  </a:lnTo>
                  <a:lnTo>
                    <a:pt x="3" y="145"/>
                  </a:lnTo>
                  <a:lnTo>
                    <a:pt x="3" y="164"/>
                  </a:lnTo>
                  <a:lnTo>
                    <a:pt x="15" y="169"/>
                  </a:lnTo>
                  <a:lnTo>
                    <a:pt x="15" y="194"/>
                  </a:lnTo>
                  <a:lnTo>
                    <a:pt x="25" y="197"/>
                  </a:lnTo>
                  <a:lnTo>
                    <a:pt x="25" y="204"/>
                  </a:lnTo>
                  <a:lnTo>
                    <a:pt x="33" y="204"/>
                  </a:lnTo>
                  <a:lnTo>
                    <a:pt x="30" y="219"/>
                  </a:lnTo>
                  <a:lnTo>
                    <a:pt x="20" y="227"/>
                  </a:lnTo>
                  <a:lnTo>
                    <a:pt x="52" y="269"/>
                  </a:lnTo>
                  <a:lnTo>
                    <a:pt x="75" y="271"/>
                  </a:lnTo>
                  <a:lnTo>
                    <a:pt x="85" y="264"/>
                  </a:lnTo>
                  <a:lnTo>
                    <a:pt x="95" y="249"/>
                  </a:lnTo>
                  <a:lnTo>
                    <a:pt x="132" y="251"/>
                  </a:lnTo>
                  <a:lnTo>
                    <a:pt x="137" y="256"/>
                  </a:lnTo>
                  <a:lnTo>
                    <a:pt x="157" y="249"/>
                  </a:lnTo>
                  <a:lnTo>
                    <a:pt x="164" y="242"/>
                  </a:lnTo>
                  <a:lnTo>
                    <a:pt x="192" y="239"/>
                  </a:lnTo>
                  <a:lnTo>
                    <a:pt x="204" y="229"/>
                  </a:lnTo>
                  <a:lnTo>
                    <a:pt x="219" y="207"/>
                  </a:lnTo>
                  <a:lnTo>
                    <a:pt x="234" y="194"/>
                  </a:lnTo>
                  <a:lnTo>
                    <a:pt x="256" y="174"/>
                  </a:lnTo>
                  <a:lnTo>
                    <a:pt x="261" y="155"/>
                  </a:lnTo>
                  <a:lnTo>
                    <a:pt x="266" y="137"/>
                  </a:lnTo>
                  <a:lnTo>
                    <a:pt x="279" y="135"/>
                  </a:lnTo>
                  <a:lnTo>
                    <a:pt x="291" y="115"/>
                  </a:lnTo>
                  <a:lnTo>
                    <a:pt x="276" y="110"/>
                  </a:lnTo>
                  <a:lnTo>
                    <a:pt x="271" y="95"/>
                  </a:lnTo>
                  <a:lnTo>
                    <a:pt x="266" y="82"/>
                  </a:lnTo>
                  <a:lnTo>
                    <a:pt x="266" y="65"/>
                  </a:lnTo>
                  <a:lnTo>
                    <a:pt x="266" y="43"/>
                  </a:lnTo>
                  <a:lnTo>
                    <a:pt x="266" y="1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7" name="Freeform 244"/>
            <p:cNvSpPr>
              <a:spLocks/>
            </p:cNvSpPr>
            <p:nvPr/>
          </p:nvSpPr>
          <p:spPr bwMode="auto">
            <a:xfrm>
              <a:off x="5030318" y="4680330"/>
              <a:ext cx="264819" cy="512368"/>
            </a:xfrm>
            <a:custGeom>
              <a:avLst/>
              <a:gdLst>
                <a:gd name="T0" fmla="*/ 30 w 184"/>
                <a:gd name="T1" fmla="*/ 351 h 356"/>
                <a:gd name="T2" fmla="*/ 20 w 184"/>
                <a:gd name="T3" fmla="*/ 323 h 356"/>
                <a:gd name="T4" fmla="*/ 20 w 184"/>
                <a:gd name="T5" fmla="*/ 284 h 356"/>
                <a:gd name="T6" fmla="*/ 23 w 184"/>
                <a:gd name="T7" fmla="*/ 239 h 356"/>
                <a:gd name="T8" fmla="*/ 33 w 184"/>
                <a:gd name="T9" fmla="*/ 209 h 356"/>
                <a:gd name="T10" fmla="*/ 50 w 184"/>
                <a:gd name="T11" fmla="*/ 192 h 356"/>
                <a:gd name="T12" fmla="*/ 43 w 184"/>
                <a:gd name="T13" fmla="*/ 162 h 356"/>
                <a:gd name="T14" fmla="*/ 40 w 184"/>
                <a:gd name="T15" fmla="*/ 120 h 356"/>
                <a:gd name="T16" fmla="*/ 8 w 184"/>
                <a:gd name="T17" fmla="*/ 102 h 356"/>
                <a:gd name="T18" fmla="*/ 28 w 184"/>
                <a:gd name="T19" fmla="*/ 95 h 356"/>
                <a:gd name="T20" fmla="*/ 48 w 184"/>
                <a:gd name="T21" fmla="*/ 75 h 356"/>
                <a:gd name="T22" fmla="*/ 75 w 184"/>
                <a:gd name="T23" fmla="*/ 85 h 356"/>
                <a:gd name="T24" fmla="*/ 67 w 184"/>
                <a:gd name="T25" fmla="*/ 117 h 356"/>
                <a:gd name="T26" fmla="*/ 87 w 184"/>
                <a:gd name="T27" fmla="*/ 122 h 356"/>
                <a:gd name="T28" fmla="*/ 105 w 184"/>
                <a:gd name="T29" fmla="*/ 102 h 356"/>
                <a:gd name="T30" fmla="*/ 97 w 184"/>
                <a:gd name="T31" fmla="*/ 72 h 356"/>
                <a:gd name="T32" fmla="*/ 85 w 184"/>
                <a:gd name="T33" fmla="*/ 57 h 356"/>
                <a:gd name="T34" fmla="*/ 80 w 184"/>
                <a:gd name="T35" fmla="*/ 35 h 356"/>
                <a:gd name="T36" fmla="*/ 80 w 184"/>
                <a:gd name="T37" fmla="*/ 0 h 356"/>
                <a:gd name="T38" fmla="*/ 97 w 184"/>
                <a:gd name="T39" fmla="*/ 23 h 356"/>
                <a:gd name="T40" fmla="*/ 137 w 184"/>
                <a:gd name="T41" fmla="*/ 15 h 356"/>
                <a:gd name="T42" fmla="*/ 162 w 184"/>
                <a:gd name="T43" fmla="*/ 8 h 356"/>
                <a:gd name="T44" fmla="*/ 184 w 184"/>
                <a:gd name="T45" fmla="*/ 38 h 356"/>
                <a:gd name="T46" fmla="*/ 172 w 184"/>
                <a:gd name="T47" fmla="*/ 117 h 356"/>
                <a:gd name="T48" fmla="*/ 140 w 184"/>
                <a:gd name="T49" fmla="*/ 132 h 356"/>
                <a:gd name="T50" fmla="*/ 125 w 184"/>
                <a:gd name="T51" fmla="*/ 144 h 356"/>
                <a:gd name="T52" fmla="*/ 115 w 184"/>
                <a:gd name="T53" fmla="*/ 174 h 356"/>
                <a:gd name="T54" fmla="*/ 90 w 184"/>
                <a:gd name="T55" fmla="*/ 184 h 356"/>
                <a:gd name="T56" fmla="*/ 85 w 184"/>
                <a:gd name="T57" fmla="*/ 234 h 356"/>
                <a:gd name="T58" fmla="*/ 87 w 184"/>
                <a:gd name="T59" fmla="*/ 271 h 356"/>
                <a:gd name="T60" fmla="*/ 85 w 184"/>
                <a:gd name="T61" fmla="*/ 291 h 356"/>
                <a:gd name="T62" fmla="*/ 67 w 184"/>
                <a:gd name="T63" fmla="*/ 299 h 356"/>
                <a:gd name="T64" fmla="*/ 48 w 184"/>
                <a:gd name="T65" fmla="*/ 306 h 356"/>
                <a:gd name="T66" fmla="*/ 48 w 184"/>
                <a:gd name="T67" fmla="*/ 333 h 356"/>
                <a:gd name="T68" fmla="*/ 45 w 184"/>
                <a:gd name="T69" fmla="*/ 356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84" h="356">
                  <a:moveTo>
                    <a:pt x="45" y="356"/>
                  </a:moveTo>
                  <a:lnTo>
                    <a:pt x="30" y="351"/>
                  </a:lnTo>
                  <a:lnTo>
                    <a:pt x="25" y="336"/>
                  </a:lnTo>
                  <a:lnTo>
                    <a:pt x="20" y="323"/>
                  </a:lnTo>
                  <a:lnTo>
                    <a:pt x="20" y="306"/>
                  </a:lnTo>
                  <a:lnTo>
                    <a:pt x="20" y="284"/>
                  </a:lnTo>
                  <a:lnTo>
                    <a:pt x="20" y="254"/>
                  </a:lnTo>
                  <a:lnTo>
                    <a:pt x="23" y="239"/>
                  </a:lnTo>
                  <a:lnTo>
                    <a:pt x="33" y="234"/>
                  </a:lnTo>
                  <a:lnTo>
                    <a:pt x="33" y="209"/>
                  </a:lnTo>
                  <a:lnTo>
                    <a:pt x="45" y="202"/>
                  </a:lnTo>
                  <a:lnTo>
                    <a:pt x="50" y="192"/>
                  </a:lnTo>
                  <a:lnTo>
                    <a:pt x="45" y="177"/>
                  </a:lnTo>
                  <a:lnTo>
                    <a:pt x="43" y="162"/>
                  </a:lnTo>
                  <a:lnTo>
                    <a:pt x="50" y="140"/>
                  </a:lnTo>
                  <a:lnTo>
                    <a:pt x="40" y="120"/>
                  </a:lnTo>
                  <a:lnTo>
                    <a:pt x="15" y="117"/>
                  </a:lnTo>
                  <a:lnTo>
                    <a:pt x="8" y="102"/>
                  </a:lnTo>
                  <a:lnTo>
                    <a:pt x="0" y="100"/>
                  </a:lnTo>
                  <a:lnTo>
                    <a:pt x="28" y="95"/>
                  </a:lnTo>
                  <a:lnTo>
                    <a:pt x="33" y="82"/>
                  </a:lnTo>
                  <a:lnTo>
                    <a:pt x="48" y="75"/>
                  </a:lnTo>
                  <a:lnTo>
                    <a:pt x="60" y="82"/>
                  </a:lnTo>
                  <a:lnTo>
                    <a:pt x="75" y="85"/>
                  </a:lnTo>
                  <a:lnTo>
                    <a:pt x="72" y="100"/>
                  </a:lnTo>
                  <a:lnTo>
                    <a:pt x="67" y="117"/>
                  </a:lnTo>
                  <a:lnTo>
                    <a:pt x="75" y="125"/>
                  </a:lnTo>
                  <a:lnTo>
                    <a:pt x="87" y="122"/>
                  </a:lnTo>
                  <a:lnTo>
                    <a:pt x="92" y="110"/>
                  </a:lnTo>
                  <a:lnTo>
                    <a:pt x="105" y="102"/>
                  </a:lnTo>
                  <a:lnTo>
                    <a:pt x="102" y="85"/>
                  </a:lnTo>
                  <a:lnTo>
                    <a:pt x="97" y="72"/>
                  </a:lnTo>
                  <a:lnTo>
                    <a:pt x="90" y="62"/>
                  </a:lnTo>
                  <a:lnTo>
                    <a:pt x="85" y="57"/>
                  </a:lnTo>
                  <a:lnTo>
                    <a:pt x="77" y="48"/>
                  </a:lnTo>
                  <a:lnTo>
                    <a:pt x="80" y="35"/>
                  </a:lnTo>
                  <a:lnTo>
                    <a:pt x="82" y="18"/>
                  </a:lnTo>
                  <a:lnTo>
                    <a:pt x="80" y="0"/>
                  </a:lnTo>
                  <a:lnTo>
                    <a:pt x="95" y="13"/>
                  </a:lnTo>
                  <a:lnTo>
                    <a:pt x="97" y="23"/>
                  </a:lnTo>
                  <a:lnTo>
                    <a:pt x="135" y="28"/>
                  </a:lnTo>
                  <a:lnTo>
                    <a:pt x="137" y="15"/>
                  </a:lnTo>
                  <a:lnTo>
                    <a:pt x="159" y="15"/>
                  </a:lnTo>
                  <a:lnTo>
                    <a:pt x="162" y="8"/>
                  </a:lnTo>
                  <a:lnTo>
                    <a:pt x="184" y="3"/>
                  </a:lnTo>
                  <a:lnTo>
                    <a:pt x="184" y="38"/>
                  </a:lnTo>
                  <a:lnTo>
                    <a:pt x="184" y="105"/>
                  </a:lnTo>
                  <a:lnTo>
                    <a:pt x="172" y="117"/>
                  </a:lnTo>
                  <a:lnTo>
                    <a:pt x="169" y="127"/>
                  </a:lnTo>
                  <a:lnTo>
                    <a:pt x="140" y="132"/>
                  </a:lnTo>
                  <a:lnTo>
                    <a:pt x="137" y="142"/>
                  </a:lnTo>
                  <a:lnTo>
                    <a:pt x="125" y="144"/>
                  </a:lnTo>
                  <a:lnTo>
                    <a:pt x="120" y="152"/>
                  </a:lnTo>
                  <a:lnTo>
                    <a:pt x="115" y="174"/>
                  </a:lnTo>
                  <a:lnTo>
                    <a:pt x="100" y="177"/>
                  </a:lnTo>
                  <a:lnTo>
                    <a:pt x="90" y="184"/>
                  </a:lnTo>
                  <a:lnTo>
                    <a:pt x="85" y="194"/>
                  </a:lnTo>
                  <a:lnTo>
                    <a:pt x="85" y="234"/>
                  </a:lnTo>
                  <a:lnTo>
                    <a:pt x="87" y="236"/>
                  </a:lnTo>
                  <a:lnTo>
                    <a:pt x="87" y="271"/>
                  </a:lnTo>
                  <a:lnTo>
                    <a:pt x="90" y="289"/>
                  </a:lnTo>
                  <a:lnTo>
                    <a:pt x="85" y="291"/>
                  </a:lnTo>
                  <a:lnTo>
                    <a:pt x="82" y="299"/>
                  </a:lnTo>
                  <a:lnTo>
                    <a:pt x="67" y="299"/>
                  </a:lnTo>
                  <a:lnTo>
                    <a:pt x="65" y="304"/>
                  </a:lnTo>
                  <a:lnTo>
                    <a:pt x="48" y="306"/>
                  </a:lnTo>
                  <a:lnTo>
                    <a:pt x="48" y="321"/>
                  </a:lnTo>
                  <a:lnTo>
                    <a:pt x="48" y="333"/>
                  </a:lnTo>
                  <a:lnTo>
                    <a:pt x="48" y="346"/>
                  </a:lnTo>
                  <a:lnTo>
                    <a:pt x="45" y="356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8" name="Freeform 245"/>
            <p:cNvSpPr>
              <a:spLocks/>
            </p:cNvSpPr>
            <p:nvPr/>
          </p:nvSpPr>
          <p:spPr bwMode="auto">
            <a:xfrm>
              <a:off x="5015926" y="4408314"/>
              <a:ext cx="279212" cy="312315"/>
            </a:xfrm>
            <a:custGeom>
              <a:avLst/>
              <a:gdLst>
                <a:gd name="T0" fmla="*/ 194 w 194"/>
                <a:gd name="T1" fmla="*/ 192 h 217"/>
                <a:gd name="T2" fmla="*/ 172 w 194"/>
                <a:gd name="T3" fmla="*/ 197 h 217"/>
                <a:gd name="T4" fmla="*/ 169 w 194"/>
                <a:gd name="T5" fmla="*/ 204 h 217"/>
                <a:gd name="T6" fmla="*/ 147 w 194"/>
                <a:gd name="T7" fmla="*/ 204 h 217"/>
                <a:gd name="T8" fmla="*/ 145 w 194"/>
                <a:gd name="T9" fmla="*/ 217 h 217"/>
                <a:gd name="T10" fmla="*/ 107 w 194"/>
                <a:gd name="T11" fmla="*/ 212 h 217"/>
                <a:gd name="T12" fmla="*/ 105 w 194"/>
                <a:gd name="T13" fmla="*/ 202 h 217"/>
                <a:gd name="T14" fmla="*/ 90 w 194"/>
                <a:gd name="T15" fmla="*/ 189 h 217"/>
                <a:gd name="T16" fmla="*/ 75 w 194"/>
                <a:gd name="T17" fmla="*/ 182 h 217"/>
                <a:gd name="T18" fmla="*/ 67 w 194"/>
                <a:gd name="T19" fmla="*/ 177 h 217"/>
                <a:gd name="T20" fmla="*/ 55 w 194"/>
                <a:gd name="T21" fmla="*/ 159 h 217"/>
                <a:gd name="T22" fmla="*/ 40 w 194"/>
                <a:gd name="T23" fmla="*/ 152 h 217"/>
                <a:gd name="T24" fmla="*/ 28 w 194"/>
                <a:gd name="T25" fmla="*/ 140 h 217"/>
                <a:gd name="T26" fmla="*/ 25 w 194"/>
                <a:gd name="T27" fmla="*/ 130 h 217"/>
                <a:gd name="T28" fmla="*/ 13 w 194"/>
                <a:gd name="T29" fmla="*/ 130 h 217"/>
                <a:gd name="T30" fmla="*/ 13 w 194"/>
                <a:gd name="T31" fmla="*/ 120 h 217"/>
                <a:gd name="T32" fmla="*/ 13 w 194"/>
                <a:gd name="T33" fmla="*/ 107 h 217"/>
                <a:gd name="T34" fmla="*/ 8 w 194"/>
                <a:gd name="T35" fmla="*/ 97 h 217"/>
                <a:gd name="T36" fmla="*/ 5 w 194"/>
                <a:gd name="T37" fmla="*/ 87 h 217"/>
                <a:gd name="T38" fmla="*/ 5 w 194"/>
                <a:gd name="T39" fmla="*/ 70 h 217"/>
                <a:gd name="T40" fmla="*/ 0 w 194"/>
                <a:gd name="T41" fmla="*/ 58 h 217"/>
                <a:gd name="T42" fmla="*/ 10 w 194"/>
                <a:gd name="T43" fmla="*/ 55 h 217"/>
                <a:gd name="T44" fmla="*/ 25 w 194"/>
                <a:gd name="T45" fmla="*/ 55 h 217"/>
                <a:gd name="T46" fmla="*/ 23 w 194"/>
                <a:gd name="T47" fmla="*/ 33 h 217"/>
                <a:gd name="T48" fmla="*/ 18 w 194"/>
                <a:gd name="T49" fmla="*/ 25 h 217"/>
                <a:gd name="T50" fmla="*/ 15 w 194"/>
                <a:gd name="T51" fmla="*/ 5 h 217"/>
                <a:gd name="T52" fmla="*/ 23 w 194"/>
                <a:gd name="T53" fmla="*/ 0 h 217"/>
                <a:gd name="T54" fmla="*/ 43 w 194"/>
                <a:gd name="T55" fmla="*/ 0 h 217"/>
                <a:gd name="T56" fmla="*/ 77 w 194"/>
                <a:gd name="T57" fmla="*/ 0 h 217"/>
                <a:gd name="T58" fmla="*/ 92 w 194"/>
                <a:gd name="T59" fmla="*/ 0 h 217"/>
                <a:gd name="T60" fmla="*/ 127 w 194"/>
                <a:gd name="T61" fmla="*/ 30 h 217"/>
                <a:gd name="T62" fmla="*/ 147 w 194"/>
                <a:gd name="T63" fmla="*/ 35 h 217"/>
                <a:gd name="T64" fmla="*/ 147 w 194"/>
                <a:gd name="T65" fmla="*/ 50 h 217"/>
                <a:gd name="T66" fmla="*/ 174 w 194"/>
                <a:gd name="T67" fmla="*/ 65 h 217"/>
                <a:gd name="T68" fmla="*/ 177 w 194"/>
                <a:gd name="T69" fmla="*/ 75 h 217"/>
                <a:gd name="T70" fmla="*/ 177 w 194"/>
                <a:gd name="T71" fmla="*/ 90 h 217"/>
                <a:gd name="T72" fmla="*/ 169 w 194"/>
                <a:gd name="T73" fmla="*/ 97 h 217"/>
                <a:gd name="T74" fmla="*/ 167 w 194"/>
                <a:gd name="T75" fmla="*/ 110 h 217"/>
                <a:gd name="T76" fmla="*/ 177 w 194"/>
                <a:gd name="T77" fmla="*/ 112 h 217"/>
                <a:gd name="T78" fmla="*/ 177 w 194"/>
                <a:gd name="T79" fmla="*/ 132 h 217"/>
                <a:gd name="T80" fmla="*/ 179 w 194"/>
                <a:gd name="T81" fmla="*/ 152 h 217"/>
                <a:gd name="T82" fmla="*/ 182 w 194"/>
                <a:gd name="T83" fmla="*/ 174 h 217"/>
                <a:gd name="T84" fmla="*/ 189 w 194"/>
                <a:gd name="T85" fmla="*/ 182 h 217"/>
                <a:gd name="T86" fmla="*/ 194 w 194"/>
                <a:gd name="T87" fmla="*/ 192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94" h="217">
                  <a:moveTo>
                    <a:pt x="194" y="192"/>
                  </a:moveTo>
                  <a:lnTo>
                    <a:pt x="172" y="197"/>
                  </a:lnTo>
                  <a:lnTo>
                    <a:pt x="169" y="204"/>
                  </a:lnTo>
                  <a:lnTo>
                    <a:pt x="147" y="204"/>
                  </a:lnTo>
                  <a:lnTo>
                    <a:pt x="145" y="217"/>
                  </a:lnTo>
                  <a:lnTo>
                    <a:pt x="107" y="212"/>
                  </a:lnTo>
                  <a:lnTo>
                    <a:pt x="105" y="202"/>
                  </a:lnTo>
                  <a:lnTo>
                    <a:pt x="90" y="189"/>
                  </a:lnTo>
                  <a:lnTo>
                    <a:pt x="75" y="182"/>
                  </a:lnTo>
                  <a:lnTo>
                    <a:pt x="67" y="177"/>
                  </a:lnTo>
                  <a:lnTo>
                    <a:pt x="55" y="159"/>
                  </a:lnTo>
                  <a:lnTo>
                    <a:pt x="40" y="152"/>
                  </a:lnTo>
                  <a:lnTo>
                    <a:pt x="28" y="140"/>
                  </a:lnTo>
                  <a:lnTo>
                    <a:pt x="25" y="130"/>
                  </a:lnTo>
                  <a:lnTo>
                    <a:pt x="13" y="130"/>
                  </a:lnTo>
                  <a:lnTo>
                    <a:pt x="13" y="120"/>
                  </a:lnTo>
                  <a:lnTo>
                    <a:pt x="13" y="107"/>
                  </a:lnTo>
                  <a:lnTo>
                    <a:pt x="8" y="97"/>
                  </a:lnTo>
                  <a:lnTo>
                    <a:pt x="5" y="87"/>
                  </a:lnTo>
                  <a:lnTo>
                    <a:pt x="5" y="70"/>
                  </a:lnTo>
                  <a:lnTo>
                    <a:pt x="0" y="58"/>
                  </a:lnTo>
                  <a:lnTo>
                    <a:pt x="10" y="55"/>
                  </a:lnTo>
                  <a:lnTo>
                    <a:pt x="25" y="55"/>
                  </a:lnTo>
                  <a:lnTo>
                    <a:pt x="23" y="33"/>
                  </a:lnTo>
                  <a:lnTo>
                    <a:pt x="18" y="25"/>
                  </a:lnTo>
                  <a:lnTo>
                    <a:pt x="15" y="5"/>
                  </a:lnTo>
                  <a:lnTo>
                    <a:pt x="23" y="0"/>
                  </a:lnTo>
                  <a:lnTo>
                    <a:pt x="43" y="0"/>
                  </a:lnTo>
                  <a:lnTo>
                    <a:pt x="77" y="0"/>
                  </a:lnTo>
                  <a:lnTo>
                    <a:pt x="92" y="0"/>
                  </a:lnTo>
                  <a:lnTo>
                    <a:pt x="127" y="30"/>
                  </a:lnTo>
                  <a:lnTo>
                    <a:pt x="147" y="35"/>
                  </a:lnTo>
                  <a:lnTo>
                    <a:pt x="147" y="50"/>
                  </a:lnTo>
                  <a:lnTo>
                    <a:pt x="174" y="65"/>
                  </a:lnTo>
                  <a:lnTo>
                    <a:pt x="177" y="75"/>
                  </a:lnTo>
                  <a:lnTo>
                    <a:pt x="177" y="90"/>
                  </a:lnTo>
                  <a:lnTo>
                    <a:pt x="169" y="97"/>
                  </a:lnTo>
                  <a:lnTo>
                    <a:pt x="167" y="110"/>
                  </a:lnTo>
                  <a:lnTo>
                    <a:pt x="177" y="112"/>
                  </a:lnTo>
                  <a:lnTo>
                    <a:pt x="177" y="132"/>
                  </a:lnTo>
                  <a:lnTo>
                    <a:pt x="179" y="152"/>
                  </a:lnTo>
                  <a:lnTo>
                    <a:pt x="182" y="174"/>
                  </a:lnTo>
                  <a:lnTo>
                    <a:pt x="189" y="182"/>
                  </a:lnTo>
                  <a:lnTo>
                    <a:pt x="194" y="19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9" name="Freeform 246"/>
            <p:cNvSpPr>
              <a:spLocks/>
            </p:cNvSpPr>
            <p:nvPr/>
          </p:nvSpPr>
          <p:spPr bwMode="auto">
            <a:xfrm>
              <a:off x="5015926" y="4261512"/>
              <a:ext cx="125214" cy="153999"/>
            </a:xfrm>
            <a:custGeom>
              <a:avLst/>
              <a:gdLst>
                <a:gd name="T0" fmla="*/ 77 w 87"/>
                <a:gd name="T1" fmla="*/ 0 h 107"/>
                <a:gd name="T2" fmla="*/ 87 w 87"/>
                <a:gd name="T3" fmla="*/ 18 h 107"/>
                <a:gd name="T4" fmla="*/ 87 w 87"/>
                <a:gd name="T5" fmla="*/ 50 h 107"/>
                <a:gd name="T6" fmla="*/ 77 w 87"/>
                <a:gd name="T7" fmla="*/ 70 h 107"/>
                <a:gd name="T8" fmla="*/ 72 w 87"/>
                <a:gd name="T9" fmla="*/ 90 h 107"/>
                <a:gd name="T10" fmla="*/ 77 w 87"/>
                <a:gd name="T11" fmla="*/ 102 h 107"/>
                <a:gd name="T12" fmla="*/ 43 w 87"/>
                <a:gd name="T13" fmla="*/ 102 h 107"/>
                <a:gd name="T14" fmla="*/ 23 w 87"/>
                <a:gd name="T15" fmla="*/ 102 h 107"/>
                <a:gd name="T16" fmla="*/ 15 w 87"/>
                <a:gd name="T17" fmla="*/ 107 h 107"/>
                <a:gd name="T18" fmla="*/ 0 w 87"/>
                <a:gd name="T19" fmla="*/ 102 h 107"/>
                <a:gd name="T20" fmla="*/ 5 w 87"/>
                <a:gd name="T21" fmla="*/ 60 h 107"/>
                <a:gd name="T22" fmla="*/ 25 w 87"/>
                <a:gd name="T23" fmla="*/ 53 h 107"/>
                <a:gd name="T24" fmla="*/ 35 w 87"/>
                <a:gd name="T25" fmla="*/ 48 h 107"/>
                <a:gd name="T26" fmla="*/ 35 w 87"/>
                <a:gd name="T27" fmla="*/ 38 h 107"/>
                <a:gd name="T28" fmla="*/ 25 w 87"/>
                <a:gd name="T29" fmla="*/ 35 h 107"/>
                <a:gd name="T30" fmla="*/ 25 w 87"/>
                <a:gd name="T31" fmla="*/ 28 h 107"/>
                <a:gd name="T32" fmla="*/ 20 w 87"/>
                <a:gd name="T33" fmla="*/ 5 h 107"/>
                <a:gd name="T34" fmla="*/ 40 w 87"/>
                <a:gd name="T35" fmla="*/ 5 h 107"/>
                <a:gd name="T36" fmla="*/ 58 w 87"/>
                <a:gd name="T37" fmla="*/ 5 h 107"/>
                <a:gd name="T38" fmla="*/ 77 w 87"/>
                <a:gd name="T39" fmla="*/ 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" h="107">
                  <a:moveTo>
                    <a:pt x="77" y="0"/>
                  </a:moveTo>
                  <a:lnTo>
                    <a:pt x="87" y="18"/>
                  </a:lnTo>
                  <a:lnTo>
                    <a:pt x="87" y="50"/>
                  </a:lnTo>
                  <a:lnTo>
                    <a:pt x="77" y="70"/>
                  </a:lnTo>
                  <a:lnTo>
                    <a:pt x="72" y="90"/>
                  </a:lnTo>
                  <a:lnTo>
                    <a:pt x="77" y="102"/>
                  </a:lnTo>
                  <a:lnTo>
                    <a:pt x="43" y="102"/>
                  </a:lnTo>
                  <a:lnTo>
                    <a:pt x="23" y="102"/>
                  </a:lnTo>
                  <a:lnTo>
                    <a:pt x="15" y="107"/>
                  </a:lnTo>
                  <a:lnTo>
                    <a:pt x="0" y="102"/>
                  </a:lnTo>
                  <a:lnTo>
                    <a:pt x="5" y="60"/>
                  </a:lnTo>
                  <a:lnTo>
                    <a:pt x="25" y="53"/>
                  </a:lnTo>
                  <a:lnTo>
                    <a:pt x="35" y="48"/>
                  </a:lnTo>
                  <a:lnTo>
                    <a:pt x="35" y="38"/>
                  </a:lnTo>
                  <a:lnTo>
                    <a:pt x="25" y="35"/>
                  </a:lnTo>
                  <a:lnTo>
                    <a:pt x="25" y="28"/>
                  </a:lnTo>
                  <a:lnTo>
                    <a:pt x="20" y="5"/>
                  </a:lnTo>
                  <a:lnTo>
                    <a:pt x="40" y="5"/>
                  </a:lnTo>
                  <a:lnTo>
                    <a:pt x="58" y="5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0" name="Freeform 247"/>
            <p:cNvSpPr>
              <a:spLocks/>
            </p:cNvSpPr>
            <p:nvPr/>
          </p:nvSpPr>
          <p:spPr bwMode="auto">
            <a:xfrm>
              <a:off x="5316727" y="4022599"/>
              <a:ext cx="53251" cy="53252"/>
            </a:xfrm>
            <a:custGeom>
              <a:avLst/>
              <a:gdLst>
                <a:gd name="T0" fmla="*/ 20 w 37"/>
                <a:gd name="T1" fmla="*/ 37 h 37"/>
                <a:gd name="T2" fmla="*/ 0 w 37"/>
                <a:gd name="T3" fmla="*/ 32 h 37"/>
                <a:gd name="T4" fmla="*/ 3 w 37"/>
                <a:gd name="T5" fmla="*/ 0 h 37"/>
                <a:gd name="T6" fmla="*/ 37 w 37"/>
                <a:gd name="T7" fmla="*/ 20 h 37"/>
                <a:gd name="T8" fmla="*/ 20 w 37"/>
                <a:gd name="T9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" h="37">
                  <a:moveTo>
                    <a:pt x="20" y="37"/>
                  </a:moveTo>
                  <a:lnTo>
                    <a:pt x="0" y="32"/>
                  </a:lnTo>
                  <a:lnTo>
                    <a:pt x="3" y="0"/>
                  </a:lnTo>
                  <a:lnTo>
                    <a:pt x="37" y="20"/>
                  </a:lnTo>
                  <a:lnTo>
                    <a:pt x="20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1" name="Freeform 248"/>
            <p:cNvSpPr>
              <a:spLocks/>
            </p:cNvSpPr>
            <p:nvPr/>
          </p:nvSpPr>
          <p:spPr bwMode="auto">
            <a:xfrm>
              <a:off x="4933890" y="5228678"/>
              <a:ext cx="64765" cy="63326"/>
            </a:xfrm>
            <a:custGeom>
              <a:avLst/>
              <a:gdLst>
                <a:gd name="T0" fmla="*/ 15 w 45"/>
                <a:gd name="T1" fmla="*/ 2 h 44"/>
                <a:gd name="T2" fmla="*/ 10 w 45"/>
                <a:gd name="T3" fmla="*/ 12 h 44"/>
                <a:gd name="T4" fmla="*/ 0 w 45"/>
                <a:gd name="T5" fmla="*/ 15 h 44"/>
                <a:gd name="T6" fmla="*/ 0 w 45"/>
                <a:gd name="T7" fmla="*/ 42 h 44"/>
                <a:gd name="T8" fmla="*/ 15 w 45"/>
                <a:gd name="T9" fmla="*/ 39 h 44"/>
                <a:gd name="T10" fmla="*/ 20 w 45"/>
                <a:gd name="T11" fmla="*/ 44 h 44"/>
                <a:gd name="T12" fmla="*/ 28 w 45"/>
                <a:gd name="T13" fmla="*/ 44 h 44"/>
                <a:gd name="T14" fmla="*/ 33 w 45"/>
                <a:gd name="T15" fmla="*/ 37 h 44"/>
                <a:gd name="T16" fmla="*/ 37 w 45"/>
                <a:gd name="T17" fmla="*/ 27 h 44"/>
                <a:gd name="T18" fmla="*/ 45 w 45"/>
                <a:gd name="T19" fmla="*/ 27 h 44"/>
                <a:gd name="T20" fmla="*/ 45 w 45"/>
                <a:gd name="T21" fmla="*/ 2 h 44"/>
                <a:gd name="T22" fmla="*/ 28 w 45"/>
                <a:gd name="T23" fmla="*/ 0 h 44"/>
                <a:gd name="T24" fmla="*/ 15 w 45"/>
                <a:gd name="T25" fmla="*/ 2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5" h="44">
                  <a:moveTo>
                    <a:pt x="15" y="2"/>
                  </a:moveTo>
                  <a:lnTo>
                    <a:pt x="10" y="12"/>
                  </a:lnTo>
                  <a:lnTo>
                    <a:pt x="0" y="15"/>
                  </a:lnTo>
                  <a:lnTo>
                    <a:pt x="0" y="42"/>
                  </a:lnTo>
                  <a:lnTo>
                    <a:pt x="15" y="39"/>
                  </a:lnTo>
                  <a:lnTo>
                    <a:pt x="20" y="44"/>
                  </a:lnTo>
                  <a:lnTo>
                    <a:pt x="28" y="44"/>
                  </a:lnTo>
                  <a:lnTo>
                    <a:pt x="33" y="37"/>
                  </a:lnTo>
                  <a:lnTo>
                    <a:pt x="37" y="27"/>
                  </a:lnTo>
                  <a:lnTo>
                    <a:pt x="45" y="27"/>
                  </a:lnTo>
                  <a:lnTo>
                    <a:pt x="45" y="2"/>
                  </a:lnTo>
                  <a:lnTo>
                    <a:pt x="28" y="0"/>
                  </a:lnTo>
                  <a:lnTo>
                    <a:pt x="15" y="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2" name="Freeform 249"/>
            <p:cNvSpPr>
              <a:spLocks/>
            </p:cNvSpPr>
            <p:nvPr/>
          </p:nvSpPr>
          <p:spPr bwMode="auto">
            <a:xfrm>
              <a:off x="5338315" y="3815349"/>
              <a:ext cx="257624" cy="192858"/>
            </a:xfrm>
            <a:custGeom>
              <a:avLst/>
              <a:gdLst>
                <a:gd name="T0" fmla="*/ 65 w 179"/>
                <a:gd name="T1" fmla="*/ 72 h 134"/>
                <a:gd name="T2" fmla="*/ 65 w 179"/>
                <a:gd name="T3" fmla="*/ 57 h 134"/>
                <a:gd name="T4" fmla="*/ 65 w 179"/>
                <a:gd name="T5" fmla="*/ 45 h 134"/>
                <a:gd name="T6" fmla="*/ 57 w 179"/>
                <a:gd name="T7" fmla="*/ 42 h 134"/>
                <a:gd name="T8" fmla="*/ 35 w 179"/>
                <a:gd name="T9" fmla="*/ 40 h 134"/>
                <a:gd name="T10" fmla="*/ 15 w 179"/>
                <a:gd name="T11" fmla="*/ 42 h 134"/>
                <a:gd name="T12" fmla="*/ 0 w 179"/>
                <a:gd name="T13" fmla="*/ 49 h 134"/>
                <a:gd name="T14" fmla="*/ 3 w 179"/>
                <a:gd name="T15" fmla="*/ 89 h 134"/>
                <a:gd name="T16" fmla="*/ 3 w 179"/>
                <a:gd name="T17" fmla="*/ 112 h 134"/>
                <a:gd name="T18" fmla="*/ 10 w 179"/>
                <a:gd name="T19" fmla="*/ 124 h 134"/>
                <a:gd name="T20" fmla="*/ 30 w 179"/>
                <a:gd name="T21" fmla="*/ 134 h 134"/>
                <a:gd name="T22" fmla="*/ 42 w 179"/>
                <a:gd name="T23" fmla="*/ 122 h 134"/>
                <a:gd name="T24" fmla="*/ 60 w 179"/>
                <a:gd name="T25" fmla="*/ 104 h 134"/>
                <a:gd name="T26" fmla="*/ 67 w 179"/>
                <a:gd name="T27" fmla="*/ 97 h 134"/>
                <a:gd name="T28" fmla="*/ 112 w 179"/>
                <a:gd name="T29" fmla="*/ 97 h 134"/>
                <a:gd name="T30" fmla="*/ 124 w 179"/>
                <a:gd name="T31" fmla="*/ 84 h 134"/>
                <a:gd name="T32" fmla="*/ 164 w 179"/>
                <a:gd name="T33" fmla="*/ 74 h 134"/>
                <a:gd name="T34" fmla="*/ 164 w 179"/>
                <a:gd name="T35" fmla="*/ 62 h 134"/>
                <a:gd name="T36" fmla="*/ 179 w 179"/>
                <a:gd name="T37" fmla="*/ 49 h 134"/>
                <a:gd name="T38" fmla="*/ 169 w 179"/>
                <a:gd name="T39" fmla="*/ 22 h 134"/>
                <a:gd name="T40" fmla="*/ 162 w 179"/>
                <a:gd name="T41" fmla="*/ 0 h 134"/>
                <a:gd name="T42" fmla="*/ 109 w 179"/>
                <a:gd name="T43" fmla="*/ 10 h 134"/>
                <a:gd name="T44" fmla="*/ 95 w 179"/>
                <a:gd name="T45" fmla="*/ 27 h 134"/>
                <a:gd name="T46" fmla="*/ 87 w 179"/>
                <a:gd name="T47" fmla="*/ 54 h 134"/>
                <a:gd name="T48" fmla="*/ 65 w 179"/>
                <a:gd name="T49" fmla="*/ 72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79" h="134">
                  <a:moveTo>
                    <a:pt x="65" y="72"/>
                  </a:moveTo>
                  <a:lnTo>
                    <a:pt x="65" y="57"/>
                  </a:lnTo>
                  <a:lnTo>
                    <a:pt x="65" y="45"/>
                  </a:lnTo>
                  <a:lnTo>
                    <a:pt x="57" y="42"/>
                  </a:lnTo>
                  <a:lnTo>
                    <a:pt x="35" y="40"/>
                  </a:lnTo>
                  <a:lnTo>
                    <a:pt x="15" y="42"/>
                  </a:lnTo>
                  <a:lnTo>
                    <a:pt x="0" y="49"/>
                  </a:lnTo>
                  <a:lnTo>
                    <a:pt x="3" y="89"/>
                  </a:lnTo>
                  <a:lnTo>
                    <a:pt x="3" y="112"/>
                  </a:lnTo>
                  <a:lnTo>
                    <a:pt x="10" y="124"/>
                  </a:lnTo>
                  <a:lnTo>
                    <a:pt x="30" y="134"/>
                  </a:lnTo>
                  <a:lnTo>
                    <a:pt x="42" y="122"/>
                  </a:lnTo>
                  <a:lnTo>
                    <a:pt x="60" y="104"/>
                  </a:lnTo>
                  <a:lnTo>
                    <a:pt x="67" y="97"/>
                  </a:lnTo>
                  <a:lnTo>
                    <a:pt x="112" y="97"/>
                  </a:lnTo>
                  <a:lnTo>
                    <a:pt x="124" y="84"/>
                  </a:lnTo>
                  <a:lnTo>
                    <a:pt x="164" y="74"/>
                  </a:lnTo>
                  <a:lnTo>
                    <a:pt x="164" y="62"/>
                  </a:lnTo>
                  <a:lnTo>
                    <a:pt x="179" y="49"/>
                  </a:lnTo>
                  <a:lnTo>
                    <a:pt x="169" y="22"/>
                  </a:lnTo>
                  <a:lnTo>
                    <a:pt x="162" y="0"/>
                  </a:lnTo>
                  <a:lnTo>
                    <a:pt x="109" y="10"/>
                  </a:lnTo>
                  <a:lnTo>
                    <a:pt x="95" y="27"/>
                  </a:lnTo>
                  <a:lnTo>
                    <a:pt x="87" y="54"/>
                  </a:lnTo>
                  <a:lnTo>
                    <a:pt x="65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3" name="Freeform 250"/>
            <p:cNvSpPr>
              <a:spLocks/>
            </p:cNvSpPr>
            <p:nvPr/>
          </p:nvSpPr>
          <p:spPr bwMode="auto">
            <a:xfrm>
              <a:off x="4808676" y="4595415"/>
              <a:ext cx="307996" cy="303679"/>
            </a:xfrm>
            <a:custGeom>
              <a:avLst/>
              <a:gdLst>
                <a:gd name="T0" fmla="*/ 75 w 214"/>
                <a:gd name="T1" fmla="*/ 211 h 211"/>
                <a:gd name="T2" fmla="*/ 85 w 214"/>
                <a:gd name="T3" fmla="*/ 208 h 211"/>
                <a:gd name="T4" fmla="*/ 100 w 214"/>
                <a:gd name="T5" fmla="*/ 208 h 211"/>
                <a:gd name="T6" fmla="*/ 110 w 214"/>
                <a:gd name="T7" fmla="*/ 203 h 211"/>
                <a:gd name="T8" fmla="*/ 112 w 214"/>
                <a:gd name="T9" fmla="*/ 191 h 211"/>
                <a:gd name="T10" fmla="*/ 122 w 214"/>
                <a:gd name="T11" fmla="*/ 189 h 211"/>
                <a:gd name="T12" fmla="*/ 129 w 214"/>
                <a:gd name="T13" fmla="*/ 184 h 211"/>
                <a:gd name="T14" fmla="*/ 132 w 214"/>
                <a:gd name="T15" fmla="*/ 171 h 211"/>
                <a:gd name="T16" fmla="*/ 147 w 214"/>
                <a:gd name="T17" fmla="*/ 169 h 211"/>
                <a:gd name="T18" fmla="*/ 154 w 214"/>
                <a:gd name="T19" fmla="*/ 159 h 211"/>
                <a:gd name="T20" fmla="*/ 182 w 214"/>
                <a:gd name="T21" fmla="*/ 154 h 211"/>
                <a:gd name="T22" fmla="*/ 187 w 214"/>
                <a:gd name="T23" fmla="*/ 141 h 211"/>
                <a:gd name="T24" fmla="*/ 202 w 214"/>
                <a:gd name="T25" fmla="*/ 134 h 211"/>
                <a:gd name="T26" fmla="*/ 204 w 214"/>
                <a:gd name="T27" fmla="*/ 102 h 211"/>
                <a:gd name="T28" fmla="*/ 214 w 214"/>
                <a:gd name="T29" fmla="*/ 94 h 211"/>
                <a:gd name="T30" fmla="*/ 209 w 214"/>
                <a:gd name="T31" fmla="*/ 72 h 211"/>
                <a:gd name="T32" fmla="*/ 211 w 214"/>
                <a:gd name="T33" fmla="*/ 47 h 211"/>
                <a:gd name="T34" fmla="*/ 199 w 214"/>
                <a:gd name="T35" fmla="*/ 29 h 211"/>
                <a:gd name="T36" fmla="*/ 184 w 214"/>
                <a:gd name="T37" fmla="*/ 22 h 211"/>
                <a:gd name="T38" fmla="*/ 172 w 214"/>
                <a:gd name="T39" fmla="*/ 10 h 211"/>
                <a:gd name="T40" fmla="*/ 169 w 214"/>
                <a:gd name="T41" fmla="*/ 0 h 211"/>
                <a:gd name="T42" fmla="*/ 157 w 214"/>
                <a:gd name="T43" fmla="*/ 0 h 211"/>
                <a:gd name="T44" fmla="*/ 152 w 214"/>
                <a:gd name="T45" fmla="*/ 12 h 211"/>
                <a:gd name="T46" fmla="*/ 139 w 214"/>
                <a:gd name="T47" fmla="*/ 17 h 211"/>
                <a:gd name="T48" fmla="*/ 132 w 214"/>
                <a:gd name="T49" fmla="*/ 29 h 211"/>
                <a:gd name="T50" fmla="*/ 127 w 214"/>
                <a:gd name="T51" fmla="*/ 84 h 211"/>
                <a:gd name="T52" fmla="*/ 134 w 214"/>
                <a:gd name="T53" fmla="*/ 92 h 211"/>
                <a:gd name="T54" fmla="*/ 147 w 214"/>
                <a:gd name="T55" fmla="*/ 92 h 211"/>
                <a:gd name="T56" fmla="*/ 149 w 214"/>
                <a:gd name="T57" fmla="*/ 114 h 211"/>
                <a:gd name="T58" fmla="*/ 144 w 214"/>
                <a:gd name="T59" fmla="*/ 126 h 211"/>
                <a:gd name="T60" fmla="*/ 127 w 214"/>
                <a:gd name="T61" fmla="*/ 126 h 211"/>
                <a:gd name="T62" fmla="*/ 120 w 214"/>
                <a:gd name="T63" fmla="*/ 116 h 211"/>
                <a:gd name="T64" fmla="*/ 115 w 214"/>
                <a:gd name="T65" fmla="*/ 97 h 211"/>
                <a:gd name="T66" fmla="*/ 100 w 214"/>
                <a:gd name="T67" fmla="*/ 89 h 211"/>
                <a:gd name="T68" fmla="*/ 100 w 214"/>
                <a:gd name="T69" fmla="*/ 84 h 211"/>
                <a:gd name="T70" fmla="*/ 85 w 214"/>
                <a:gd name="T71" fmla="*/ 87 h 211"/>
                <a:gd name="T72" fmla="*/ 80 w 214"/>
                <a:gd name="T73" fmla="*/ 97 h 211"/>
                <a:gd name="T74" fmla="*/ 70 w 214"/>
                <a:gd name="T75" fmla="*/ 94 h 211"/>
                <a:gd name="T76" fmla="*/ 65 w 214"/>
                <a:gd name="T77" fmla="*/ 77 h 211"/>
                <a:gd name="T78" fmla="*/ 47 w 214"/>
                <a:gd name="T79" fmla="*/ 74 h 211"/>
                <a:gd name="T80" fmla="*/ 45 w 214"/>
                <a:gd name="T81" fmla="*/ 114 h 211"/>
                <a:gd name="T82" fmla="*/ 28 w 214"/>
                <a:gd name="T83" fmla="*/ 114 h 211"/>
                <a:gd name="T84" fmla="*/ 23 w 214"/>
                <a:gd name="T85" fmla="*/ 104 h 211"/>
                <a:gd name="T86" fmla="*/ 15 w 214"/>
                <a:gd name="T87" fmla="*/ 104 h 211"/>
                <a:gd name="T88" fmla="*/ 15 w 214"/>
                <a:gd name="T89" fmla="*/ 114 h 211"/>
                <a:gd name="T90" fmla="*/ 3 w 214"/>
                <a:gd name="T91" fmla="*/ 116 h 211"/>
                <a:gd name="T92" fmla="*/ 0 w 214"/>
                <a:gd name="T93" fmla="*/ 164 h 211"/>
                <a:gd name="T94" fmla="*/ 3 w 214"/>
                <a:gd name="T95" fmla="*/ 179 h 211"/>
                <a:gd name="T96" fmla="*/ 18 w 214"/>
                <a:gd name="T97" fmla="*/ 196 h 211"/>
                <a:gd name="T98" fmla="*/ 18 w 214"/>
                <a:gd name="T99" fmla="*/ 206 h 211"/>
                <a:gd name="T100" fmla="*/ 28 w 214"/>
                <a:gd name="T101" fmla="*/ 208 h 211"/>
                <a:gd name="T102" fmla="*/ 75 w 214"/>
                <a:gd name="T103" fmla="*/ 211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214" h="211">
                  <a:moveTo>
                    <a:pt x="75" y="211"/>
                  </a:moveTo>
                  <a:lnTo>
                    <a:pt x="85" y="208"/>
                  </a:lnTo>
                  <a:lnTo>
                    <a:pt x="100" y="208"/>
                  </a:lnTo>
                  <a:lnTo>
                    <a:pt x="110" y="203"/>
                  </a:lnTo>
                  <a:lnTo>
                    <a:pt x="112" y="191"/>
                  </a:lnTo>
                  <a:lnTo>
                    <a:pt x="122" y="189"/>
                  </a:lnTo>
                  <a:lnTo>
                    <a:pt x="129" y="184"/>
                  </a:lnTo>
                  <a:lnTo>
                    <a:pt x="132" y="171"/>
                  </a:lnTo>
                  <a:lnTo>
                    <a:pt x="147" y="169"/>
                  </a:lnTo>
                  <a:lnTo>
                    <a:pt x="154" y="159"/>
                  </a:lnTo>
                  <a:lnTo>
                    <a:pt x="182" y="154"/>
                  </a:lnTo>
                  <a:lnTo>
                    <a:pt x="187" y="141"/>
                  </a:lnTo>
                  <a:lnTo>
                    <a:pt x="202" y="134"/>
                  </a:lnTo>
                  <a:lnTo>
                    <a:pt x="204" y="102"/>
                  </a:lnTo>
                  <a:lnTo>
                    <a:pt x="214" y="94"/>
                  </a:lnTo>
                  <a:lnTo>
                    <a:pt x="209" y="72"/>
                  </a:lnTo>
                  <a:lnTo>
                    <a:pt x="211" y="47"/>
                  </a:lnTo>
                  <a:lnTo>
                    <a:pt x="199" y="29"/>
                  </a:lnTo>
                  <a:lnTo>
                    <a:pt x="184" y="22"/>
                  </a:lnTo>
                  <a:lnTo>
                    <a:pt x="172" y="10"/>
                  </a:lnTo>
                  <a:lnTo>
                    <a:pt x="169" y="0"/>
                  </a:lnTo>
                  <a:lnTo>
                    <a:pt x="157" y="0"/>
                  </a:lnTo>
                  <a:lnTo>
                    <a:pt x="152" y="12"/>
                  </a:lnTo>
                  <a:lnTo>
                    <a:pt x="139" y="17"/>
                  </a:lnTo>
                  <a:lnTo>
                    <a:pt x="132" y="29"/>
                  </a:lnTo>
                  <a:lnTo>
                    <a:pt x="127" y="84"/>
                  </a:lnTo>
                  <a:lnTo>
                    <a:pt x="134" y="92"/>
                  </a:lnTo>
                  <a:lnTo>
                    <a:pt x="147" y="92"/>
                  </a:lnTo>
                  <a:lnTo>
                    <a:pt x="149" y="114"/>
                  </a:lnTo>
                  <a:lnTo>
                    <a:pt x="144" y="126"/>
                  </a:lnTo>
                  <a:lnTo>
                    <a:pt x="127" y="126"/>
                  </a:lnTo>
                  <a:lnTo>
                    <a:pt x="120" y="116"/>
                  </a:lnTo>
                  <a:lnTo>
                    <a:pt x="115" y="97"/>
                  </a:lnTo>
                  <a:lnTo>
                    <a:pt x="100" y="89"/>
                  </a:lnTo>
                  <a:lnTo>
                    <a:pt x="100" y="84"/>
                  </a:lnTo>
                  <a:lnTo>
                    <a:pt x="85" y="87"/>
                  </a:lnTo>
                  <a:lnTo>
                    <a:pt x="80" y="97"/>
                  </a:lnTo>
                  <a:lnTo>
                    <a:pt x="70" y="94"/>
                  </a:lnTo>
                  <a:lnTo>
                    <a:pt x="65" y="77"/>
                  </a:lnTo>
                  <a:lnTo>
                    <a:pt x="47" y="74"/>
                  </a:lnTo>
                  <a:lnTo>
                    <a:pt x="45" y="114"/>
                  </a:lnTo>
                  <a:lnTo>
                    <a:pt x="28" y="114"/>
                  </a:lnTo>
                  <a:lnTo>
                    <a:pt x="23" y="104"/>
                  </a:lnTo>
                  <a:lnTo>
                    <a:pt x="15" y="104"/>
                  </a:lnTo>
                  <a:lnTo>
                    <a:pt x="15" y="114"/>
                  </a:lnTo>
                  <a:lnTo>
                    <a:pt x="3" y="116"/>
                  </a:lnTo>
                  <a:lnTo>
                    <a:pt x="0" y="164"/>
                  </a:lnTo>
                  <a:lnTo>
                    <a:pt x="3" y="179"/>
                  </a:lnTo>
                  <a:lnTo>
                    <a:pt x="18" y="196"/>
                  </a:lnTo>
                  <a:lnTo>
                    <a:pt x="18" y="206"/>
                  </a:lnTo>
                  <a:lnTo>
                    <a:pt x="28" y="208"/>
                  </a:lnTo>
                  <a:lnTo>
                    <a:pt x="75" y="211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4" name="Freeform 251"/>
            <p:cNvSpPr>
              <a:spLocks/>
            </p:cNvSpPr>
            <p:nvPr/>
          </p:nvSpPr>
          <p:spPr bwMode="auto">
            <a:xfrm>
              <a:off x="4601426" y="3707407"/>
              <a:ext cx="272016" cy="461994"/>
            </a:xfrm>
            <a:custGeom>
              <a:avLst/>
              <a:gdLst>
                <a:gd name="T0" fmla="*/ 27 w 189"/>
                <a:gd name="T1" fmla="*/ 0 h 321"/>
                <a:gd name="T2" fmla="*/ 30 w 189"/>
                <a:gd name="T3" fmla="*/ 10 h 321"/>
                <a:gd name="T4" fmla="*/ 35 w 189"/>
                <a:gd name="T5" fmla="*/ 18 h 321"/>
                <a:gd name="T6" fmla="*/ 42 w 189"/>
                <a:gd name="T7" fmla="*/ 37 h 321"/>
                <a:gd name="T8" fmla="*/ 37 w 189"/>
                <a:gd name="T9" fmla="*/ 134 h 321"/>
                <a:gd name="T10" fmla="*/ 25 w 189"/>
                <a:gd name="T11" fmla="*/ 137 h 321"/>
                <a:gd name="T12" fmla="*/ 17 w 189"/>
                <a:gd name="T13" fmla="*/ 149 h 321"/>
                <a:gd name="T14" fmla="*/ 5 w 189"/>
                <a:gd name="T15" fmla="*/ 157 h 321"/>
                <a:gd name="T16" fmla="*/ 0 w 189"/>
                <a:gd name="T17" fmla="*/ 167 h 321"/>
                <a:gd name="T18" fmla="*/ 0 w 189"/>
                <a:gd name="T19" fmla="*/ 184 h 321"/>
                <a:gd name="T20" fmla="*/ 7 w 189"/>
                <a:gd name="T21" fmla="*/ 184 h 321"/>
                <a:gd name="T22" fmla="*/ 10 w 189"/>
                <a:gd name="T23" fmla="*/ 197 h 321"/>
                <a:gd name="T24" fmla="*/ 15 w 189"/>
                <a:gd name="T25" fmla="*/ 207 h 321"/>
                <a:gd name="T26" fmla="*/ 22 w 189"/>
                <a:gd name="T27" fmla="*/ 221 h 321"/>
                <a:gd name="T28" fmla="*/ 22 w 189"/>
                <a:gd name="T29" fmla="*/ 231 h 321"/>
                <a:gd name="T30" fmla="*/ 15 w 189"/>
                <a:gd name="T31" fmla="*/ 236 h 321"/>
                <a:gd name="T32" fmla="*/ 20 w 189"/>
                <a:gd name="T33" fmla="*/ 239 h 321"/>
                <a:gd name="T34" fmla="*/ 22 w 189"/>
                <a:gd name="T35" fmla="*/ 251 h 321"/>
                <a:gd name="T36" fmla="*/ 30 w 189"/>
                <a:gd name="T37" fmla="*/ 259 h 321"/>
                <a:gd name="T38" fmla="*/ 27 w 189"/>
                <a:gd name="T39" fmla="*/ 269 h 321"/>
                <a:gd name="T40" fmla="*/ 20 w 189"/>
                <a:gd name="T41" fmla="*/ 274 h 321"/>
                <a:gd name="T42" fmla="*/ 20 w 189"/>
                <a:gd name="T43" fmla="*/ 284 h 321"/>
                <a:gd name="T44" fmla="*/ 35 w 189"/>
                <a:gd name="T45" fmla="*/ 301 h 321"/>
                <a:gd name="T46" fmla="*/ 45 w 189"/>
                <a:gd name="T47" fmla="*/ 321 h 321"/>
                <a:gd name="T48" fmla="*/ 55 w 189"/>
                <a:gd name="T49" fmla="*/ 313 h 321"/>
                <a:gd name="T50" fmla="*/ 72 w 189"/>
                <a:gd name="T51" fmla="*/ 316 h 321"/>
                <a:gd name="T52" fmla="*/ 77 w 189"/>
                <a:gd name="T53" fmla="*/ 303 h 321"/>
                <a:gd name="T54" fmla="*/ 94 w 189"/>
                <a:gd name="T55" fmla="*/ 303 h 321"/>
                <a:gd name="T56" fmla="*/ 104 w 189"/>
                <a:gd name="T57" fmla="*/ 291 h 321"/>
                <a:gd name="T58" fmla="*/ 122 w 189"/>
                <a:gd name="T59" fmla="*/ 286 h 321"/>
                <a:gd name="T60" fmla="*/ 127 w 189"/>
                <a:gd name="T61" fmla="*/ 274 h 321"/>
                <a:gd name="T62" fmla="*/ 139 w 189"/>
                <a:gd name="T63" fmla="*/ 269 h 321"/>
                <a:gd name="T64" fmla="*/ 147 w 189"/>
                <a:gd name="T65" fmla="*/ 254 h 321"/>
                <a:gd name="T66" fmla="*/ 159 w 189"/>
                <a:gd name="T67" fmla="*/ 244 h 321"/>
                <a:gd name="T68" fmla="*/ 167 w 189"/>
                <a:gd name="T69" fmla="*/ 239 h 321"/>
                <a:gd name="T70" fmla="*/ 169 w 189"/>
                <a:gd name="T71" fmla="*/ 234 h 321"/>
                <a:gd name="T72" fmla="*/ 169 w 189"/>
                <a:gd name="T73" fmla="*/ 224 h 321"/>
                <a:gd name="T74" fmla="*/ 162 w 189"/>
                <a:gd name="T75" fmla="*/ 221 h 321"/>
                <a:gd name="T76" fmla="*/ 159 w 189"/>
                <a:gd name="T77" fmla="*/ 207 h 321"/>
                <a:gd name="T78" fmla="*/ 144 w 189"/>
                <a:gd name="T79" fmla="*/ 202 h 321"/>
                <a:gd name="T80" fmla="*/ 147 w 189"/>
                <a:gd name="T81" fmla="*/ 189 h 321"/>
                <a:gd name="T82" fmla="*/ 162 w 189"/>
                <a:gd name="T83" fmla="*/ 189 h 321"/>
                <a:gd name="T84" fmla="*/ 164 w 189"/>
                <a:gd name="T85" fmla="*/ 172 h 321"/>
                <a:gd name="T86" fmla="*/ 176 w 189"/>
                <a:gd name="T87" fmla="*/ 152 h 321"/>
                <a:gd name="T88" fmla="*/ 186 w 189"/>
                <a:gd name="T89" fmla="*/ 147 h 321"/>
                <a:gd name="T90" fmla="*/ 189 w 189"/>
                <a:gd name="T91" fmla="*/ 95 h 321"/>
                <a:gd name="T92" fmla="*/ 176 w 189"/>
                <a:gd name="T93" fmla="*/ 95 h 321"/>
                <a:gd name="T94" fmla="*/ 147 w 189"/>
                <a:gd name="T95" fmla="*/ 70 h 321"/>
                <a:gd name="T96" fmla="*/ 134 w 189"/>
                <a:gd name="T97" fmla="*/ 65 h 321"/>
                <a:gd name="T98" fmla="*/ 107 w 189"/>
                <a:gd name="T99" fmla="*/ 50 h 321"/>
                <a:gd name="T100" fmla="*/ 99 w 189"/>
                <a:gd name="T101" fmla="*/ 35 h 321"/>
                <a:gd name="T102" fmla="*/ 67 w 189"/>
                <a:gd name="T103" fmla="*/ 30 h 321"/>
                <a:gd name="T104" fmla="*/ 62 w 189"/>
                <a:gd name="T105" fmla="*/ 15 h 321"/>
                <a:gd name="T106" fmla="*/ 47 w 189"/>
                <a:gd name="T107" fmla="*/ 10 h 321"/>
                <a:gd name="T108" fmla="*/ 45 w 189"/>
                <a:gd name="T109" fmla="*/ 3 h 321"/>
                <a:gd name="T110" fmla="*/ 27 w 189"/>
                <a:gd name="T111" fmla="*/ 0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89" h="321">
                  <a:moveTo>
                    <a:pt x="27" y="0"/>
                  </a:moveTo>
                  <a:lnTo>
                    <a:pt x="30" y="10"/>
                  </a:lnTo>
                  <a:lnTo>
                    <a:pt x="35" y="18"/>
                  </a:lnTo>
                  <a:lnTo>
                    <a:pt x="42" y="37"/>
                  </a:lnTo>
                  <a:lnTo>
                    <a:pt x="37" y="134"/>
                  </a:lnTo>
                  <a:lnTo>
                    <a:pt x="25" y="137"/>
                  </a:lnTo>
                  <a:lnTo>
                    <a:pt x="17" y="149"/>
                  </a:lnTo>
                  <a:lnTo>
                    <a:pt x="5" y="157"/>
                  </a:lnTo>
                  <a:lnTo>
                    <a:pt x="0" y="167"/>
                  </a:lnTo>
                  <a:lnTo>
                    <a:pt x="0" y="184"/>
                  </a:lnTo>
                  <a:lnTo>
                    <a:pt x="7" y="184"/>
                  </a:lnTo>
                  <a:lnTo>
                    <a:pt x="10" y="197"/>
                  </a:lnTo>
                  <a:lnTo>
                    <a:pt x="15" y="207"/>
                  </a:lnTo>
                  <a:lnTo>
                    <a:pt x="22" y="221"/>
                  </a:lnTo>
                  <a:lnTo>
                    <a:pt x="22" y="231"/>
                  </a:lnTo>
                  <a:lnTo>
                    <a:pt x="15" y="236"/>
                  </a:lnTo>
                  <a:lnTo>
                    <a:pt x="20" y="239"/>
                  </a:lnTo>
                  <a:lnTo>
                    <a:pt x="22" y="251"/>
                  </a:lnTo>
                  <a:lnTo>
                    <a:pt x="30" y="259"/>
                  </a:lnTo>
                  <a:lnTo>
                    <a:pt x="27" y="269"/>
                  </a:lnTo>
                  <a:lnTo>
                    <a:pt x="20" y="274"/>
                  </a:lnTo>
                  <a:lnTo>
                    <a:pt x="20" y="284"/>
                  </a:lnTo>
                  <a:lnTo>
                    <a:pt x="35" y="301"/>
                  </a:lnTo>
                  <a:lnTo>
                    <a:pt x="45" y="321"/>
                  </a:lnTo>
                  <a:lnTo>
                    <a:pt x="55" y="313"/>
                  </a:lnTo>
                  <a:lnTo>
                    <a:pt x="72" y="316"/>
                  </a:lnTo>
                  <a:lnTo>
                    <a:pt x="77" y="303"/>
                  </a:lnTo>
                  <a:lnTo>
                    <a:pt x="94" y="303"/>
                  </a:lnTo>
                  <a:lnTo>
                    <a:pt x="104" y="291"/>
                  </a:lnTo>
                  <a:lnTo>
                    <a:pt x="122" y="286"/>
                  </a:lnTo>
                  <a:lnTo>
                    <a:pt x="127" y="274"/>
                  </a:lnTo>
                  <a:lnTo>
                    <a:pt x="139" y="269"/>
                  </a:lnTo>
                  <a:lnTo>
                    <a:pt x="147" y="254"/>
                  </a:lnTo>
                  <a:lnTo>
                    <a:pt x="159" y="244"/>
                  </a:lnTo>
                  <a:lnTo>
                    <a:pt x="167" y="239"/>
                  </a:lnTo>
                  <a:lnTo>
                    <a:pt x="169" y="234"/>
                  </a:lnTo>
                  <a:lnTo>
                    <a:pt x="169" y="224"/>
                  </a:lnTo>
                  <a:lnTo>
                    <a:pt x="162" y="221"/>
                  </a:lnTo>
                  <a:lnTo>
                    <a:pt x="159" y="207"/>
                  </a:lnTo>
                  <a:lnTo>
                    <a:pt x="144" y="202"/>
                  </a:lnTo>
                  <a:lnTo>
                    <a:pt x="147" y="189"/>
                  </a:lnTo>
                  <a:lnTo>
                    <a:pt x="162" y="189"/>
                  </a:lnTo>
                  <a:lnTo>
                    <a:pt x="164" y="172"/>
                  </a:lnTo>
                  <a:lnTo>
                    <a:pt x="176" y="152"/>
                  </a:lnTo>
                  <a:lnTo>
                    <a:pt x="186" y="147"/>
                  </a:lnTo>
                  <a:lnTo>
                    <a:pt x="189" y="95"/>
                  </a:lnTo>
                  <a:lnTo>
                    <a:pt x="176" y="95"/>
                  </a:lnTo>
                  <a:lnTo>
                    <a:pt x="147" y="70"/>
                  </a:lnTo>
                  <a:lnTo>
                    <a:pt x="134" y="65"/>
                  </a:lnTo>
                  <a:lnTo>
                    <a:pt x="107" y="50"/>
                  </a:lnTo>
                  <a:lnTo>
                    <a:pt x="99" y="35"/>
                  </a:lnTo>
                  <a:lnTo>
                    <a:pt x="67" y="30"/>
                  </a:lnTo>
                  <a:lnTo>
                    <a:pt x="62" y="15"/>
                  </a:lnTo>
                  <a:lnTo>
                    <a:pt x="47" y="10"/>
                  </a:lnTo>
                  <a:lnTo>
                    <a:pt x="45" y="3"/>
                  </a:lnTo>
                  <a:lnTo>
                    <a:pt x="27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5" name="Freeform 252"/>
            <p:cNvSpPr>
              <a:spLocks/>
            </p:cNvSpPr>
            <p:nvPr/>
          </p:nvSpPr>
          <p:spPr bwMode="auto">
            <a:xfrm>
              <a:off x="4268963" y="3685818"/>
              <a:ext cx="392911" cy="329585"/>
            </a:xfrm>
            <a:custGeom>
              <a:avLst/>
              <a:gdLst>
                <a:gd name="T0" fmla="*/ 62 w 273"/>
                <a:gd name="T1" fmla="*/ 229 h 229"/>
                <a:gd name="T2" fmla="*/ 67 w 273"/>
                <a:gd name="T3" fmla="*/ 219 h 229"/>
                <a:gd name="T4" fmla="*/ 74 w 273"/>
                <a:gd name="T5" fmla="*/ 207 h 229"/>
                <a:gd name="T6" fmla="*/ 92 w 273"/>
                <a:gd name="T7" fmla="*/ 202 h 229"/>
                <a:gd name="T8" fmla="*/ 104 w 273"/>
                <a:gd name="T9" fmla="*/ 204 h 229"/>
                <a:gd name="T10" fmla="*/ 114 w 273"/>
                <a:gd name="T11" fmla="*/ 217 h 229"/>
                <a:gd name="T12" fmla="*/ 114 w 273"/>
                <a:gd name="T13" fmla="*/ 209 h 229"/>
                <a:gd name="T14" fmla="*/ 137 w 273"/>
                <a:gd name="T15" fmla="*/ 207 h 229"/>
                <a:gd name="T16" fmla="*/ 149 w 273"/>
                <a:gd name="T17" fmla="*/ 204 h 229"/>
                <a:gd name="T18" fmla="*/ 159 w 273"/>
                <a:gd name="T19" fmla="*/ 214 h 229"/>
                <a:gd name="T20" fmla="*/ 174 w 273"/>
                <a:gd name="T21" fmla="*/ 217 h 229"/>
                <a:gd name="T22" fmla="*/ 176 w 273"/>
                <a:gd name="T23" fmla="*/ 207 h 229"/>
                <a:gd name="T24" fmla="*/ 201 w 273"/>
                <a:gd name="T25" fmla="*/ 207 h 229"/>
                <a:gd name="T26" fmla="*/ 209 w 273"/>
                <a:gd name="T27" fmla="*/ 217 h 229"/>
                <a:gd name="T28" fmla="*/ 216 w 273"/>
                <a:gd name="T29" fmla="*/ 207 h 229"/>
                <a:gd name="T30" fmla="*/ 231 w 273"/>
                <a:gd name="T31" fmla="*/ 199 h 229"/>
                <a:gd name="T32" fmla="*/ 231 w 273"/>
                <a:gd name="T33" fmla="*/ 182 h 229"/>
                <a:gd name="T34" fmla="*/ 236 w 273"/>
                <a:gd name="T35" fmla="*/ 172 h 229"/>
                <a:gd name="T36" fmla="*/ 248 w 273"/>
                <a:gd name="T37" fmla="*/ 164 h 229"/>
                <a:gd name="T38" fmla="*/ 256 w 273"/>
                <a:gd name="T39" fmla="*/ 152 h 229"/>
                <a:gd name="T40" fmla="*/ 268 w 273"/>
                <a:gd name="T41" fmla="*/ 149 h 229"/>
                <a:gd name="T42" fmla="*/ 273 w 273"/>
                <a:gd name="T43" fmla="*/ 52 h 229"/>
                <a:gd name="T44" fmla="*/ 266 w 273"/>
                <a:gd name="T45" fmla="*/ 33 h 229"/>
                <a:gd name="T46" fmla="*/ 261 w 273"/>
                <a:gd name="T47" fmla="*/ 25 h 229"/>
                <a:gd name="T48" fmla="*/ 258 w 273"/>
                <a:gd name="T49" fmla="*/ 15 h 229"/>
                <a:gd name="T50" fmla="*/ 248 w 273"/>
                <a:gd name="T51" fmla="*/ 10 h 229"/>
                <a:gd name="T52" fmla="*/ 229 w 273"/>
                <a:gd name="T53" fmla="*/ 8 h 229"/>
                <a:gd name="T54" fmla="*/ 224 w 273"/>
                <a:gd name="T55" fmla="*/ 0 h 229"/>
                <a:gd name="T56" fmla="*/ 201 w 273"/>
                <a:gd name="T57" fmla="*/ 0 h 229"/>
                <a:gd name="T58" fmla="*/ 196 w 273"/>
                <a:gd name="T59" fmla="*/ 8 h 229"/>
                <a:gd name="T60" fmla="*/ 179 w 273"/>
                <a:gd name="T61" fmla="*/ 15 h 229"/>
                <a:gd name="T62" fmla="*/ 164 w 273"/>
                <a:gd name="T63" fmla="*/ 28 h 229"/>
                <a:gd name="T64" fmla="*/ 156 w 273"/>
                <a:gd name="T65" fmla="*/ 40 h 229"/>
                <a:gd name="T66" fmla="*/ 127 w 273"/>
                <a:gd name="T67" fmla="*/ 50 h 229"/>
                <a:gd name="T68" fmla="*/ 124 w 273"/>
                <a:gd name="T69" fmla="*/ 62 h 229"/>
                <a:gd name="T70" fmla="*/ 114 w 273"/>
                <a:gd name="T71" fmla="*/ 67 h 229"/>
                <a:gd name="T72" fmla="*/ 99 w 273"/>
                <a:gd name="T73" fmla="*/ 82 h 229"/>
                <a:gd name="T74" fmla="*/ 72 w 273"/>
                <a:gd name="T75" fmla="*/ 82 h 229"/>
                <a:gd name="T76" fmla="*/ 69 w 273"/>
                <a:gd name="T77" fmla="*/ 92 h 229"/>
                <a:gd name="T78" fmla="*/ 72 w 273"/>
                <a:gd name="T79" fmla="*/ 152 h 229"/>
                <a:gd name="T80" fmla="*/ 59 w 273"/>
                <a:gd name="T81" fmla="*/ 152 h 229"/>
                <a:gd name="T82" fmla="*/ 59 w 273"/>
                <a:gd name="T83" fmla="*/ 164 h 229"/>
                <a:gd name="T84" fmla="*/ 15 w 273"/>
                <a:gd name="T85" fmla="*/ 169 h 229"/>
                <a:gd name="T86" fmla="*/ 0 w 273"/>
                <a:gd name="T87" fmla="*/ 179 h 229"/>
                <a:gd name="T88" fmla="*/ 7 w 273"/>
                <a:gd name="T89" fmla="*/ 189 h 229"/>
                <a:gd name="T90" fmla="*/ 17 w 273"/>
                <a:gd name="T91" fmla="*/ 197 h 229"/>
                <a:gd name="T92" fmla="*/ 17 w 273"/>
                <a:gd name="T93" fmla="*/ 214 h 229"/>
                <a:gd name="T94" fmla="*/ 30 w 273"/>
                <a:gd name="T95" fmla="*/ 217 h 229"/>
                <a:gd name="T96" fmla="*/ 40 w 273"/>
                <a:gd name="T97" fmla="*/ 229 h 229"/>
                <a:gd name="T98" fmla="*/ 57 w 273"/>
                <a:gd name="T99" fmla="*/ 229 h 229"/>
                <a:gd name="T100" fmla="*/ 62 w 273"/>
                <a:gd name="T101" fmla="*/ 229 h 2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73" h="229">
                  <a:moveTo>
                    <a:pt x="62" y="229"/>
                  </a:moveTo>
                  <a:lnTo>
                    <a:pt x="67" y="219"/>
                  </a:lnTo>
                  <a:lnTo>
                    <a:pt x="74" y="207"/>
                  </a:lnTo>
                  <a:lnTo>
                    <a:pt x="92" y="202"/>
                  </a:lnTo>
                  <a:lnTo>
                    <a:pt x="104" y="204"/>
                  </a:lnTo>
                  <a:lnTo>
                    <a:pt x="114" y="217"/>
                  </a:lnTo>
                  <a:lnTo>
                    <a:pt x="114" y="209"/>
                  </a:lnTo>
                  <a:lnTo>
                    <a:pt x="137" y="207"/>
                  </a:lnTo>
                  <a:lnTo>
                    <a:pt x="149" y="204"/>
                  </a:lnTo>
                  <a:lnTo>
                    <a:pt x="159" y="214"/>
                  </a:lnTo>
                  <a:lnTo>
                    <a:pt x="174" y="217"/>
                  </a:lnTo>
                  <a:lnTo>
                    <a:pt x="176" y="207"/>
                  </a:lnTo>
                  <a:lnTo>
                    <a:pt x="201" y="207"/>
                  </a:lnTo>
                  <a:lnTo>
                    <a:pt x="209" y="217"/>
                  </a:lnTo>
                  <a:lnTo>
                    <a:pt x="216" y="207"/>
                  </a:lnTo>
                  <a:lnTo>
                    <a:pt x="231" y="199"/>
                  </a:lnTo>
                  <a:lnTo>
                    <a:pt x="231" y="182"/>
                  </a:lnTo>
                  <a:lnTo>
                    <a:pt x="236" y="172"/>
                  </a:lnTo>
                  <a:lnTo>
                    <a:pt x="248" y="164"/>
                  </a:lnTo>
                  <a:lnTo>
                    <a:pt x="256" y="152"/>
                  </a:lnTo>
                  <a:lnTo>
                    <a:pt x="268" y="149"/>
                  </a:lnTo>
                  <a:lnTo>
                    <a:pt x="273" y="52"/>
                  </a:lnTo>
                  <a:lnTo>
                    <a:pt x="266" y="33"/>
                  </a:lnTo>
                  <a:lnTo>
                    <a:pt x="261" y="25"/>
                  </a:lnTo>
                  <a:lnTo>
                    <a:pt x="258" y="15"/>
                  </a:lnTo>
                  <a:lnTo>
                    <a:pt x="248" y="10"/>
                  </a:lnTo>
                  <a:lnTo>
                    <a:pt x="229" y="8"/>
                  </a:lnTo>
                  <a:lnTo>
                    <a:pt x="224" y="0"/>
                  </a:lnTo>
                  <a:lnTo>
                    <a:pt x="201" y="0"/>
                  </a:lnTo>
                  <a:lnTo>
                    <a:pt x="196" y="8"/>
                  </a:lnTo>
                  <a:lnTo>
                    <a:pt x="179" y="15"/>
                  </a:lnTo>
                  <a:lnTo>
                    <a:pt x="164" y="28"/>
                  </a:lnTo>
                  <a:lnTo>
                    <a:pt x="156" y="40"/>
                  </a:lnTo>
                  <a:lnTo>
                    <a:pt x="127" y="50"/>
                  </a:lnTo>
                  <a:lnTo>
                    <a:pt x="124" y="62"/>
                  </a:lnTo>
                  <a:lnTo>
                    <a:pt x="114" y="67"/>
                  </a:lnTo>
                  <a:lnTo>
                    <a:pt x="99" y="82"/>
                  </a:lnTo>
                  <a:lnTo>
                    <a:pt x="72" y="82"/>
                  </a:lnTo>
                  <a:lnTo>
                    <a:pt x="69" y="92"/>
                  </a:lnTo>
                  <a:lnTo>
                    <a:pt x="72" y="152"/>
                  </a:lnTo>
                  <a:lnTo>
                    <a:pt x="59" y="152"/>
                  </a:lnTo>
                  <a:lnTo>
                    <a:pt x="59" y="164"/>
                  </a:lnTo>
                  <a:lnTo>
                    <a:pt x="15" y="169"/>
                  </a:lnTo>
                  <a:lnTo>
                    <a:pt x="0" y="179"/>
                  </a:lnTo>
                  <a:lnTo>
                    <a:pt x="7" y="189"/>
                  </a:lnTo>
                  <a:lnTo>
                    <a:pt x="17" y="197"/>
                  </a:lnTo>
                  <a:lnTo>
                    <a:pt x="17" y="214"/>
                  </a:lnTo>
                  <a:lnTo>
                    <a:pt x="30" y="217"/>
                  </a:lnTo>
                  <a:lnTo>
                    <a:pt x="40" y="229"/>
                  </a:lnTo>
                  <a:lnTo>
                    <a:pt x="57" y="229"/>
                  </a:lnTo>
                  <a:lnTo>
                    <a:pt x="62" y="22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6" name="Freeform 253"/>
            <p:cNvSpPr>
              <a:spLocks/>
            </p:cNvSpPr>
            <p:nvPr/>
          </p:nvSpPr>
          <p:spPr bwMode="auto">
            <a:xfrm>
              <a:off x="5051907" y="3302981"/>
              <a:ext cx="54691" cy="25906"/>
            </a:xfrm>
            <a:custGeom>
              <a:avLst/>
              <a:gdLst>
                <a:gd name="T0" fmla="*/ 18 w 38"/>
                <a:gd name="T1" fmla="*/ 13 h 18"/>
                <a:gd name="T2" fmla="*/ 10 w 38"/>
                <a:gd name="T3" fmla="*/ 15 h 18"/>
                <a:gd name="T4" fmla="*/ 3 w 38"/>
                <a:gd name="T5" fmla="*/ 18 h 18"/>
                <a:gd name="T6" fmla="*/ 0 w 38"/>
                <a:gd name="T7" fmla="*/ 15 h 18"/>
                <a:gd name="T8" fmla="*/ 0 w 38"/>
                <a:gd name="T9" fmla="*/ 13 h 18"/>
                <a:gd name="T10" fmla="*/ 0 w 38"/>
                <a:gd name="T11" fmla="*/ 5 h 18"/>
                <a:gd name="T12" fmla="*/ 3 w 38"/>
                <a:gd name="T13" fmla="*/ 5 h 18"/>
                <a:gd name="T14" fmla="*/ 5 w 38"/>
                <a:gd name="T15" fmla="*/ 5 h 18"/>
                <a:gd name="T16" fmla="*/ 15 w 38"/>
                <a:gd name="T17" fmla="*/ 5 h 18"/>
                <a:gd name="T18" fmla="*/ 28 w 38"/>
                <a:gd name="T19" fmla="*/ 3 h 18"/>
                <a:gd name="T20" fmla="*/ 35 w 38"/>
                <a:gd name="T21" fmla="*/ 0 h 18"/>
                <a:gd name="T22" fmla="*/ 38 w 38"/>
                <a:gd name="T23" fmla="*/ 3 h 18"/>
                <a:gd name="T24" fmla="*/ 35 w 38"/>
                <a:gd name="T25" fmla="*/ 5 h 18"/>
                <a:gd name="T26" fmla="*/ 33 w 38"/>
                <a:gd name="T27" fmla="*/ 8 h 18"/>
                <a:gd name="T28" fmla="*/ 30 w 38"/>
                <a:gd name="T29" fmla="*/ 13 h 18"/>
                <a:gd name="T30" fmla="*/ 20 w 38"/>
                <a:gd name="T31" fmla="*/ 13 h 18"/>
                <a:gd name="T32" fmla="*/ 18 w 38"/>
                <a:gd name="T33" fmla="*/ 13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8" h="18">
                  <a:moveTo>
                    <a:pt x="18" y="13"/>
                  </a:moveTo>
                  <a:lnTo>
                    <a:pt x="10" y="15"/>
                  </a:lnTo>
                  <a:lnTo>
                    <a:pt x="3" y="18"/>
                  </a:lnTo>
                  <a:lnTo>
                    <a:pt x="0" y="15"/>
                  </a:lnTo>
                  <a:lnTo>
                    <a:pt x="0" y="13"/>
                  </a:lnTo>
                  <a:lnTo>
                    <a:pt x="0" y="5"/>
                  </a:lnTo>
                  <a:lnTo>
                    <a:pt x="3" y="5"/>
                  </a:lnTo>
                  <a:lnTo>
                    <a:pt x="5" y="5"/>
                  </a:lnTo>
                  <a:lnTo>
                    <a:pt x="15" y="5"/>
                  </a:lnTo>
                  <a:lnTo>
                    <a:pt x="28" y="3"/>
                  </a:lnTo>
                  <a:lnTo>
                    <a:pt x="35" y="0"/>
                  </a:lnTo>
                  <a:lnTo>
                    <a:pt x="38" y="3"/>
                  </a:lnTo>
                  <a:lnTo>
                    <a:pt x="35" y="5"/>
                  </a:lnTo>
                  <a:lnTo>
                    <a:pt x="33" y="8"/>
                  </a:lnTo>
                  <a:lnTo>
                    <a:pt x="30" y="13"/>
                  </a:lnTo>
                  <a:lnTo>
                    <a:pt x="20" y="13"/>
                  </a:lnTo>
                  <a:lnTo>
                    <a:pt x="18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7" name="Freeform 255"/>
            <p:cNvSpPr>
              <a:spLocks/>
            </p:cNvSpPr>
            <p:nvPr/>
          </p:nvSpPr>
          <p:spPr bwMode="auto">
            <a:xfrm>
              <a:off x="5123869" y="3385018"/>
              <a:ext cx="103625" cy="125213"/>
            </a:xfrm>
            <a:custGeom>
              <a:avLst/>
              <a:gdLst>
                <a:gd name="T0" fmla="*/ 22 w 72"/>
                <a:gd name="T1" fmla="*/ 87 h 87"/>
                <a:gd name="T2" fmla="*/ 37 w 72"/>
                <a:gd name="T3" fmla="*/ 73 h 87"/>
                <a:gd name="T4" fmla="*/ 55 w 72"/>
                <a:gd name="T5" fmla="*/ 60 h 87"/>
                <a:gd name="T6" fmla="*/ 55 w 72"/>
                <a:gd name="T7" fmla="*/ 35 h 87"/>
                <a:gd name="T8" fmla="*/ 72 w 72"/>
                <a:gd name="T9" fmla="*/ 18 h 87"/>
                <a:gd name="T10" fmla="*/ 62 w 72"/>
                <a:gd name="T11" fmla="*/ 0 h 87"/>
                <a:gd name="T12" fmla="*/ 40 w 72"/>
                <a:gd name="T13" fmla="*/ 15 h 87"/>
                <a:gd name="T14" fmla="*/ 17 w 72"/>
                <a:gd name="T15" fmla="*/ 13 h 87"/>
                <a:gd name="T16" fmla="*/ 5 w 72"/>
                <a:gd name="T17" fmla="*/ 3 h 87"/>
                <a:gd name="T18" fmla="*/ 5 w 72"/>
                <a:gd name="T19" fmla="*/ 45 h 87"/>
                <a:gd name="T20" fmla="*/ 0 w 72"/>
                <a:gd name="T21" fmla="*/ 65 h 87"/>
                <a:gd name="T22" fmla="*/ 0 w 72"/>
                <a:gd name="T23" fmla="*/ 87 h 87"/>
                <a:gd name="T24" fmla="*/ 22 w 72"/>
                <a:gd name="T25" fmla="*/ 87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2" h="87">
                  <a:moveTo>
                    <a:pt x="22" y="87"/>
                  </a:moveTo>
                  <a:lnTo>
                    <a:pt x="37" y="73"/>
                  </a:lnTo>
                  <a:lnTo>
                    <a:pt x="55" y="60"/>
                  </a:lnTo>
                  <a:lnTo>
                    <a:pt x="55" y="35"/>
                  </a:lnTo>
                  <a:lnTo>
                    <a:pt x="72" y="18"/>
                  </a:lnTo>
                  <a:lnTo>
                    <a:pt x="62" y="0"/>
                  </a:lnTo>
                  <a:lnTo>
                    <a:pt x="40" y="15"/>
                  </a:lnTo>
                  <a:lnTo>
                    <a:pt x="17" y="13"/>
                  </a:lnTo>
                  <a:lnTo>
                    <a:pt x="5" y="3"/>
                  </a:lnTo>
                  <a:lnTo>
                    <a:pt x="5" y="45"/>
                  </a:lnTo>
                  <a:lnTo>
                    <a:pt x="0" y="65"/>
                  </a:lnTo>
                  <a:lnTo>
                    <a:pt x="0" y="87"/>
                  </a:lnTo>
                  <a:lnTo>
                    <a:pt x="22" y="8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8" name="Freeform 256"/>
            <p:cNvSpPr>
              <a:spLocks/>
            </p:cNvSpPr>
            <p:nvPr/>
          </p:nvSpPr>
          <p:spPr bwMode="auto">
            <a:xfrm>
              <a:off x="5131065" y="3259804"/>
              <a:ext cx="146802" cy="146802"/>
            </a:xfrm>
            <a:custGeom>
              <a:avLst/>
              <a:gdLst>
                <a:gd name="T0" fmla="*/ 0 w 102"/>
                <a:gd name="T1" fmla="*/ 90 h 102"/>
                <a:gd name="T2" fmla="*/ 12 w 102"/>
                <a:gd name="T3" fmla="*/ 100 h 102"/>
                <a:gd name="T4" fmla="*/ 35 w 102"/>
                <a:gd name="T5" fmla="*/ 102 h 102"/>
                <a:gd name="T6" fmla="*/ 57 w 102"/>
                <a:gd name="T7" fmla="*/ 87 h 102"/>
                <a:gd name="T8" fmla="*/ 74 w 102"/>
                <a:gd name="T9" fmla="*/ 75 h 102"/>
                <a:gd name="T10" fmla="*/ 99 w 102"/>
                <a:gd name="T11" fmla="*/ 60 h 102"/>
                <a:gd name="T12" fmla="*/ 102 w 102"/>
                <a:gd name="T13" fmla="*/ 43 h 102"/>
                <a:gd name="T14" fmla="*/ 102 w 102"/>
                <a:gd name="T15" fmla="*/ 20 h 102"/>
                <a:gd name="T16" fmla="*/ 97 w 102"/>
                <a:gd name="T17" fmla="*/ 0 h 102"/>
                <a:gd name="T18" fmla="*/ 72 w 102"/>
                <a:gd name="T19" fmla="*/ 5 h 102"/>
                <a:gd name="T20" fmla="*/ 55 w 102"/>
                <a:gd name="T21" fmla="*/ 5 h 102"/>
                <a:gd name="T22" fmla="*/ 25 w 102"/>
                <a:gd name="T23" fmla="*/ 10 h 102"/>
                <a:gd name="T24" fmla="*/ 10 w 102"/>
                <a:gd name="T25" fmla="*/ 13 h 102"/>
                <a:gd name="T26" fmla="*/ 5 w 102"/>
                <a:gd name="T27" fmla="*/ 30 h 102"/>
                <a:gd name="T28" fmla="*/ 10 w 102"/>
                <a:gd name="T29" fmla="*/ 50 h 102"/>
                <a:gd name="T30" fmla="*/ 25 w 102"/>
                <a:gd name="T31" fmla="*/ 60 h 102"/>
                <a:gd name="T32" fmla="*/ 17 w 102"/>
                <a:gd name="T33" fmla="*/ 80 h 102"/>
                <a:gd name="T34" fmla="*/ 0 w 102"/>
                <a:gd name="T35" fmla="*/ 90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2" h="102">
                  <a:moveTo>
                    <a:pt x="0" y="90"/>
                  </a:moveTo>
                  <a:lnTo>
                    <a:pt x="12" y="100"/>
                  </a:lnTo>
                  <a:lnTo>
                    <a:pt x="35" y="102"/>
                  </a:lnTo>
                  <a:lnTo>
                    <a:pt x="57" y="87"/>
                  </a:lnTo>
                  <a:lnTo>
                    <a:pt x="74" y="75"/>
                  </a:lnTo>
                  <a:lnTo>
                    <a:pt x="99" y="60"/>
                  </a:lnTo>
                  <a:lnTo>
                    <a:pt x="102" y="43"/>
                  </a:lnTo>
                  <a:lnTo>
                    <a:pt x="102" y="20"/>
                  </a:lnTo>
                  <a:lnTo>
                    <a:pt x="97" y="0"/>
                  </a:lnTo>
                  <a:lnTo>
                    <a:pt x="72" y="5"/>
                  </a:lnTo>
                  <a:lnTo>
                    <a:pt x="55" y="5"/>
                  </a:lnTo>
                  <a:lnTo>
                    <a:pt x="25" y="10"/>
                  </a:lnTo>
                  <a:lnTo>
                    <a:pt x="10" y="13"/>
                  </a:lnTo>
                  <a:lnTo>
                    <a:pt x="5" y="30"/>
                  </a:lnTo>
                  <a:lnTo>
                    <a:pt x="10" y="50"/>
                  </a:lnTo>
                  <a:lnTo>
                    <a:pt x="25" y="60"/>
                  </a:lnTo>
                  <a:lnTo>
                    <a:pt x="17" y="80"/>
                  </a:lnTo>
                  <a:lnTo>
                    <a:pt x="0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39" name="Freeform 257"/>
            <p:cNvSpPr>
              <a:spLocks/>
            </p:cNvSpPr>
            <p:nvPr/>
          </p:nvSpPr>
          <p:spPr bwMode="auto">
            <a:xfrm>
              <a:off x="5764328" y="3220946"/>
              <a:ext cx="336781" cy="303678"/>
            </a:xfrm>
            <a:custGeom>
              <a:avLst/>
              <a:gdLst>
                <a:gd name="T0" fmla="*/ 234 w 234"/>
                <a:gd name="T1" fmla="*/ 35 h 211"/>
                <a:gd name="T2" fmla="*/ 196 w 234"/>
                <a:gd name="T3" fmla="*/ 32 h 211"/>
                <a:gd name="T4" fmla="*/ 176 w 234"/>
                <a:gd name="T5" fmla="*/ 25 h 211"/>
                <a:gd name="T6" fmla="*/ 166 w 234"/>
                <a:gd name="T7" fmla="*/ 3 h 211"/>
                <a:gd name="T8" fmla="*/ 159 w 234"/>
                <a:gd name="T9" fmla="*/ 0 h 211"/>
                <a:gd name="T10" fmla="*/ 152 w 234"/>
                <a:gd name="T11" fmla="*/ 15 h 211"/>
                <a:gd name="T12" fmla="*/ 124 w 234"/>
                <a:gd name="T13" fmla="*/ 22 h 211"/>
                <a:gd name="T14" fmla="*/ 112 w 234"/>
                <a:gd name="T15" fmla="*/ 27 h 211"/>
                <a:gd name="T16" fmla="*/ 99 w 234"/>
                <a:gd name="T17" fmla="*/ 22 h 211"/>
                <a:gd name="T18" fmla="*/ 75 w 234"/>
                <a:gd name="T19" fmla="*/ 20 h 211"/>
                <a:gd name="T20" fmla="*/ 67 w 234"/>
                <a:gd name="T21" fmla="*/ 27 h 211"/>
                <a:gd name="T22" fmla="*/ 52 w 234"/>
                <a:gd name="T23" fmla="*/ 30 h 211"/>
                <a:gd name="T24" fmla="*/ 47 w 234"/>
                <a:gd name="T25" fmla="*/ 40 h 211"/>
                <a:gd name="T26" fmla="*/ 35 w 234"/>
                <a:gd name="T27" fmla="*/ 47 h 211"/>
                <a:gd name="T28" fmla="*/ 32 w 234"/>
                <a:gd name="T29" fmla="*/ 62 h 211"/>
                <a:gd name="T30" fmla="*/ 15 w 234"/>
                <a:gd name="T31" fmla="*/ 65 h 211"/>
                <a:gd name="T32" fmla="*/ 0 w 234"/>
                <a:gd name="T33" fmla="*/ 80 h 211"/>
                <a:gd name="T34" fmla="*/ 2 w 234"/>
                <a:gd name="T35" fmla="*/ 107 h 211"/>
                <a:gd name="T36" fmla="*/ 0 w 234"/>
                <a:gd name="T37" fmla="*/ 152 h 211"/>
                <a:gd name="T38" fmla="*/ 20 w 234"/>
                <a:gd name="T39" fmla="*/ 152 h 211"/>
                <a:gd name="T40" fmla="*/ 27 w 234"/>
                <a:gd name="T41" fmla="*/ 172 h 211"/>
                <a:gd name="T42" fmla="*/ 17 w 234"/>
                <a:gd name="T43" fmla="*/ 184 h 211"/>
                <a:gd name="T44" fmla="*/ 15 w 234"/>
                <a:gd name="T45" fmla="*/ 201 h 211"/>
                <a:gd name="T46" fmla="*/ 35 w 234"/>
                <a:gd name="T47" fmla="*/ 211 h 211"/>
                <a:gd name="T48" fmla="*/ 42 w 234"/>
                <a:gd name="T49" fmla="*/ 196 h 211"/>
                <a:gd name="T50" fmla="*/ 94 w 234"/>
                <a:gd name="T51" fmla="*/ 192 h 211"/>
                <a:gd name="T52" fmla="*/ 102 w 234"/>
                <a:gd name="T53" fmla="*/ 172 h 211"/>
                <a:gd name="T54" fmla="*/ 117 w 234"/>
                <a:gd name="T55" fmla="*/ 162 h 211"/>
                <a:gd name="T56" fmla="*/ 134 w 234"/>
                <a:gd name="T57" fmla="*/ 149 h 211"/>
                <a:gd name="T58" fmla="*/ 152 w 234"/>
                <a:gd name="T59" fmla="*/ 147 h 211"/>
                <a:gd name="T60" fmla="*/ 157 w 234"/>
                <a:gd name="T61" fmla="*/ 127 h 211"/>
                <a:gd name="T62" fmla="*/ 166 w 234"/>
                <a:gd name="T63" fmla="*/ 119 h 211"/>
                <a:gd name="T64" fmla="*/ 174 w 234"/>
                <a:gd name="T65" fmla="*/ 100 h 211"/>
                <a:gd name="T66" fmla="*/ 181 w 234"/>
                <a:gd name="T67" fmla="*/ 77 h 211"/>
                <a:gd name="T68" fmla="*/ 186 w 234"/>
                <a:gd name="T69" fmla="*/ 57 h 211"/>
                <a:gd name="T70" fmla="*/ 204 w 234"/>
                <a:gd name="T71" fmla="*/ 52 h 211"/>
                <a:gd name="T72" fmla="*/ 214 w 234"/>
                <a:gd name="T73" fmla="*/ 55 h 211"/>
                <a:gd name="T74" fmla="*/ 229 w 234"/>
                <a:gd name="T75" fmla="*/ 62 h 211"/>
                <a:gd name="T76" fmla="*/ 234 w 234"/>
                <a:gd name="T77" fmla="*/ 35 h 2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234" h="211">
                  <a:moveTo>
                    <a:pt x="234" y="35"/>
                  </a:moveTo>
                  <a:lnTo>
                    <a:pt x="196" y="32"/>
                  </a:lnTo>
                  <a:lnTo>
                    <a:pt x="176" y="25"/>
                  </a:lnTo>
                  <a:lnTo>
                    <a:pt x="166" y="3"/>
                  </a:lnTo>
                  <a:lnTo>
                    <a:pt x="159" y="0"/>
                  </a:lnTo>
                  <a:lnTo>
                    <a:pt x="152" y="15"/>
                  </a:lnTo>
                  <a:lnTo>
                    <a:pt x="124" y="22"/>
                  </a:lnTo>
                  <a:lnTo>
                    <a:pt x="112" y="27"/>
                  </a:lnTo>
                  <a:lnTo>
                    <a:pt x="99" y="22"/>
                  </a:lnTo>
                  <a:lnTo>
                    <a:pt x="75" y="20"/>
                  </a:lnTo>
                  <a:lnTo>
                    <a:pt x="67" y="27"/>
                  </a:lnTo>
                  <a:lnTo>
                    <a:pt x="52" y="30"/>
                  </a:lnTo>
                  <a:lnTo>
                    <a:pt x="47" y="40"/>
                  </a:lnTo>
                  <a:lnTo>
                    <a:pt x="35" y="47"/>
                  </a:lnTo>
                  <a:lnTo>
                    <a:pt x="32" y="62"/>
                  </a:lnTo>
                  <a:lnTo>
                    <a:pt x="15" y="65"/>
                  </a:lnTo>
                  <a:lnTo>
                    <a:pt x="0" y="80"/>
                  </a:lnTo>
                  <a:lnTo>
                    <a:pt x="2" y="107"/>
                  </a:lnTo>
                  <a:lnTo>
                    <a:pt x="0" y="152"/>
                  </a:lnTo>
                  <a:lnTo>
                    <a:pt x="20" y="152"/>
                  </a:lnTo>
                  <a:lnTo>
                    <a:pt x="27" y="172"/>
                  </a:lnTo>
                  <a:lnTo>
                    <a:pt x="17" y="184"/>
                  </a:lnTo>
                  <a:lnTo>
                    <a:pt x="15" y="201"/>
                  </a:lnTo>
                  <a:lnTo>
                    <a:pt x="35" y="211"/>
                  </a:lnTo>
                  <a:lnTo>
                    <a:pt x="42" y="196"/>
                  </a:lnTo>
                  <a:lnTo>
                    <a:pt x="94" y="192"/>
                  </a:lnTo>
                  <a:lnTo>
                    <a:pt x="102" y="172"/>
                  </a:lnTo>
                  <a:lnTo>
                    <a:pt x="117" y="162"/>
                  </a:lnTo>
                  <a:lnTo>
                    <a:pt x="134" y="149"/>
                  </a:lnTo>
                  <a:lnTo>
                    <a:pt x="152" y="147"/>
                  </a:lnTo>
                  <a:lnTo>
                    <a:pt x="157" y="127"/>
                  </a:lnTo>
                  <a:lnTo>
                    <a:pt x="166" y="119"/>
                  </a:lnTo>
                  <a:lnTo>
                    <a:pt x="174" y="100"/>
                  </a:lnTo>
                  <a:lnTo>
                    <a:pt x="181" y="77"/>
                  </a:lnTo>
                  <a:lnTo>
                    <a:pt x="186" y="57"/>
                  </a:lnTo>
                  <a:lnTo>
                    <a:pt x="204" y="52"/>
                  </a:lnTo>
                  <a:lnTo>
                    <a:pt x="214" y="55"/>
                  </a:lnTo>
                  <a:lnTo>
                    <a:pt x="229" y="62"/>
                  </a:lnTo>
                  <a:lnTo>
                    <a:pt x="234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0" name="Freeform 258"/>
            <p:cNvSpPr>
              <a:spLocks/>
            </p:cNvSpPr>
            <p:nvPr/>
          </p:nvSpPr>
          <p:spPr bwMode="auto">
            <a:xfrm>
              <a:off x="5552761" y="3107245"/>
              <a:ext cx="322389" cy="228839"/>
            </a:xfrm>
            <a:custGeom>
              <a:avLst/>
              <a:gdLst>
                <a:gd name="T0" fmla="*/ 222 w 224"/>
                <a:gd name="T1" fmla="*/ 99 h 159"/>
                <a:gd name="T2" fmla="*/ 214 w 224"/>
                <a:gd name="T3" fmla="*/ 106 h 159"/>
                <a:gd name="T4" fmla="*/ 199 w 224"/>
                <a:gd name="T5" fmla="*/ 109 h 159"/>
                <a:gd name="T6" fmla="*/ 194 w 224"/>
                <a:gd name="T7" fmla="*/ 119 h 159"/>
                <a:gd name="T8" fmla="*/ 182 w 224"/>
                <a:gd name="T9" fmla="*/ 126 h 159"/>
                <a:gd name="T10" fmla="*/ 179 w 224"/>
                <a:gd name="T11" fmla="*/ 141 h 159"/>
                <a:gd name="T12" fmla="*/ 162 w 224"/>
                <a:gd name="T13" fmla="*/ 144 h 159"/>
                <a:gd name="T14" fmla="*/ 147 w 224"/>
                <a:gd name="T15" fmla="*/ 159 h 159"/>
                <a:gd name="T16" fmla="*/ 152 w 224"/>
                <a:gd name="T17" fmla="*/ 119 h 159"/>
                <a:gd name="T18" fmla="*/ 127 w 224"/>
                <a:gd name="T19" fmla="*/ 106 h 159"/>
                <a:gd name="T20" fmla="*/ 100 w 224"/>
                <a:gd name="T21" fmla="*/ 87 h 159"/>
                <a:gd name="T22" fmla="*/ 80 w 224"/>
                <a:gd name="T23" fmla="*/ 84 h 159"/>
                <a:gd name="T24" fmla="*/ 47 w 224"/>
                <a:gd name="T25" fmla="*/ 79 h 159"/>
                <a:gd name="T26" fmla="*/ 40 w 224"/>
                <a:gd name="T27" fmla="*/ 94 h 159"/>
                <a:gd name="T28" fmla="*/ 23 w 224"/>
                <a:gd name="T29" fmla="*/ 101 h 159"/>
                <a:gd name="T30" fmla="*/ 20 w 224"/>
                <a:gd name="T31" fmla="*/ 79 h 159"/>
                <a:gd name="T32" fmla="*/ 18 w 224"/>
                <a:gd name="T33" fmla="*/ 67 h 159"/>
                <a:gd name="T34" fmla="*/ 13 w 224"/>
                <a:gd name="T35" fmla="*/ 57 h 159"/>
                <a:gd name="T36" fmla="*/ 10 w 224"/>
                <a:gd name="T37" fmla="*/ 37 h 159"/>
                <a:gd name="T38" fmla="*/ 3 w 224"/>
                <a:gd name="T39" fmla="*/ 29 h 159"/>
                <a:gd name="T40" fmla="*/ 8 w 224"/>
                <a:gd name="T41" fmla="*/ 22 h 159"/>
                <a:gd name="T42" fmla="*/ 0 w 224"/>
                <a:gd name="T43" fmla="*/ 17 h 159"/>
                <a:gd name="T44" fmla="*/ 0 w 224"/>
                <a:gd name="T45" fmla="*/ 5 h 159"/>
                <a:gd name="T46" fmla="*/ 20 w 224"/>
                <a:gd name="T47" fmla="*/ 22 h 159"/>
                <a:gd name="T48" fmla="*/ 30 w 224"/>
                <a:gd name="T49" fmla="*/ 7 h 159"/>
                <a:gd name="T50" fmla="*/ 45 w 224"/>
                <a:gd name="T51" fmla="*/ 0 h 159"/>
                <a:gd name="T52" fmla="*/ 60 w 224"/>
                <a:gd name="T53" fmla="*/ 5 h 159"/>
                <a:gd name="T54" fmla="*/ 60 w 224"/>
                <a:gd name="T55" fmla="*/ 17 h 159"/>
                <a:gd name="T56" fmla="*/ 77 w 224"/>
                <a:gd name="T57" fmla="*/ 22 h 159"/>
                <a:gd name="T58" fmla="*/ 100 w 224"/>
                <a:gd name="T59" fmla="*/ 29 h 159"/>
                <a:gd name="T60" fmla="*/ 102 w 224"/>
                <a:gd name="T61" fmla="*/ 17 h 159"/>
                <a:gd name="T62" fmla="*/ 112 w 224"/>
                <a:gd name="T63" fmla="*/ 12 h 159"/>
                <a:gd name="T64" fmla="*/ 125 w 224"/>
                <a:gd name="T65" fmla="*/ 7 h 159"/>
                <a:gd name="T66" fmla="*/ 130 w 224"/>
                <a:gd name="T67" fmla="*/ 17 h 159"/>
                <a:gd name="T68" fmla="*/ 139 w 224"/>
                <a:gd name="T69" fmla="*/ 24 h 159"/>
                <a:gd name="T70" fmla="*/ 135 w 224"/>
                <a:gd name="T71" fmla="*/ 32 h 159"/>
                <a:gd name="T72" fmla="*/ 149 w 224"/>
                <a:gd name="T73" fmla="*/ 37 h 159"/>
                <a:gd name="T74" fmla="*/ 157 w 224"/>
                <a:gd name="T75" fmla="*/ 37 h 159"/>
                <a:gd name="T76" fmla="*/ 167 w 224"/>
                <a:gd name="T77" fmla="*/ 42 h 159"/>
                <a:gd name="T78" fmla="*/ 162 w 224"/>
                <a:gd name="T79" fmla="*/ 54 h 159"/>
                <a:gd name="T80" fmla="*/ 204 w 224"/>
                <a:gd name="T81" fmla="*/ 89 h 159"/>
                <a:gd name="T82" fmla="*/ 214 w 224"/>
                <a:gd name="T83" fmla="*/ 82 h 159"/>
                <a:gd name="T84" fmla="*/ 224 w 224"/>
                <a:gd name="T85" fmla="*/ 87 h 159"/>
                <a:gd name="T86" fmla="*/ 222 w 224"/>
                <a:gd name="T87" fmla="*/ 99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24" h="159">
                  <a:moveTo>
                    <a:pt x="222" y="99"/>
                  </a:moveTo>
                  <a:lnTo>
                    <a:pt x="214" y="106"/>
                  </a:lnTo>
                  <a:lnTo>
                    <a:pt x="199" y="109"/>
                  </a:lnTo>
                  <a:lnTo>
                    <a:pt x="194" y="119"/>
                  </a:lnTo>
                  <a:lnTo>
                    <a:pt x="182" y="126"/>
                  </a:lnTo>
                  <a:lnTo>
                    <a:pt x="179" y="141"/>
                  </a:lnTo>
                  <a:lnTo>
                    <a:pt x="162" y="144"/>
                  </a:lnTo>
                  <a:lnTo>
                    <a:pt x="147" y="159"/>
                  </a:lnTo>
                  <a:lnTo>
                    <a:pt x="152" y="119"/>
                  </a:lnTo>
                  <a:lnTo>
                    <a:pt x="127" y="106"/>
                  </a:lnTo>
                  <a:lnTo>
                    <a:pt x="100" y="87"/>
                  </a:lnTo>
                  <a:lnTo>
                    <a:pt x="80" y="84"/>
                  </a:lnTo>
                  <a:lnTo>
                    <a:pt x="47" y="79"/>
                  </a:lnTo>
                  <a:lnTo>
                    <a:pt x="40" y="94"/>
                  </a:lnTo>
                  <a:lnTo>
                    <a:pt x="23" y="101"/>
                  </a:lnTo>
                  <a:lnTo>
                    <a:pt x="20" y="79"/>
                  </a:lnTo>
                  <a:lnTo>
                    <a:pt x="18" y="67"/>
                  </a:lnTo>
                  <a:lnTo>
                    <a:pt x="13" y="57"/>
                  </a:lnTo>
                  <a:lnTo>
                    <a:pt x="10" y="37"/>
                  </a:lnTo>
                  <a:lnTo>
                    <a:pt x="3" y="29"/>
                  </a:lnTo>
                  <a:lnTo>
                    <a:pt x="8" y="22"/>
                  </a:lnTo>
                  <a:lnTo>
                    <a:pt x="0" y="17"/>
                  </a:lnTo>
                  <a:lnTo>
                    <a:pt x="0" y="5"/>
                  </a:lnTo>
                  <a:lnTo>
                    <a:pt x="20" y="22"/>
                  </a:lnTo>
                  <a:lnTo>
                    <a:pt x="30" y="7"/>
                  </a:lnTo>
                  <a:lnTo>
                    <a:pt x="45" y="0"/>
                  </a:lnTo>
                  <a:lnTo>
                    <a:pt x="60" y="5"/>
                  </a:lnTo>
                  <a:lnTo>
                    <a:pt x="60" y="17"/>
                  </a:lnTo>
                  <a:lnTo>
                    <a:pt x="77" y="22"/>
                  </a:lnTo>
                  <a:lnTo>
                    <a:pt x="100" y="29"/>
                  </a:lnTo>
                  <a:lnTo>
                    <a:pt x="102" y="17"/>
                  </a:lnTo>
                  <a:lnTo>
                    <a:pt x="112" y="12"/>
                  </a:lnTo>
                  <a:lnTo>
                    <a:pt x="125" y="7"/>
                  </a:lnTo>
                  <a:lnTo>
                    <a:pt x="130" y="17"/>
                  </a:lnTo>
                  <a:lnTo>
                    <a:pt x="139" y="24"/>
                  </a:lnTo>
                  <a:lnTo>
                    <a:pt x="135" y="32"/>
                  </a:lnTo>
                  <a:lnTo>
                    <a:pt x="149" y="37"/>
                  </a:lnTo>
                  <a:lnTo>
                    <a:pt x="157" y="37"/>
                  </a:lnTo>
                  <a:lnTo>
                    <a:pt x="167" y="42"/>
                  </a:lnTo>
                  <a:lnTo>
                    <a:pt x="162" y="54"/>
                  </a:lnTo>
                  <a:lnTo>
                    <a:pt x="204" y="89"/>
                  </a:lnTo>
                  <a:lnTo>
                    <a:pt x="214" y="82"/>
                  </a:lnTo>
                  <a:lnTo>
                    <a:pt x="224" y="87"/>
                  </a:lnTo>
                  <a:lnTo>
                    <a:pt x="222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1" name="Freeform 259"/>
            <p:cNvSpPr>
              <a:spLocks/>
            </p:cNvSpPr>
            <p:nvPr/>
          </p:nvSpPr>
          <p:spPr bwMode="auto">
            <a:xfrm>
              <a:off x="5925523" y="3138909"/>
              <a:ext cx="207250" cy="132410"/>
            </a:xfrm>
            <a:custGeom>
              <a:avLst/>
              <a:gdLst>
                <a:gd name="T0" fmla="*/ 45 w 144"/>
                <a:gd name="T1" fmla="*/ 10 h 92"/>
                <a:gd name="T2" fmla="*/ 35 w 144"/>
                <a:gd name="T3" fmla="*/ 30 h 92"/>
                <a:gd name="T4" fmla="*/ 20 w 144"/>
                <a:gd name="T5" fmla="*/ 50 h 92"/>
                <a:gd name="T6" fmla="*/ 0 w 144"/>
                <a:gd name="T7" fmla="*/ 84 h 92"/>
                <a:gd name="T8" fmla="*/ 12 w 144"/>
                <a:gd name="T9" fmla="*/ 79 h 92"/>
                <a:gd name="T10" fmla="*/ 40 w 144"/>
                <a:gd name="T11" fmla="*/ 72 h 92"/>
                <a:gd name="T12" fmla="*/ 47 w 144"/>
                <a:gd name="T13" fmla="*/ 57 h 92"/>
                <a:gd name="T14" fmla="*/ 54 w 144"/>
                <a:gd name="T15" fmla="*/ 60 h 92"/>
                <a:gd name="T16" fmla="*/ 64 w 144"/>
                <a:gd name="T17" fmla="*/ 82 h 92"/>
                <a:gd name="T18" fmla="*/ 84 w 144"/>
                <a:gd name="T19" fmla="*/ 89 h 92"/>
                <a:gd name="T20" fmla="*/ 122 w 144"/>
                <a:gd name="T21" fmla="*/ 92 h 92"/>
                <a:gd name="T22" fmla="*/ 122 w 144"/>
                <a:gd name="T23" fmla="*/ 75 h 92"/>
                <a:gd name="T24" fmla="*/ 119 w 144"/>
                <a:gd name="T25" fmla="*/ 77 h 92"/>
                <a:gd name="T26" fmla="*/ 99 w 144"/>
                <a:gd name="T27" fmla="*/ 65 h 92"/>
                <a:gd name="T28" fmla="*/ 102 w 144"/>
                <a:gd name="T29" fmla="*/ 37 h 92"/>
                <a:gd name="T30" fmla="*/ 117 w 144"/>
                <a:gd name="T31" fmla="*/ 27 h 92"/>
                <a:gd name="T32" fmla="*/ 144 w 144"/>
                <a:gd name="T33" fmla="*/ 45 h 92"/>
                <a:gd name="T34" fmla="*/ 127 w 144"/>
                <a:gd name="T35" fmla="*/ 0 h 92"/>
                <a:gd name="T36" fmla="*/ 107 w 144"/>
                <a:gd name="T37" fmla="*/ 15 h 92"/>
                <a:gd name="T38" fmla="*/ 87 w 144"/>
                <a:gd name="T39" fmla="*/ 17 h 92"/>
                <a:gd name="T40" fmla="*/ 45 w 144"/>
                <a:gd name="T41" fmla="*/ 1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44" h="92">
                  <a:moveTo>
                    <a:pt x="45" y="10"/>
                  </a:moveTo>
                  <a:lnTo>
                    <a:pt x="35" y="30"/>
                  </a:lnTo>
                  <a:lnTo>
                    <a:pt x="20" y="50"/>
                  </a:lnTo>
                  <a:lnTo>
                    <a:pt x="0" y="84"/>
                  </a:lnTo>
                  <a:lnTo>
                    <a:pt x="12" y="79"/>
                  </a:lnTo>
                  <a:lnTo>
                    <a:pt x="40" y="72"/>
                  </a:lnTo>
                  <a:lnTo>
                    <a:pt x="47" y="57"/>
                  </a:lnTo>
                  <a:lnTo>
                    <a:pt x="54" y="60"/>
                  </a:lnTo>
                  <a:lnTo>
                    <a:pt x="64" y="82"/>
                  </a:lnTo>
                  <a:lnTo>
                    <a:pt x="84" y="89"/>
                  </a:lnTo>
                  <a:lnTo>
                    <a:pt x="122" y="92"/>
                  </a:lnTo>
                  <a:lnTo>
                    <a:pt x="122" y="75"/>
                  </a:lnTo>
                  <a:lnTo>
                    <a:pt x="119" y="77"/>
                  </a:lnTo>
                  <a:lnTo>
                    <a:pt x="99" y="65"/>
                  </a:lnTo>
                  <a:lnTo>
                    <a:pt x="102" y="37"/>
                  </a:lnTo>
                  <a:lnTo>
                    <a:pt x="117" y="27"/>
                  </a:lnTo>
                  <a:lnTo>
                    <a:pt x="144" y="45"/>
                  </a:lnTo>
                  <a:lnTo>
                    <a:pt x="127" y="0"/>
                  </a:lnTo>
                  <a:lnTo>
                    <a:pt x="107" y="15"/>
                  </a:lnTo>
                  <a:lnTo>
                    <a:pt x="87" y="17"/>
                  </a:lnTo>
                  <a:lnTo>
                    <a:pt x="4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2" name="Freeform 260"/>
            <p:cNvSpPr>
              <a:spLocks/>
            </p:cNvSpPr>
            <p:nvPr/>
          </p:nvSpPr>
          <p:spPr bwMode="auto">
            <a:xfrm>
              <a:off x="5663582" y="2967640"/>
              <a:ext cx="326707" cy="292164"/>
            </a:xfrm>
            <a:custGeom>
              <a:avLst/>
              <a:gdLst>
                <a:gd name="T0" fmla="*/ 182 w 227"/>
                <a:gd name="T1" fmla="*/ 203 h 203"/>
                <a:gd name="T2" fmla="*/ 169 w 227"/>
                <a:gd name="T3" fmla="*/ 198 h 203"/>
                <a:gd name="T4" fmla="*/ 145 w 227"/>
                <a:gd name="T5" fmla="*/ 196 h 203"/>
                <a:gd name="T6" fmla="*/ 147 w 227"/>
                <a:gd name="T7" fmla="*/ 184 h 203"/>
                <a:gd name="T8" fmla="*/ 137 w 227"/>
                <a:gd name="T9" fmla="*/ 179 h 203"/>
                <a:gd name="T10" fmla="*/ 127 w 227"/>
                <a:gd name="T11" fmla="*/ 186 h 203"/>
                <a:gd name="T12" fmla="*/ 85 w 227"/>
                <a:gd name="T13" fmla="*/ 151 h 203"/>
                <a:gd name="T14" fmla="*/ 90 w 227"/>
                <a:gd name="T15" fmla="*/ 139 h 203"/>
                <a:gd name="T16" fmla="*/ 80 w 227"/>
                <a:gd name="T17" fmla="*/ 134 h 203"/>
                <a:gd name="T18" fmla="*/ 72 w 227"/>
                <a:gd name="T19" fmla="*/ 134 h 203"/>
                <a:gd name="T20" fmla="*/ 58 w 227"/>
                <a:gd name="T21" fmla="*/ 129 h 203"/>
                <a:gd name="T22" fmla="*/ 62 w 227"/>
                <a:gd name="T23" fmla="*/ 121 h 203"/>
                <a:gd name="T24" fmla="*/ 53 w 227"/>
                <a:gd name="T25" fmla="*/ 114 h 203"/>
                <a:gd name="T26" fmla="*/ 48 w 227"/>
                <a:gd name="T27" fmla="*/ 104 h 203"/>
                <a:gd name="T28" fmla="*/ 35 w 227"/>
                <a:gd name="T29" fmla="*/ 109 h 203"/>
                <a:gd name="T30" fmla="*/ 25 w 227"/>
                <a:gd name="T31" fmla="*/ 114 h 203"/>
                <a:gd name="T32" fmla="*/ 23 w 227"/>
                <a:gd name="T33" fmla="*/ 126 h 203"/>
                <a:gd name="T34" fmla="*/ 0 w 227"/>
                <a:gd name="T35" fmla="*/ 119 h 203"/>
                <a:gd name="T36" fmla="*/ 13 w 227"/>
                <a:gd name="T37" fmla="*/ 29 h 203"/>
                <a:gd name="T38" fmla="*/ 50 w 227"/>
                <a:gd name="T39" fmla="*/ 0 h 203"/>
                <a:gd name="T40" fmla="*/ 55 w 227"/>
                <a:gd name="T41" fmla="*/ 44 h 203"/>
                <a:gd name="T42" fmla="*/ 72 w 227"/>
                <a:gd name="T43" fmla="*/ 44 h 203"/>
                <a:gd name="T44" fmla="*/ 82 w 227"/>
                <a:gd name="T45" fmla="*/ 54 h 203"/>
                <a:gd name="T46" fmla="*/ 105 w 227"/>
                <a:gd name="T47" fmla="*/ 54 h 203"/>
                <a:gd name="T48" fmla="*/ 105 w 227"/>
                <a:gd name="T49" fmla="*/ 24 h 203"/>
                <a:gd name="T50" fmla="*/ 117 w 227"/>
                <a:gd name="T51" fmla="*/ 47 h 203"/>
                <a:gd name="T52" fmla="*/ 122 w 227"/>
                <a:gd name="T53" fmla="*/ 62 h 203"/>
                <a:gd name="T54" fmla="*/ 145 w 227"/>
                <a:gd name="T55" fmla="*/ 54 h 203"/>
                <a:gd name="T56" fmla="*/ 164 w 227"/>
                <a:gd name="T57" fmla="*/ 59 h 203"/>
                <a:gd name="T58" fmla="*/ 184 w 227"/>
                <a:gd name="T59" fmla="*/ 67 h 203"/>
                <a:gd name="T60" fmla="*/ 187 w 227"/>
                <a:gd name="T61" fmla="*/ 94 h 203"/>
                <a:gd name="T62" fmla="*/ 192 w 227"/>
                <a:gd name="T63" fmla="*/ 109 h 203"/>
                <a:gd name="T64" fmla="*/ 214 w 227"/>
                <a:gd name="T65" fmla="*/ 119 h 203"/>
                <a:gd name="T66" fmla="*/ 227 w 227"/>
                <a:gd name="T67" fmla="*/ 129 h 203"/>
                <a:gd name="T68" fmla="*/ 217 w 227"/>
                <a:gd name="T69" fmla="*/ 149 h 203"/>
                <a:gd name="T70" fmla="*/ 202 w 227"/>
                <a:gd name="T71" fmla="*/ 169 h 203"/>
                <a:gd name="T72" fmla="*/ 182 w 227"/>
                <a:gd name="T73" fmla="*/ 203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27" h="203">
                  <a:moveTo>
                    <a:pt x="182" y="203"/>
                  </a:moveTo>
                  <a:lnTo>
                    <a:pt x="169" y="198"/>
                  </a:lnTo>
                  <a:lnTo>
                    <a:pt x="145" y="196"/>
                  </a:lnTo>
                  <a:lnTo>
                    <a:pt x="147" y="184"/>
                  </a:lnTo>
                  <a:lnTo>
                    <a:pt x="137" y="179"/>
                  </a:lnTo>
                  <a:lnTo>
                    <a:pt x="127" y="186"/>
                  </a:lnTo>
                  <a:lnTo>
                    <a:pt x="85" y="151"/>
                  </a:lnTo>
                  <a:lnTo>
                    <a:pt x="90" y="139"/>
                  </a:lnTo>
                  <a:lnTo>
                    <a:pt x="80" y="134"/>
                  </a:lnTo>
                  <a:lnTo>
                    <a:pt x="72" y="134"/>
                  </a:lnTo>
                  <a:lnTo>
                    <a:pt x="58" y="129"/>
                  </a:lnTo>
                  <a:lnTo>
                    <a:pt x="62" y="121"/>
                  </a:lnTo>
                  <a:lnTo>
                    <a:pt x="53" y="114"/>
                  </a:lnTo>
                  <a:lnTo>
                    <a:pt x="48" y="104"/>
                  </a:lnTo>
                  <a:lnTo>
                    <a:pt x="35" y="109"/>
                  </a:lnTo>
                  <a:lnTo>
                    <a:pt x="25" y="114"/>
                  </a:lnTo>
                  <a:lnTo>
                    <a:pt x="23" y="126"/>
                  </a:lnTo>
                  <a:lnTo>
                    <a:pt x="0" y="119"/>
                  </a:lnTo>
                  <a:lnTo>
                    <a:pt x="13" y="29"/>
                  </a:lnTo>
                  <a:lnTo>
                    <a:pt x="50" y="0"/>
                  </a:lnTo>
                  <a:lnTo>
                    <a:pt x="55" y="44"/>
                  </a:lnTo>
                  <a:lnTo>
                    <a:pt x="72" y="44"/>
                  </a:lnTo>
                  <a:lnTo>
                    <a:pt x="82" y="54"/>
                  </a:lnTo>
                  <a:lnTo>
                    <a:pt x="105" y="54"/>
                  </a:lnTo>
                  <a:lnTo>
                    <a:pt x="105" y="24"/>
                  </a:lnTo>
                  <a:lnTo>
                    <a:pt x="117" y="47"/>
                  </a:lnTo>
                  <a:lnTo>
                    <a:pt x="122" y="62"/>
                  </a:lnTo>
                  <a:lnTo>
                    <a:pt x="145" y="54"/>
                  </a:lnTo>
                  <a:lnTo>
                    <a:pt x="164" y="59"/>
                  </a:lnTo>
                  <a:lnTo>
                    <a:pt x="184" y="67"/>
                  </a:lnTo>
                  <a:lnTo>
                    <a:pt x="187" y="94"/>
                  </a:lnTo>
                  <a:lnTo>
                    <a:pt x="192" y="109"/>
                  </a:lnTo>
                  <a:lnTo>
                    <a:pt x="214" y="119"/>
                  </a:lnTo>
                  <a:lnTo>
                    <a:pt x="227" y="129"/>
                  </a:lnTo>
                  <a:lnTo>
                    <a:pt x="217" y="149"/>
                  </a:lnTo>
                  <a:lnTo>
                    <a:pt x="202" y="169"/>
                  </a:lnTo>
                  <a:lnTo>
                    <a:pt x="182" y="20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3" name="Freeform 261"/>
            <p:cNvSpPr>
              <a:spLocks/>
            </p:cNvSpPr>
            <p:nvPr/>
          </p:nvSpPr>
          <p:spPr bwMode="auto">
            <a:xfrm>
              <a:off x="5357025" y="3045359"/>
              <a:ext cx="132410" cy="153998"/>
            </a:xfrm>
            <a:custGeom>
              <a:avLst/>
              <a:gdLst>
                <a:gd name="T0" fmla="*/ 0 w 92"/>
                <a:gd name="T1" fmla="*/ 10 h 107"/>
                <a:gd name="T2" fmla="*/ 7 w 92"/>
                <a:gd name="T3" fmla="*/ 35 h 107"/>
                <a:gd name="T4" fmla="*/ 19 w 92"/>
                <a:gd name="T5" fmla="*/ 62 h 107"/>
                <a:gd name="T6" fmla="*/ 37 w 92"/>
                <a:gd name="T7" fmla="*/ 95 h 107"/>
                <a:gd name="T8" fmla="*/ 22 w 92"/>
                <a:gd name="T9" fmla="*/ 105 h 107"/>
                <a:gd name="T10" fmla="*/ 44 w 92"/>
                <a:gd name="T11" fmla="*/ 105 h 107"/>
                <a:gd name="T12" fmla="*/ 49 w 92"/>
                <a:gd name="T13" fmla="*/ 90 h 107"/>
                <a:gd name="T14" fmla="*/ 59 w 92"/>
                <a:gd name="T15" fmla="*/ 85 h 107"/>
                <a:gd name="T16" fmla="*/ 67 w 92"/>
                <a:gd name="T17" fmla="*/ 107 h 107"/>
                <a:gd name="T18" fmla="*/ 77 w 92"/>
                <a:gd name="T19" fmla="*/ 100 h 107"/>
                <a:gd name="T20" fmla="*/ 82 w 92"/>
                <a:gd name="T21" fmla="*/ 80 h 107"/>
                <a:gd name="T22" fmla="*/ 92 w 92"/>
                <a:gd name="T23" fmla="*/ 75 h 107"/>
                <a:gd name="T24" fmla="*/ 89 w 92"/>
                <a:gd name="T25" fmla="*/ 65 h 107"/>
                <a:gd name="T26" fmla="*/ 72 w 92"/>
                <a:gd name="T27" fmla="*/ 53 h 107"/>
                <a:gd name="T28" fmla="*/ 54 w 92"/>
                <a:gd name="T29" fmla="*/ 35 h 107"/>
                <a:gd name="T30" fmla="*/ 34 w 92"/>
                <a:gd name="T31" fmla="*/ 0 h 107"/>
                <a:gd name="T32" fmla="*/ 0 w 92"/>
                <a:gd name="T33" fmla="*/ 10 h 1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2" h="107">
                  <a:moveTo>
                    <a:pt x="0" y="10"/>
                  </a:moveTo>
                  <a:lnTo>
                    <a:pt x="7" y="35"/>
                  </a:lnTo>
                  <a:lnTo>
                    <a:pt x="19" y="62"/>
                  </a:lnTo>
                  <a:lnTo>
                    <a:pt x="37" y="95"/>
                  </a:lnTo>
                  <a:lnTo>
                    <a:pt x="22" y="105"/>
                  </a:lnTo>
                  <a:lnTo>
                    <a:pt x="44" y="105"/>
                  </a:lnTo>
                  <a:lnTo>
                    <a:pt x="49" y="90"/>
                  </a:lnTo>
                  <a:lnTo>
                    <a:pt x="59" y="85"/>
                  </a:lnTo>
                  <a:lnTo>
                    <a:pt x="67" y="107"/>
                  </a:lnTo>
                  <a:lnTo>
                    <a:pt x="77" y="100"/>
                  </a:lnTo>
                  <a:lnTo>
                    <a:pt x="82" y="80"/>
                  </a:lnTo>
                  <a:lnTo>
                    <a:pt x="92" y="75"/>
                  </a:lnTo>
                  <a:lnTo>
                    <a:pt x="89" y="65"/>
                  </a:lnTo>
                  <a:lnTo>
                    <a:pt x="72" y="53"/>
                  </a:lnTo>
                  <a:lnTo>
                    <a:pt x="54" y="35"/>
                  </a:lnTo>
                  <a:lnTo>
                    <a:pt x="34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4" name="Freeform 262"/>
            <p:cNvSpPr>
              <a:spLocks/>
            </p:cNvSpPr>
            <p:nvPr/>
          </p:nvSpPr>
          <p:spPr bwMode="auto">
            <a:xfrm>
              <a:off x="3850145" y="3965030"/>
              <a:ext cx="86354" cy="25906"/>
            </a:xfrm>
            <a:custGeom>
              <a:avLst/>
              <a:gdLst>
                <a:gd name="T0" fmla="*/ 5 w 60"/>
                <a:gd name="T1" fmla="*/ 0 h 18"/>
                <a:gd name="T2" fmla="*/ 27 w 60"/>
                <a:gd name="T3" fmla="*/ 3 h 18"/>
                <a:gd name="T4" fmla="*/ 37 w 60"/>
                <a:gd name="T5" fmla="*/ 0 h 18"/>
                <a:gd name="T6" fmla="*/ 60 w 60"/>
                <a:gd name="T7" fmla="*/ 3 h 18"/>
                <a:gd name="T8" fmla="*/ 60 w 60"/>
                <a:gd name="T9" fmla="*/ 13 h 18"/>
                <a:gd name="T10" fmla="*/ 47 w 60"/>
                <a:gd name="T11" fmla="*/ 10 h 18"/>
                <a:gd name="T12" fmla="*/ 37 w 60"/>
                <a:gd name="T13" fmla="*/ 8 h 18"/>
                <a:gd name="T14" fmla="*/ 20 w 60"/>
                <a:gd name="T15" fmla="*/ 18 h 18"/>
                <a:gd name="T16" fmla="*/ 0 w 60"/>
                <a:gd name="T17" fmla="*/ 15 h 18"/>
                <a:gd name="T18" fmla="*/ 12 w 60"/>
                <a:gd name="T19" fmla="*/ 8 h 18"/>
                <a:gd name="T20" fmla="*/ 5 w 60"/>
                <a:gd name="T2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60" h="18">
                  <a:moveTo>
                    <a:pt x="5" y="0"/>
                  </a:moveTo>
                  <a:lnTo>
                    <a:pt x="27" y="3"/>
                  </a:lnTo>
                  <a:lnTo>
                    <a:pt x="37" y="0"/>
                  </a:lnTo>
                  <a:lnTo>
                    <a:pt x="60" y="3"/>
                  </a:lnTo>
                  <a:lnTo>
                    <a:pt x="60" y="13"/>
                  </a:lnTo>
                  <a:lnTo>
                    <a:pt x="47" y="10"/>
                  </a:lnTo>
                  <a:lnTo>
                    <a:pt x="37" y="8"/>
                  </a:lnTo>
                  <a:lnTo>
                    <a:pt x="20" y="18"/>
                  </a:lnTo>
                  <a:lnTo>
                    <a:pt x="0" y="15"/>
                  </a:lnTo>
                  <a:lnTo>
                    <a:pt x="12" y="8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5" name="Freeform 263"/>
            <p:cNvSpPr>
              <a:spLocks/>
            </p:cNvSpPr>
            <p:nvPr/>
          </p:nvSpPr>
          <p:spPr bwMode="auto">
            <a:xfrm>
              <a:off x="3850145" y="3998133"/>
              <a:ext cx="74840" cy="38859"/>
            </a:xfrm>
            <a:custGeom>
              <a:avLst/>
              <a:gdLst>
                <a:gd name="T0" fmla="*/ 52 w 52"/>
                <a:gd name="T1" fmla="*/ 7 h 27"/>
                <a:gd name="T2" fmla="*/ 27 w 52"/>
                <a:gd name="T3" fmla="*/ 0 h 27"/>
                <a:gd name="T4" fmla="*/ 0 w 52"/>
                <a:gd name="T5" fmla="*/ 5 h 27"/>
                <a:gd name="T6" fmla="*/ 0 w 52"/>
                <a:gd name="T7" fmla="*/ 19 h 27"/>
                <a:gd name="T8" fmla="*/ 15 w 52"/>
                <a:gd name="T9" fmla="*/ 19 h 27"/>
                <a:gd name="T10" fmla="*/ 22 w 52"/>
                <a:gd name="T11" fmla="*/ 27 h 27"/>
                <a:gd name="T12" fmla="*/ 32 w 52"/>
                <a:gd name="T13" fmla="*/ 14 h 27"/>
                <a:gd name="T14" fmla="*/ 52 w 52"/>
                <a:gd name="T15" fmla="*/ 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2" h="27">
                  <a:moveTo>
                    <a:pt x="52" y="7"/>
                  </a:moveTo>
                  <a:lnTo>
                    <a:pt x="27" y="0"/>
                  </a:lnTo>
                  <a:lnTo>
                    <a:pt x="0" y="5"/>
                  </a:lnTo>
                  <a:lnTo>
                    <a:pt x="0" y="19"/>
                  </a:lnTo>
                  <a:lnTo>
                    <a:pt x="15" y="19"/>
                  </a:lnTo>
                  <a:lnTo>
                    <a:pt x="22" y="27"/>
                  </a:lnTo>
                  <a:lnTo>
                    <a:pt x="32" y="14"/>
                  </a:lnTo>
                  <a:lnTo>
                    <a:pt x="52" y="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6" name="Freeform 264"/>
            <p:cNvSpPr>
              <a:spLocks/>
            </p:cNvSpPr>
            <p:nvPr/>
          </p:nvSpPr>
          <p:spPr bwMode="auto">
            <a:xfrm>
              <a:off x="4644603" y="2874089"/>
              <a:ext cx="156877" cy="86354"/>
            </a:xfrm>
            <a:custGeom>
              <a:avLst/>
              <a:gdLst>
                <a:gd name="T0" fmla="*/ 109 w 109"/>
                <a:gd name="T1" fmla="*/ 15 h 60"/>
                <a:gd name="T2" fmla="*/ 94 w 109"/>
                <a:gd name="T3" fmla="*/ 2 h 60"/>
                <a:gd name="T4" fmla="*/ 87 w 109"/>
                <a:gd name="T5" fmla="*/ 0 h 60"/>
                <a:gd name="T6" fmla="*/ 57 w 109"/>
                <a:gd name="T7" fmla="*/ 5 h 60"/>
                <a:gd name="T8" fmla="*/ 37 w 109"/>
                <a:gd name="T9" fmla="*/ 5 h 60"/>
                <a:gd name="T10" fmla="*/ 12 w 109"/>
                <a:gd name="T11" fmla="*/ 2 h 60"/>
                <a:gd name="T12" fmla="*/ 15 w 109"/>
                <a:gd name="T13" fmla="*/ 20 h 60"/>
                <a:gd name="T14" fmla="*/ 7 w 109"/>
                <a:gd name="T15" fmla="*/ 30 h 60"/>
                <a:gd name="T16" fmla="*/ 7 w 109"/>
                <a:gd name="T17" fmla="*/ 35 h 60"/>
                <a:gd name="T18" fmla="*/ 0 w 109"/>
                <a:gd name="T19" fmla="*/ 42 h 60"/>
                <a:gd name="T20" fmla="*/ 7 w 109"/>
                <a:gd name="T21" fmla="*/ 45 h 60"/>
                <a:gd name="T22" fmla="*/ 27 w 109"/>
                <a:gd name="T23" fmla="*/ 55 h 60"/>
                <a:gd name="T24" fmla="*/ 47 w 109"/>
                <a:gd name="T25" fmla="*/ 60 h 60"/>
                <a:gd name="T26" fmla="*/ 57 w 109"/>
                <a:gd name="T27" fmla="*/ 50 h 60"/>
                <a:gd name="T28" fmla="*/ 72 w 109"/>
                <a:gd name="T29" fmla="*/ 52 h 60"/>
                <a:gd name="T30" fmla="*/ 89 w 109"/>
                <a:gd name="T31" fmla="*/ 47 h 60"/>
                <a:gd name="T32" fmla="*/ 102 w 109"/>
                <a:gd name="T33" fmla="*/ 27 h 60"/>
                <a:gd name="T34" fmla="*/ 109 w 109"/>
                <a:gd name="T35" fmla="*/ 15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09" h="60">
                  <a:moveTo>
                    <a:pt x="109" y="15"/>
                  </a:moveTo>
                  <a:lnTo>
                    <a:pt x="94" y="2"/>
                  </a:lnTo>
                  <a:lnTo>
                    <a:pt x="87" y="0"/>
                  </a:lnTo>
                  <a:lnTo>
                    <a:pt x="57" y="5"/>
                  </a:lnTo>
                  <a:lnTo>
                    <a:pt x="37" y="5"/>
                  </a:lnTo>
                  <a:lnTo>
                    <a:pt x="12" y="2"/>
                  </a:lnTo>
                  <a:lnTo>
                    <a:pt x="15" y="20"/>
                  </a:lnTo>
                  <a:lnTo>
                    <a:pt x="7" y="30"/>
                  </a:lnTo>
                  <a:lnTo>
                    <a:pt x="7" y="35"/>
                  </a:lnTo>
                  <a:lnTo>
                    <a:pt x="0" y="42"/>
                  </a:lnTo>
                  <a:lnTo>
                    <a:pt x="7" y="45"/>
                  </a:lnTo>
                  <a:lnTo>
                    <a:pt x="27" y="55"/>
                  </a:lnTo>
                  <a:lnTo>
                    <a:pt x="47" y="60"/>
                  </a:lnTo>
                  <a:lnTo>
                    <a:pt x="57" y="50"/>
                  </a:lnTo>
                  <a:lnTo>
                    <a:pt x="72" y="52"/>
                  </a:lnTo>
                  <a:lnTo>
                    <a:pt x="89" y="47"/>
                  </a:lnTo>
                  <a:lnTo>
                    <a:pt x="102" y="27"/>
                  </a:lnTo>
                  <a:lnTo>
                    <a:pt x="109" y="1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7" name="Freeform 265"/>
            <p:cNvSpPr>
              <a:spLocks/>
            </p:cNvSpPr>
            <p:nvPr/>
          </p:nvSpPr>
          <p:spPr bwMode="auto">
            <a:xfrm>
              <a:off x="4340925" y="2766147"/>
              <a:ext cx="77719" cy="64765"/>
            </a:xfrm>
            <a:custGeom>
              <a:avLst/>
              <a:gdLst>
                <a:gd name="T0" fmla="*/ 0 w 54"/>
                <a:gd name="T1" fmla="*/ 3 h 45"/>
                <a:gd name="T2" fmla="*/ 0 w 54"/>
                <a:gd name="T3" fmla="*/ 15 h 45"/>
                <a:gd name="T4" fmla="*/ 12 w 54"/>
                <a:gd name="T5" fmla="*/ 23 h 45"/>
                <a:gd name="T6" fmla="*/ 19 w 54"/>
                <a:gd name="T7" fmla="*/ 38 h 45"/>
                <a:gd name="T8" fmla="*/ 42 w 54"/>
                <a:gd name="T9" fmla="*/ 45 h 45"/>
                <a:gd name="T10" fmla="*/ 44 w 54"/>
                <a:gd name="T11" fmla="*/ 35 h 45"/>
                <a:gd name="T12" fmla="*/ 54 w 54"/>
                <a:gd name="T13" fmla="*/ 23 h 45"/>
                <a:gd name="T14" fmla="*/ 44 w 54"/>
                <a:gd name="T15" fmla="*/ 18 h 45"/>
                <a:gd name="T16" fmla="*/ 39 w 54"/>
                <a:gd name="T17" fmla="*/ 3 h 45"/>
                <a:gd name="T18" fmla="*/ 29 w 54"/>
                <a:gd name="T19" fmla="*/ 0 h 45"/>
                <a:gd name="T20" fmla="*/ 19 w 54"/>
                <a:gd name="T21" fmla="*/ 3 h 45"/>
                <a:gd name="T22" fmla="*/ 0 w 54"/>
                <a:gd name="T23" fmla="*/ 3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4" h="45">
                  <a:moveTo>
                    <a:pt x="0" y="3"/>
                  </a:moveTo>
                  <a:lnTo>
                    <a:pt x="0" y="15"/>
                  </a:lnTo>
                  <a:lnTo>
                    <a:pt x="12" y="23"/>
                  </a:lnTo>
                  <a:lnTo>
                    <a:pt x="19" y="38"/>
                  </a:lnTo>
                  <a:lnTo>
                    <a:pt x="42" y="45"/>
                  </a:lnTo>
                  <a:lnTo>
                    <a:pt x="44" y="35"/>
                  </a:lnTo>
                  <a:lnTo>
                    <a:pt x="54" y="23"/>
                  </a:lnTo>
                  <a:lnTo>
                    <a:pt x="44" y="18"/>
                  </a:lnTo>
                  <a:lnTo>
                    <a:pt x="39" y="3"/>
                  </a:lnTo>
                  <a:lnTo>
                    <a:pt x="29" y="0"/>
                  </a:lnTo>
                  <a:lnTo>
                    <a:pt x="19" y="3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8" name="Freeform 266"/>
            <p:cNvSpPr>
              <a:spLocks/>
            </p:cNvSpPr>
            <p:nvPr/>
          </p:nvSpPr>
          <p:spPr bwMode="auto">
            <a:xfrm>
              <a:off x="4418644" y="2898557"/>
              <a:ext cx="86354" cy="50373"/>
            </a:xfrm>
            <a:custGeom>
              <a:avLst/>
              <a:gdLst>
                <a:gd name="T0" fmla="*/ 10 w 60"/>
                <a:gd name="T1" fmla="*/ 35 h 35"/>
                <a:gd name="T2" fmla="*/ 0 w 60"/>
                <a:gd name="T3" fmla="*/ 28 h 35"/>
                <a:gd name="T4" fmla="*/ 5 w 60"/>
                <a:gd name="T5" fmla="*/ 15 h 35"/>
                <a:gd name="T6" fmla="*/ 13 w 60"/>
                <a:gd name="T7" fmla="*/ 5 h 35"/>
                <a:gd name="T8" fmla="*/ 23 w 60"/>
                <a:gd name="T9" fmla="*/ 3 h 35"/>
                <a:gd name="T10" fmla="*/ 33 w 60"/>
                <a:gd name="T11" fmla="*/ 3 h 35"/>
                <a:gd name="T12" fmla="*/ 45 w 60"/>
                <a:gd name="T13" fmla="*/ 0 h 35"/>
                <a:gd name="T14" fmla="*/ 55 w 60"/>
                <a:gd name="T15" fmla="*/ 5 h 35"/>
                <a:gd name="T16" fmla="*/ 60 w 60"/>
                <a:gd name="T17" fmla="*/ 18 h 35"/>
                <a:gd name="T18" fmla="*/ 52 w 60"/>
                <a:gd name="T19" fmla="*/ 33 h 35"/>
                <a:gd name="T20" fmla="*/ 45 w 60"/>
                <a:gd name="T21" fmla="*/ 28 h 35"/>
                <a:gd name="T22" fmla="*/ 40 w 60"/>
                <a:gd name="T23" fmla="*/ 35 h 35"/>
                <a:gd name="T24" fmla="*/ 35 w 60"/>
                <a:gd name="T25" fmla="*/ 28 h 35"/>
                <a:gd name="T26" fmla="*/ 28 w 60"/>
                <a:gd name="T27" fmla="*/ 35 h 35"/>
                <a:gd name="T28" fmla="*/ 10 w 60"/>
                <a:gd name="T29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0" h="35">
                  <a:moveTo>
                    <a:pt x="10" y="35"/>
                  </a:moveTo>
                  <a:lnTo>
                    <a:pt x="0" y="28"/>
                  </a:lnTo>
                  <a:lnTo>
                    <a:pt x="5" y="15"/>
                  </a:lnTo>
                  <a:lnTo>
                    <a:pt x="13" y="5"/>
                  </a:lnTo>
                  <a:lnTo>
                    <a:pt x="23" y="3"/>
                  </a:lnTo>
                  <a:lnTo>
                    <a:pt x="33" y="3"/>
                  </a:lnTo>
                  <a:lnTo>
                    <a:pt x="45" y="0"/>
                  </a:lnTo>
                  <a:lnTo>
                    <a:pt x="55" y="5"/>
                  </a:lnTo>
                  <a:lnTo>
                    <a:pt x="60" y="18"/>
                  </a:lnTo>
                  <a:lnTo>
                    <a:pt x="52" y="33"/>
                  </a:lnTo>
                  <a:lnTo>
                    <a:pt x="45" y="28"/>
                  </a:lnTo>
                  <a:lnTo>
                    <a:pt x="40" y="35"/>
                  </a:lnTo>
                  <a:lnTo>
                    <a:pt x="35" y="28"/>
                  </a:lnTo>
                  <a:lnTo>
                    <a:pt x="28" y="35"/>
                  </a:lnTo>
                  <a:lnTo>
                    <a:pt x="10" y="3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49" name="Freeform 267"/>
            <p:cNvSpPr>
              <a:spLocks/>
            </p:cNvSpPr>
            <p:nvPr/>
          </p:nvSpPr>
          <p:spPr bwMode="auto">
            <a:xfrm>
              <a:off x="4454624" y="2541626"/>
              <a:ext cx="67645" cy="110821"/>
            </a:xfrm>
            <a:custGeom>
              <a:avLst/>
              <a:gdLst>
                <a:gd name="T0" fmla="*/ 37 w 47"/>
                <a:gd name="T1" fmla="*/ 72 h 77"/>
                <a:gd name="T2" fmla="*/ 17 w 47"/>
                <a:gd name="T3" fmla="*/ 77 h 77"/>
                <a:gd name="T4" fmla="*/ 10 w 47"/>
                <a:gd name="T5" fmla="*/ 59 h 77"/>
                <a:gd name="T6" fmla="*/ 0 w 47"/>
                <a:gd name="T7" fmla="*/ 55 h 77"/>
                <a:gd name="T8" fmla="*/ 0 w 47"/>
                <a:gd name="T9" fmla="*/ 25 h 77"/>
                <a:gd name="T10" fmla="*/ 22 w 47"/>
                <a:gd name="T11" fmla="*/ 22 h 77"/>
                <a:gd name="T12" fmla="*/ 35 w 47"/>
                <a:gd name="T13" fmla="*/ 0 h 77"/>
                <a:gd name="T14" fmla="*/ 47 w 47"/>
                <a:gd name="T15" fmla="*/ 22 h 77"/>
                <a:gd name="T16" fmla="*/ 35 w 47"/>
                <a:gd name="T17" fmla="*/ 55 h 77"/>
                <a:gd name="T18" fmla="*/ 37 w 47"/>
                <a:gd name="T19" fmla="*/ 72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7" h="77">
                  <a:moveTo>
                    <a:pt x="37" y="72"/>
                  </a:moveTo>
                  <a:lnTo>
                    <a:pt x="17" y="77"/>
                  </a:lnTo>
                  <a:lnTo>
                    <a:pt x="10" y="59"/>
                  </a:lnTo>
                  <a:lnTo>
                    <a:pt x="0" y="55"/>
                  </a:lnTo>
                  <a:lnTo>
                    <a:pt x="0" y="25"/>
                  </a:lnTo>
                  <a:lnTo>
                    <a:pt x="22" y="22"/>
                  </a:lnTo>
                  <a:lnTo>
                    <a:pt x="35" y="0"/>
                  </a:lnTo>
                  <a:lnTo>
                    <a:pt x="47" y="22"/>
                  </a:lnTo>
                  <a:lnTo>
                    <a:pt x="35" y="55"/>
                  </a:lnTo>
                  <a:lnTo>
                    <a:pt x="37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0" name="Freeform 268"/>
            <p:cNvSpPr>
              <a:spLocks/>
            </p:cNvSpPr>
            <p:nvPr/>
          </p:nvSpPr>
          <p:spPr bwMode="auto">
            <a:xfrm>
              <a:off x="4479092" y="2522916"/>
              <a:ext cx="33102" cy="14392"/>
            </a:xfrm>
            <a:custGeom>
              <a:avLst/>
              <a:gdLst>
                <a:gd name="T0" fmla="*/ 0 w 23"/>
                <a:gd name="T1" fmla="*/ 10 h 10"/>
                <a:gd name="T2" fmla="*/ 5 w 23"/>
                <a:gd name="T3" fmla="*/ 0 h 10"/>
                <a:gd name="T4" fmla="*/ 15 w 23"/>
                <a:gd name="T5" fmla="*/ 0 h 10"/>
                <a:gd name="T6" fmla="*/ 23 w 23"/>
                <a:gd name="T7" fmla="*/ 0 h 10"/>
                <a:gd name="T8" fmla="*/ 0 w 2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3" h="10">
                  <a:moveTo>
                    <a:pt x="0" y="10"/>
                  </a:moveTo>
                  <a:lnTo>
                    <a:pt x="5" y="0"/>
                  </a:lnTo>
                  <a:lnTo>
                    <a:pt x="15" y="0"/>
                  </a:lnTo>
                  <a:lnTo>
                    <a:pt x="23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1" name="Freeform 269"/>
            <p:cNvSpPr>
              <a:spLocks/>
            </p:cNvSpPr>
            <p:nvPr/>
          </p:nvSpPr>
          <p:spPr bwMode="auto">
            <a:xfrm>
              <a:off x="4368270" y="2698503"/>
              <a:ext cx="71962" cy="93551"/>
            </a:xfrm>
            <a:custGeom>
              <a:avLst/>
              <a:gdLst>
                <a:gd name="T0" fmla="*/ 0 w 50"/>
                <a:gd name="T1" fmla="*/ 50 h 65"/>
                <a:gd name="T2" fmla="*/ 10 w 50"/>
                <a:gd name="T3" fmla="*/ 47 h 65"/>
                <a:gd name="T4" fmla="*/ 20 w 50"/>
                <a:gd name="T5" fmla="*/ 50 h 65"/>
                <a:gd name="T6" fmla="*/ 25 w 50"/>
                <a:gd name="T7" fmla="*/ 65 h 65"/>
                <a:gd name="T8" fmla="*/ 28 w 50"/>
                <a:gd name="T9" fmla="*/ 45 h 65"/>
                <a:gd name="T10" fmla="*/ 40 w 50"/>
                <a:gd name="T11" fmla="*/ 35 h 65"/>
                <a:gd name="T12" fmla="*/ 50 w 50"/>
                <a:gd name="T13" fmla="*/ 20 h 65"/>
                <a:gd name="T14" fmla="*/ 50 w 50"/>
                <a:gd name="T15" fmla="*/ 0 h 65"/>
                <a:gd name="T16" fmla="*/ 28 w 50"/>
                <a:gd name="T17" fmla="*/ 3 h 65"/>
                <a:gd name="T18" fmla="*/ 23 w 50"/>
                <a:gd name="T19" fmla="*/ 10 h 65"/>
                <a:gd name="T20" fmla="*/ 23 w 50"/>
                <a:gd name="T21" fmla="*/ 13 h 65"/>
                <a:gd name="T22" fmla="*/ 20 w 50"/>
                <a:gd name="T23" fmla="*/ 20 h 65"/>
                <a:gd name="T24" fmla="*/ 10 w 50"/>
                <a:gd name="T25" fmla="*/ 13 h 65"/>
                <a:gd name="T26" fmla="*/ 3 w 50"/>
                <a:gd name="T27" fmla="*/ 35 h 65"/>
                <a:gd name="T28" fmla="*/ 5 w 50"/>
                <a:gd name="T29" fmla="*/ 37 h 65"/>
                <a:gd name="T30" fmla="*/ 0 w 50"/>
                <a:gd name="T31" fmla="*/ 50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0" h="65">
                  <a:moveTo>
                    <a:pt x="0" y="50"/>
                  </a:moveTo>
                  <a:lnTo>
                    <a:pt x="10" y="47"/>
                  </a:lnTo>
                  <a:lnTo>
                    <a:pt x="20" y="50"/>
                  </a:lnTo>
                  <a:lnTo>
                    <a:pt x="25" y="65"/>
                  </a:lnTo>
                  <a:lnTo>
                    <a:pt x="28" y="45"/>
                  </a:lnTo>
                  <a:lnTo>
                    <a:pt x="40" y="35"/>
                  </a:lnTo>
                  <a:lnTo>
                    <a:pt x="50" y="20"/>
                  </a:lnTo>
                  <a:lnTo>
                    <a:pt x="50" y="0"/>
                  </a:lnTo>
                  <a:lnTo>
                    <a:pt x="28" y="3"/>
                  </a:lnTo>
                  <a:lnTo>
                    <a:pt x="23" y="10"/>
                  </a:lnTo>
                  <a:lnTo>
                    <a:pt x="23" y="13"/>
                  </a:lnTo>
                  <a:lnTo>
                    <a:pt x="20" y="20"/>
                  </a:lnTo>
                  <a:lnTo>
                    <a:pt x="10" y="13"/>
                  </a:lnTo>
                  <a:lnTo>
                    <a:pt x="3" y="35"/>
                  </a:lnTo>
                  <a:lnTo>
                    <a:pt x="5" y="37"/>
                  </a:lnTo>
                  <a:lnTo>
                    <a:pt x="0" y="5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2" name="Freeform 270"/>
            <p:cNvSpPr>
              <a:spLocks/>
            </p:cNvSpPr>
            <p:nvPr/>
          </p:nvSpPr>
          <p:spPr bwMode="auto">
            <a:xfrm>
              <a:off x="3717736" y="2183256"/>
              <a:ext cx="233156" cy="139606"/>
            </a:xfrm>
            <a:custGeom>
              <a:avLst/>
              <a:gdLst>
                <a:gd name="T0" fmla="*/ 50 w 162"/>
                <a:gd name="T1" fmla="*/ 18 h 97"/>
                <a:gd name="T2" fmla="*/ 27 w 162"/>
                <a:gd name="T3" fmla="*/ 0 h 97"/>
                <a:gd name="T4" fmla="*/ 0 w 162"/>
                <a:gd name="T5" fmla="*/ 30 h 97"/>
                <a:gd name="T6" fmla="*/ 2 w 162"/>
                <a:gd name="T7" fmla="*/ 45 h 97"/>
                <a:gd name="T8" fmla="*/ 32 w 162"/>
                <a:gd name="T9" fmla="*/ 40 h 97"/>
                <a:gd name="T10" fmla="*/ 32 w 162"/>
                <a:gd name="T11" fmla="*/ 62 h 97"/>
                <a:gd name="T12" fmla="*/ 25 w 162"/>
                <a:gd name="T13" fmla="*/ 80 h 97"/>
                <a:gd name="T14" fmla="*/ 52 w 162"/>
                <a:gd name="T15" fmla="*/ 72 h 97"/>
                <a:gd name="T16" fmla="*/ 80 w 162"/>
                <a:gd name="T17" fmla="*/ 85 h 97"/>
                <a:gd name="T18" fmla="*/ 89 w 162"/>
                <a:gd name="T19" fmla="*/ 97 h 97"/>
                <a:gd name="T20" fmla="*/ 114 w 162"/>
                <a:gd name="T21" fmla="*/ 72 h 97"/>
                <a:gd name="T22" fmla="*/ 134 w 162"/>
                <a:gd name="T23" fmla="*/ 72 h 97"/>
                <a:gd name="T24" fmla="*/ 157 w 162"/>
                <a:gd name="T25" fmla="*/ 57 h 97"/>
                <a:gd name="T26" fmla="*/ 162 w 162"/>
                <a:gd name="T27" fmla="*/ 33 h 97"/>
                <a:gd name="T28" fmla="*/ 157 w 162"/>
                <a:gd name="T29" fmla="*/ 5 h 97"/>
                <a:gd name="T30" fmla="*/ 124 w 162"/>
                <a:gd name="T31" fmla="*/ 5 h 97"/>
                <a:gd name="T32" fmla="*/ 94 w 162"/>
                <a:gd name="T33" fmla="*/ 15 h 97"/>
                <a:gd name="T34" fmla="*/ 60 w 162"/>
                <a:gd name="T35" fmla="*/ 3 h 97"/>
                <a:gd name="T36" fmla="*/ 50 w 162"/>
                <a:gd name="T37" fmla="*/ 18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62" h="97">
                  <a:moveTo>
                    <a:pt x="50" y="18"/>
                  </a:moveTo>
                  <a:lnTo>
                    <a:pt x="27" y="0"/>
                  </a:lnTo>
                  <a:lnTo>
                    <a:pt x="0" y="30"/>
                  </a:lnTo>
                  <a:lnTo>
                    <a:pt x="2" y="45"/>
                  </a:lnTo>
                  <a:lnTo>
                    <a:pt x="32" y="40"/>
                  </a:lnTo>
                  <a:lnTo>
                    <a:pt x="32" y="62"/>
                  </a:lnTo>
                  <a:lnTo>
                    <a:pt x="25" y="80"/>
                  </a:lnTo>
                  <a:lnTo>
                    <a:pt x="52" y="72"/>
                  </a:lnTo>
                  <a:lnTo>
                    <a:pt x="80" y="85"/>
                  </a:lnTo>
                  <a:lnTo>
                    <a:pt x="89" y="97"/>
                  </a:lnTo>
                  <a:lnTo>
                    <a:pt x="114" y="72"/>
                  </a:lnTo>
                  <a:lnTo>
                    <a:pt x="134" y="72"/>
                  </a:lnTo>
                  <a:lnTo>
                    <a:pt x="157" y="57"/>
                  </a:lnTo>
                  <a:lnTo>
                    <a:pt x="162" y="33"/>
                  </a:lnTo>
                  <a:lnTo>
                    <a:pt x="157" y="5"/>
                  </a:lnTo>
                  <a:lnTo>
                    <a:pt x="124" y="5"/>
                  </a:lnTo>
                  <a:lnTo>
                    <a:pt x="94" y="15"/>
                  </a:lnTo>
                  <a:lnTo>
                    <a:pt x="60" y="3"/>
                  </a:lnTo>
                  <a:lnTo>
                    <a:pt x="50" y="1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3" name="Freeform 271"/>
            <p:cNvSpPr>
              <a:spLocks/>
            </p:cNvSpPr>
            <p:nvPr/>
          </p:nvSpPr>
          <p:spPr bwMode="auto">
            <a:xfrm>
              <a:off x="4798602" y="3009377"/>
              <a:ext cx="142484" cy="107943"/>
            </a:xfrm>
            <a:custGeom>
              <a:avLst/>
              <a:gdLst>
                <a:gd name="T0" fmla="*/ 74 w 99"/>
                <a:gd name="T1" fmla="*/ 63 h 75"/>
                <a:gd name="T2" fmla="*/ 57 w 99"/>
                <a:gd name="T3" fmla="*/ 65 h 75"/>
                <a:gd name="T4" fmla="*/ 49 w 99"/>
                <a:gd name="T5" fmla="*/ 65 h 75"/>
                <a:gd name="T6" fmla="*/ 37 w 99"/>
                <a:gd name="T7" fmla="*/ 75 h 75"/>
                <a:gd name="T8" fmla="*/ 22 w 99"/>
                <a:gd name="T9" fmla="*/ 70 h 75"/>
                <a:gd name="T10" fmla="*/ 12 w 99"/>
                <a:gd name="T11" fmla="*/ 70 h 75"/>
                <a:gd name="T12" fmla="*/ 10 w 99"/>
                <a:gd name="T13" fmla="*/ 43 h 75"/>
                <a:gd name="T14" fmla="*/ 0 w 99"/>
                <a:gd name="T15" fmla="*/ 25 h 75"/>
                <a:gd name="T16" fmla="*/ 0 w 99"/>
                <a:gd name="T17" fmla="*/ 15 h 75"/>
                <a:gd name="T18" fmla="*/ 15 w 99"/>
                <a:gd name="T19" fmla="*/ 3 h 75"/>
                <a:gd name="T20" fmla="*/ 20 w 99"/>
                <a:gd name="T21" fmla="*/ 8 h 75"/>
                <a:gd name="T22" fmla="*/ 25 w 99"/>
                <a:gd name="T23" fmla="*/ 0 h 75"/>
                <a:gd name="T24" fmla="*/ 44 w 99"/>
                <a:gd name="T25" fmla="*/ 8 h 75"/>
                <a:gd name="T26" fmla="*/ 52 w 99"/>
                <a:gd name="T27" fmla="*/ 23 h 75"/>
                <a:gd name="T28" fmla="*/ 77 w 99"/>
                <a:gd name="T29" fmla="*/ 18 h 75"/>
                <a:gd name="T30" fmla="*/ 92 w 99"/>
                <a:gd name="T31" fmla="*/ 15 h 75"/>
                <a:gd name="T32" fmla="*/ 99 w 99"/>
                <a:gd name="T33" fmla="*/ 33 h 75"/>
                <a:gd name="T34" fmla="*/ 92 w 99"/>
                <a:gd name="T35" fmla="*/ 45 h 75"/>
                <a:gd name="T36" fmla="*/ 84 w 99"/>
                <a:gd name="T37" fmla="*/ 53 h 75"/>
                <a:gd name="T38" fmla="*/ 92 w 99"/>
                <a:gd name="T39" fmla="*/ 60 h 75"/>
                <a:gd name="T40" fmla="*/ 74 w 99"/>
                <a:gd name="T41" fmla="*/ 6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" h="75">
                  <a:moveTo>
                    <a:pt x="74" y="63"/>
                  </a:moveTo>
                  <a:lnTo>
                    <a:pt x="57" y="65"/>
                  </a:lnTo>
                  <a:lnTo>
                    <a:pt x="49" y="65"/>
                  </a:lnTo>
                  <a:lnTo>
                    <a:pt x="37" y="75"/>
                  </a:lnTo>
                  <a:lnTo>
                    <a:pt x="22" y="70"/>
                  </a:lnTo>
                  <a:lnTo>
                    <a:pt x="12" y="70"/>
                  </a:lnTo>
                  <a:lnTo>
                    <a:pt x="10" y="43"/>
                  </a:lnTo>
                  <a:lnTo>
                    <a:pt x="0" y="25"/>
                  </a:lnTo>
                  <a:lnTo>
                    <a:pt x="0" y="15"/>
                  </a:lnTo>
                  <a:lnTo>
                    <a:pt x="15" y="3"/>
                  </a:lnTo>
                  <a:lnTo>
                    <a:pt x="20" y="8"/>
                  </a:lnTo>
                  <a:lnTo>
                    <a:pt x="25" y="0"/>
                  </a:lnTo>
                  <a:lnTo>
                    <a:pt x="44" y="8"/>
                  </a:lnTo>
                  <a:lnTo>
                    <a:pt x="52" y="23"/>
                  </a:lnTo>
                  <a:lnTo>
                    <a:pt x="77" y="18"/>
                  </a:lnTo>
                  <a:lnTo>
                    <a:pt x="92" y="15"/>
                  </a:lnTo>
                  <a:lnTo>
                    <a:pt x="99" y="33"/>
                  </a:lnTo>
                  <a:lnTo>
                    <a:pt x="92" y="45"/>
                  </a:lnTo>
                  <a:lnTo>
                    <a:pt x="84" y="53"/>
                  </a:lnTo>
                  <a:lnTo>
                    <a:pt x="92" y="60"/>
                  </a:lnTo>
                  <a:lnTo>
                    <a:pt x="74" y="6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4" name="Freeform 272"/>
            <p:cNvSpPr>
              <a:spLocks/>
            </p:cNvSpPr>
            <p:nvPr/>
          </p:nvSpPr>
          <p:spPr bwMode="auto">
            <a:xfrm>
              <a:off x="4751107" y="2033576"/>
              <a:ext cx="243231" cy="428892"/>
            </a:xfrm>
            <a:custGeom>
              <a:avLst/>
              <a:gdLst>
                <a:gd name="T0" fmla="*/ 23 w 169"/>
                <a:gd name="T1" fmla="*/ 124 h 298"/>
                <a:gd name="T2" fmla="*/ 35 w 169"/>
                <a:gd name="T3" fmla="*/ 117 h 298"/>
                <a:gd name="T4" fmla="*/ 33 w 169"/>
                <a:gd name="T5" fmla="*/ 79 h 298"/>
                <a:gd name="T6" fmla="*/ 33 w 169"/>
                <a:gd name="T7" fmla="*/ 67 h 298"/>
                <a:gd name="T8" fmla="*/ 18 w 169"/>
                <a:gd name="T9" fmla="*/ 55 h 298"/>
                <a:gd name="T10" fmla="*/ 3 w 169"/>
                <a:gd name="T11" fmla="*/ 40 h 298"/>
                <a:gd name="T12" fmla="*/ 18 w 169"/>
                <a:gd name="T13" fmla="*/ 42 h 298"/>
                <a:gd name="T14" fmla="*/ 33 w 169"/>
                <a:gd name="T15" fmla="*/ 45 h 298"/>
                <a:gd name="T16" fmla="*/ 58 w 169"/>
                <a:gd name="T17" fmla="*/ 42 h 298"/>
                <a:gd name="T18" fmla="*/ 65 w 169"/>
                <a:gd name="T19" fmla="*/ 25 h 298"/>
                <a:gd name="T20" fmla="*/ 77 w 169"/>
                <a:gd name="T21" fmla="*/ 10 h 298"/>
                <a:gd name="T22" fmla="*/ 87 w 169"/>
                <a:gd name="T23" fmla="*/ 0 h 298"/>
                <a:gd name="T24" fmla="*/ 102 w 169"/>
                <a:gd name="T25" fmla="*/ 2 h 298"/>
                <a:gd name="T26" fmla="*/ 115 w 169"/>
                <a:gd name="T27" fmla="*/ 15 h 298"/>
                <a:gd name="T28" fmla="*/ 105 w 169"/>
                <a:gd name="T29" fmla="*/ 45 h 298"/>
                <a:gd name="T30" fmla="*/ 125 w 169"/>
                <a:gd name="T31" fmla="*/ 62 h 298"/>
                <a:gd name="T32" fmla="*/ 125 w 169"/>
                <a:gd name="T33" fmla="*/ 82 h 298"/>
                <a:gd name="T34" fmla="*/ 130 w 169"/>
                <a:gd name="T35" fmla="*/ 107 h 298"/>
                <a:gd name="T36" fmla="*/ 132 w 169"/>
                <a:gd name="T37" fmla="*/ 137 h 298"/>
                <a:gd name="T38" fmla="*/ 140 w 169"/>
                <a:gd name="T39" fmla="*/ 161 h 298"/>
                <a:gd name="T40" fmla="*/ 147 w 169"/>
                <a:gd name="T41" fmla="*/ 189 h 298"/>
                <a:gd name="T42" fmla="*/ 157 w 169"/>
                <a:gd name="T43" fmla="*/ 199 h 298"/>
                <a:gd name="T44" fmla="*/ 169 w 169"/>
                <a:gd name="T45" fmla="*/ 209 h 298"/>
                <a:gd name="T46" fmla="*/ 157 w 169"/>
                <a:gd name="T47" fmla="*/ 221 h 298"/>
                <a:gd name="T48" fmla="*/ 137 w 169"/>
                <a:gd name="T49" fmla="*/ 241 h 298"/>
                <a:gd name="T50" fmla="*/ 122 w 169"/>
                <a:gd name="T51" fmla="*/ 261 h 298"/>
                <a:gd name="T52" fmla="*/ 115 w 169"/>
                <a:gd name="T53" fmla="*/ 278 h 298"/>
                <a:gd name="T54" fmla="*/ 117 w 169"/>
                <a:gd name="T55" fmla="*/ 298 h 298"/>
                <a:gd name="T56" fmla="*/ 100 w 169"/>
                <a:gd name="T57" fmla="*/ 271 h 298"/>
                <a:gd name="T58" fmla="*/ 77 w 169"/>
                <a:gd name="T59" fmla="*/ 276 h 298"/>
                <a:gd name="T60" fmla="*/ 65 w 169"/>
                <a:gd name="T61" fmla="*/ 286 h 298"/>
                <a:gd name="T62" fmla="*/ 35 w 169"/>
                <a:gd name="T63" fmla="*/ 283 h 298"/>
                <a:gd name="T64" fmla="*/ 13 w 169"/>
                <a:gd name="T65" fmla="*/ 268 h 298"/>
                <a:gd name="T66" fmla="*/ 5 w 169"/>
                <a:gd name="T67" fmla="*/ 248 h 298"/>
                <a:gd name="T68" fmla="*/ 0 w 169"/>
                <a:gd name="T69" fmla="*/ 229 h 298"/>
                <a:gd name="T70" fmla="*/ 3 w 169"/>
                <a:gd name="T71" fmla="*/ 196 h 298"/>
                <a:gd name="T72" fmla="*/ 25 w 169"/>
                <a:gd name="T73" fmla="*/ 186 h 298"/>
                <a:gd name="T74" fmla="*/ 40 w 169"/>
                <a:gd name="T75" fmla="*/ 171 h 298"/>
                <a:gd name="T76" fmla="*/ 45 w 169"/>
                <a:gd name="T77" fmla="*/ 151 h 298"/>
                <a:gd name="T78" fmla="*/ 72 w 169"/>
                <a:gd name="T79" fmla="*/ 154 h 298"/>
                <a:gd name="T80" fmla="*/ 58 w 169"/>
                <a:gd name="T81" fmla="*/ 127 h 298"/>
                <a:gd name="T82" fmla="*/ 23 w 169"/>
                <a:gd name="T83" fmla="*/ 124 h 2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9" h="298">
                  <a:moveTo>
                    <a:pt x="23" y="124"/>
                  </a:moveTo>
                  <a:lnTo>
                    <a:pt x="35" y="117"/>
                  </a:lnTo>
                  <a:lnTo>
                    <a:pt x="33" y="79"/>
                  </a:lnTo>
                  <a:lnTo>
                    <a:pt x="33" y="67"/>
                  </a:lnTo>
                  <a:lnTo>
                    <a:pt x="18" y="55"/>
                  </a:lnTo>
                  <a:lnTo>
                    <a:pt x="3" y="40"/>
                  </a:lnTo>
                  <a:lnTo>
                    <a:pt x="18" y="42"/>
                  </a:lnTo>
                  <a:lnTo>
                    <a:pt x="33" y="45"/>
                  </a:lnTo>
                  <a:lnTo>
                    <a:pt x="58" y="42"/>
                  </a:lnTo>
                  <a:lnTo>
                    <a:pt x="65" y="25"/>
                  </a:lnTo>
                  <a:lnTo>
                    <a:pt x="77" y="10"/>
                  </a:lnTo>
                  <a:lnTo>
                    <a:pt x="87" y="0"/>
                  </a:lnTo>
                  <a:lnTo>
                    <a:pt x="102" y="2"/>
                  </a:lnTo>
                  <a:lnTo>
                    <a:pt x="115" y="15"/>
                  </a:lnTo>
                  <a:lnTo>
                    <a:pt x="105" y="45"/>
                  </a:lnTo>
                  <a:lnTo>
                    <a:pt x="125" y="62"/>
                  </a:lnTo>
                  <a:lnTo>
                    <a:pt x="125" y="82"/>
                  </a:lnTo>
                  <a:lnTo>
                    <a:pt x="130" y="107"/>
                  </a:lnTo>
                  <a:lnTo>
                    <a:pt x="132" y="137"/>
                  </a:lnTo>
                  <a:lnTo>
                    <a:pt x="140" y="161"/>
                  </a:lnTo>
                  <a:lnTo>
                    <a:pt x="147" y="189"/>
                  </a:lnTo>
                  <a:lnTo>
                    <a:pt x="157" y="199"/>
                  </a:lnTo>
                  <a:lnTo>
                    <a:pt x="169" y="209"/>
                  </a:lnTo>
                  <a:lnTo>
                    <a:pt x="157" y="221"/>
                  </a:lnTo>
                  <a:lnTo>
                    <a:pt x="137" y="241"/>
                  </a:lnTo>
                  <a:lnTo>
                    <a:pt x="122" y="261"/>
                  </a:lnTo>
                  <a:lnTo>
                    <a:pt x="115" y="278"/>
                  </a:lnTo>
                  <a:lnTo>
                    <a:pt x="117" y="298"/>
                  </a:lnTo>
                  <a:lnTo>
                    <a:pt x="100" y="271"/>
                  </a:lnTo>
                  <a:lnTo>
                    <a:pt x="77" y="276"/>
                  </a:lnTo>
                  <a:lnTo>
                    <a:pt x="65" y="286"/>
                  </a:lnTo>
                  <a:lnTo>
                    <a:pt x="35" y="283"/>
                  </a:lnTo>
                  <a:lnTo>
                    <a:pt x="13" y="268"/>
                  </a:lnTo>
                  <a:lnTo>
                    <a:pt x="5" y="248"/>
                  </a:lnTo>
                  <a:lnTo>
                    <a:pt x="0" y="229"/>
                  </a:lnTo>
                  <a:lnTo>
                    <a:pt x="3" y="196"/>
                  </a:lnTo>
                  <a:lnTo>
                    <a:pt x="25" y="186"/>
                  </a:lnTo>
                  <a:lnTo>
                    <a:pt x="40" y="171"/>
                  </a:lnTo>
                  <a:lnTo>
                    <a:pt x="45" y="151"/>
                  </a:lnTo>
                  <a:lnTo>
                    <a:pt x="72" y="154"/>
                  </a:lnTo>
                  <a:lnTo>
                    <a:pt x="58" y="127"/>
                  </a:lnTo>
                  <a:lnTo>
                    <a:pt x="23" y="1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5" name="Freeform 273"/>
            <p:cNvSpPr>
              <a:spLocks/>
            </p:cNvSpPr>
            <p:nvPr/>
          </p:nvSpPr>
          <p:spPr bwMode="auto">
            <a:xfrm>
              <a:off x="4497801" y="2849623"/>
              <a:ext cx="168391" cy="96428"/>
            </a:xfrm>
            <a:custGeom>
              <a:avLst/>
              <a:gdLst>
                <a:gd name="T0" fmla="*/ 5 w 117"/>
                <a:gd name="T1" fmla="*/ 52 h 67"/>
                <a:gd name="T2" fmla="*/ 0 w 117"/>
                <a:gd name="T3" fmla="*/ 39 h 67"/>
                <a:gd name="T4" fmla="*/ 7 w 117"/>
                <a:gd name="T5" fmla="*/ 42 h 67"/>
                <a:gd name="T6" fmla="*/ 15 w 117"/>
                <a:gd name="T7" fmla="*/ 42 h 67"/>
                <a:gd name="T8" fmla="*/ 37 w 117"/>
                <a:gd name="T9" fmla="*/ 34 h 67"/>
                <a:gd name="T10" fmla="*/ 52 w 117"/>
                <a:gd name="T11" fmla="*/ 22 h 67"/>
                <a:gd name="T12" fmla="*/ 57 w 117"/>
                <a:gd name="T13" fmla="*/ 17 h 67"/>
                <a:gd name="T14" fmla="*/ 60 w 117"/>
                <a:gd name="T15" fmla="*/ 0 h 67"/>
                <a:gd name="T16" fmla="*/ 72 w 117"/>
                <a:gd name="T17" fmla="*/ 12 h 67"/>
                <a:gd name="T18" fmla="*/ 84 w 117"/>
                <a:gd name="T19" fmla="*/ 10 h 67"/>
                <a:gd name="T20" fmla="*/ 89 w 117"/>
                <a:gd name="T21" fmla="*/ 0 h 67"/>
                <a:gd name="T22" fmla="*/ 104 w 117"/>
                <a:gd name="T23" fmla="*/ 2 h 67"/>
                <a:gd name="T24" fmla="*/ 102 w 117"/>
                <a:gd name="T25" fmla="*/ 12 h 67"/>
                <a:gd name="T26" fmla="*/ 114 w 117"/>
                <a:gd name="T27" fmla="*/ 19 h 67"/>
                <a:gd name="T28" fmla="*/ 117 w 117"/>
                <a:gd name="T29" fmla="*/ 37 h 67"/>
                <a:gd name="T30" fmla="*/ 109 w 117"/>
                <a:gd name="T31" fmla="*/ 47 h 67"/>
                <a:gd name="T32" fmla="*/ 109 w 117"/>
                <a:gd name="T33" fmla="*/ 52 h 67"/>
                <a:gd name="T34" fmla="*/ 102 w 117"/>
                <a:gd name="T35" fmla="*/ 59 h 67"/>
                <a:gd name="T36" fmla="*/ 84 w 117"/>
                <a:gd name="T37" fmla="*/ 67 h 67"/>
                <a:gd name="T38" fmla="*/ 57 w 117"/>
                <a:gd name="T39" fmla="*/ 59 h 67"/>
                <a:gd name="T40" fmla="*/ 45 w 117"/>
                <a:gd name="T41" fmla="*/ 49 h 67"/>
                <a:gd name="T42" fmla="*/ 30 w 117"/>
                <a:gd name="T43" fmla="*/ 57 h 67"/>
                <a:gd name="T44" fmla="*/ 12 w 117"/>
                <a:gd name="T45" fmla="*/ 57 h 67"/>
                <a:gd name="T46" fmla="*/ 5 w 117"/>
                <a:gd name="T47" fmla="*/ 5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17" h="67">
                  <a:moveTo>
                    <a:pt x="5" y="52"/>
                  </a:moveTo>
                  <a:lnTo>
                    <a:pt x="0" y="39"/>
                  </a:lnTo>
                  <a:lnTo>
                    <a:pt x="7" y="42"/>
                  </a:lnTo>
                  <a:lnTo>
                    <a:pt x="15" y="42"/>
                  </a:lnTo>
                  <a:lnTo>
                    <a:pt x="37" y="34"/>
                  </a:lnTo>
                  <a:lnTo>
                    <a:pt x="52" y="22"/>
                  </a:lnTo>
                  <a:lnTo>
                    <a:pt x="57" y="17"/>
                  </a:lnTo>
                  <a:lnTo>
                    <a:pt x="60" y="0"/>
                  </a:lnTo>
                  <a:lnTo>
                    <a:pt x="72" y="12"/>
                  </a:lnTo>
                  <a:lnTo>
                    <a:pt x="84" y="10"/>
                  </a:lnTo>
                  <a:lnTo>
                    <a:pt x="89" y="0"/>
                  </a:lnTo>
                  <a:lnTo>
                    <a:pt x="104" y="2"/>
                  </a:lnTo>
                  <a:lnTo>
                    <a:pt x="102" y="12"/>
                  </a:lnTo>
                  <a:lnTo>
                    <a:pt x="114" y="19"/>
                  </a:lnTo>
                  <a:lnTo>
                    <a:pt x="117" y="37"/>
                  </a:lnTo>
                  <a:lnTo>
                    <a:pt x="109" y="47"/>
                  </a:lnTo>
                  <a:lnTo>
                    <a:pt x="109" y="52"/>
                  </a:lnTo>
                  <a:lnTo>
                    <a:pt x="102" y="59"/>
                  </a:lnTo>
                  <a:lnTo>
                    <a:pt x="84" y="67"/>
                  </a:lnTo>
                  <a:lnTo>
                    <a:pt x="57" y="59"/>
                  </a:lnTo>
                  <a:lnTo>
                    <a:pt x="45" y="49"/>
                  </a:lnTo>
                  <a:lnTo>
                    <a:pt x="30" y="57"/>
                  </a:lnTo>
                  <a:lnTo>
                    <a:pt x="12" y="57"/>
                  </a:lnTo>
                  <a:lnTo>
                    <a:pt x="5" y="5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6" name="Freeform 274"/>
            <p:cNvSpPr>
              <a:spLocks/>
            </p:cNvSpPr>
            <p:nvPr/>
          </p:nvSpPr>
          <p:spPr bwMode="auto">
            <a:xfrm>
              <a:off x="4201319" y="2484057"/>
              <a:ext cx="17271" cy="11514"/>
            </a:xfrm>
            <a:custGeom>
              <a:avLst/>
              <a:gdLst>
                <a:gd name="T0" fmla="*/ 0 w 12"/>
                <a:gd name="T1" fmla="*/ 0 h 8"/>
                <a:gd name="T2" fmla="*/ 2 w 12"/>
                <a:gd name="T3" fmla="*/ 8 h 8"/>
                <a:gd name="T4" fmla="*/ 12 w 12"/>
                <a:gd name="T5" fmla="*/ 0 h 8"/>
                <a:gd name="T6" fmla="*/ 0 w 12"/>
                <a:gd name="T7" fmla="*/ 0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8">
                  <a:moveTo>
                    <a:pt x="0" y="0"/>
                  </a:moveTo>
                  <a:lnTo>
                    <a:pt x="2" y="8"/>
                  </a:lnTo>
                  <a:lnTo>
                    <a:pt x="12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7" name="Freeform 275"/>
            <p:cNvSpPr>
              <a:spLocks/>
            </p:cNvSpPr>
            <p:nvPr/>
          </p:nvSpPr>
          <p:spPr bwMode="auto">
            <a:xfrm>
              <a:off x="4598548" y="3220946"/>
              <a:ext cx="53252" cy="35980"/>
            </a:xfrm>
            <a:custGeom>
              <a:avLst/>
              <a:gdLst>
                <a:gd name="T0" fmla="*/ 32 w 37"/>
                <a:gd name="T1" fmla="*/ 0 h 25"/>
                <a:gd name="T2" fmla="*/ 19 w 37"/>
                <a:gd name="T3" fmla="*/ 5 h 25"/>
                <a:gd name="T4" fmla="*/ 0 w 37"/>
                <a:gd name="T5" fmla="*/ 3 h 25"/>
                <a:gd name="T6" fmla="*/ 4 w 37"/>
                <a:gd name="T7" fmla="*/ 8 h 25"/>
                <a:gd name="T8" fmla="*/ 7 w 37"/>
                <a:gd name="T9" fmla="*/ 18 h 25"/>
                <a:gd name="T10" fmla="*/ 17 w 37"/>
                <a:gd name="T11" fmla="*/ 18 h 25"/>
                <a:gd name="T12" fmla="*/ 37 w 37"/>
                <a:gd name="T13" fmla="*/ 25 h 25"/>
                <a:gd name="T14" fmla="*/ 37 w 37"/>
                <a:gd name="T15" fmla="*/ 13 h 25"/>
                <a:gd name="T16" fmla="*/ 32 w 37"/>
                <a:gd name="T1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25">
                  <a:moveTo>
                    <a:pt x="32" y="0"/>
                  </a:moveTo>
                  <a:lnTo>
                    <a:pt x="19" y="5"/>
                  </a:lnTo>
                  <a:lnTo>
                    <a:pt x="0" y="3"/>
                  </a:lnTo>
                  <a:lnTo>
                    <a:pt x="4" y="8"/>
                  </a:lnTo>
                  <a:lnTo>
                    <a:pt x="7" y="18"/>
                  </a:lnTo>
                  <a:lnTo>
                    <a:pt x="17" y="18"/>
                  </a:lnTo>
                  <a:lnTo>
                    <a:pt x="37" y="25"/>
                  </a:lnTo>
                  <a:lnTo>
                    <a:pt x="37" y="13"/>
                  </a:lnTo>
                  <a:lnTo>
                    <a:pt x="32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8" name="Freeform 276"/>
            <p:cNvSpPr>
              <a:spLocks/>
            </p:cNvSpPr>
            <p:nvPr/>
          </p:nvSpPr>
          <p:spPr bwMode="auto">
            <a:xfrm>
              <a:off x="4021415" y="2633737"/>
              <a:ext cx="103625" cy="132410"/>
            </a:xfrm>
            <a:custGeom>
              <a:avLst/>
              <a:gdLst>
                <a:gd name="T0" fmla="*/ 38 w 72"/>
                <a:gd name="T1" fmla="*/ 0 h 92"/>
                <a:gd name="T2" fmla="*/ 33 w 72"/>
                <a:gd name="T3" fmla="*/ 8 h 92"/>
                <a:gd name="T4" fmla="*/ 33 w 72"/>
                <a:gd name="T5" fmla="*/ 20 h 92"/>
                <a:gd name="T6" fmla="*/ 3 w 72"/>
                <a:gd name="T7" fmla="*/ 25 h 92"/>
                <a:gd name="T8" fmla="*/ 0 w 72"/>
                <a:gd name="T9" fmla="*/ 33 h 92"/>
                <a:gd name="T10" fmla="*/ 0 w 72"/>
                <a:gd name="T11" fmla="*/ 48 h 92"/>
                <a:gd name="T12" fmla="*/ 10 w 72"/>
                <a:gd name="T13" fmla="*/ 50 h 92"/>
                <a:gd name="T14" fmla="*/ 10 w 72"/>
                <a:gd name="T15" fmla="*/ 63 h 92"/>
                <a:gd name="T16" fmla="*/ 0 w 72"/>
                <a:gd name="T17" fmla="*/ 68 h 92"/>
                <a:gd name="T18" fmla="*/ 3 w 72"/>
                <a:gd name="T19" fmla="*/ 82 h 92"/>
                <a:gd name="T20" fmla="*/ 3 w 72"/>
                <a:gd name="T21" fmla="*/ 92 h 92"/>
                <a:gd name="T22" fmla="*/ 23 w 72"/>
                <a:gd name="T23" fmla="*/ 92 h 92"/>
                <a:gd name="T24" fmla="*/ 40 w 72"/>
                <a:gd name="T25" fmla="*/ 80 h 92"/>
                <a:gd name="T26" fmla="*/ 55 w 72"/>
                <a:gd name="T27" fmla="*/ 80 h 92"/>
                <a:gd name="T28" fmla="*/ 67 w 72"/>
                <a:gd name="T29" fmla="*/ 78 h 92"/>
                <a:gd name="T30" fmla="*/ 72 w 72"/>
                <a:gd name="T31" fmla="*/ 50 h 92"/>
                <a:gd name="T32" fmla="*/ 65 w 72"/>
                <a:gd name="T33" fmla="*/ 30 h 92"/>
                <a:gd name="T34" fmla="*/ 45 w 72"/>
                <a:gd name="T35" fmla="*/ 30 h 92"/>
                <a:gd name="T36" fmla="*/ 43 w 72"/>
                <a:gd name="T37" fmla="*/ 20 h 92"/>
                <a:gd name="T38" fmla="*/ 47 w 72"/>
                <a:gd name="T39" fmla="*/ 5 h 92"/>
                <a:gd name="T40" fmla="*/ 38 w 72"/>
                <a:gd name="T41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2" h="92">
                  <a:moveTo>
                    <a:pt x="38" y="0"/>
                  </a:moveTo>
                  <a:lnTo>
                    <a:pt x="33" y="8"/>
                  </a:lnTo>
                  <a:lnTo>
                    <a:pt x="33" y="20"/>
                  </a:lnTo>
                  <a:lnTo>
                    <a:pt x="3" y="25"/>
                  </a:lnTo>
                  <a:lnTo>
                    <a:pt x="0" y="33"/>
                  </a:lnTo>
                  <a:lnTo>
                    <a:pt x="0" y="48"/>
                  </a:lnTo>
                  <a:lnTo>
                    <a:pt x="10" y="50"/>
                  </a:lnTo>
                  <a:lnTo>
                    <a:pt x="10" y="63"/>
                  </a:lnTo>
                  <a:lnTo>
                    <a:pt x="0" y="68"/>
                  </a:lnTo>
                  <a:lnTo>
                    <a:pt x="3" y="82"/>
                  </a:lnTo>
                  <a:lnTo>
                    <a:pt x="3" y="92"/>
                  </a:lnTo>
                  <a:lnTo>
                    <a:pt x="23" y="92"/>
                  </a:lnTo>
                  <a:lnTo>
                    <a:pt x="40" y="80"/>
                  </a:lnTo>
                  <a:lnTo>
                    <a:pt x="55" y="80"/>
                  </a:lnTo>
                  <a:lnTo>
                    <a:pt x="67" y="78"/>
                  </a:lnTo>
                  <a:lnTo>
                    <a:pt x="72" y="50"/>
                  </a:lnTo>
                  <a:lnTo>
                    <a:pt x="65" y="30"/>
                  </a:lnTo>
                  <a:lnTo>
                    <a:pt x="45" y="30"/>
                  </a:lnTo>
                  <a:lnTo>
                    <a:pt x="43" y="20"/>
                  </a:lnTo>
                  <a:lnTo>
                    <a:pt x="47" y="5"/>
                  </a:lnTo>
                  <a:lnTo>
                    <a:pt x="3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59" name="Freeform 277"/>
            <p:cNvSpPr>
              <a:spLocks/>
            </p:cNvSpPr>
            <p:nvPr/>
          </p:nvSpPr>
          <p:spPr bwMode="auto">
            <a:xfrm>
              <a:off x="4083301" y="2633737"/>
              <a:ext cx="53252" cy="43177"/>
            </a:xfrm>
            <a:custGeom>
              <a:avLst/>
              <a:gdLst>
                <a:gd name="T0" fmla="*/ 22 w 37"/>
                <a:gd name="T1" fmla="*/ 30 h 30"/>
                <a:gd name="T2" fmla="*/ 2 w 37"/>
                <a:gd name="T3" fmla="*/ 30 h 30"/>
                <a:gd name="T4" fmla="*/ 0 w 37"/>
                <a:gd name="T5" fmla="*/ 20 h 30"/>
                <a:gd name="T6" fmla="*/ 4 w 37"/>
                <a:gd name="T7" fmla="*/ 5 h 30"/>
                <a:gd name="T8" fmla="*/ 14 w 37"/>
                <a:gd name="T9" fmla="*/ 0 h 30"/>
                <a:gd name="T10" fmla="*/ 24 w 37"/>
                <a:gd name="T11" fmla="*/ 3 h 30"/>
                <a:gd name="T12" fmla="*/ 32 w 37"/>
                <a:gd name="T13" fmla="*/ 10 h 30"/>
                <a:gd name="T14" fmla="*/ 37 w 37"/>
                <a:gd name="T15" fmla="*/ 23 h 30"/>
                <a:gd name="T16" fmla="*/ 22 w 37"/>
                <a:gd name="T17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0">
                  <a:moveTo>
                    <a:pt x="22" y="30"/>
                  </a:moveTo>
                  <a:lnTo>
                    <a:pt x="2" y="30"/>
                  </a:lnTo>
                  <a:lnTo>
                    <a:pt x="0" y="20"/>
                  </a:lnTo>
                  <a:lnTo>
                    <a:pt x="4" y="5"/>
                  </a:lnTo>
                  <a:lnTo>
                    <a:pt x="14" y="0"/>
                  </a:lnTo>
                  <a:lnTo>
                    <a:pt x="24" y="3"/>
                  </a:lnTo>
                  <a:lnTo>
                    <a:pt x="32" y="10"/>
                  </a:lnTo>
                  <a:lnTo>
                    <a:pt x="37" y="23"/>
                  </a:lnTo>
                  <a:lnTo>
                    <a:pt x="22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0" name="Freeform 278"/>
            <p:cNvSpPr>
              <a:spLocks/>
            </p:cNvSpPr>
            <p:nvPr/>
          </p:nvSpPr>
          <p:spPr bwMode="auto">
            <a:xfrm>
              <a:off x="4093377" y="2512842"/>
              <a:ext cx="24467" cy="38859"/>
            </a:xfrm>
            <a:custGeom>
              <a:avLst/>
              <a:gdLst>
                <a:gd name="T0" fmla="*/ 15 w 17"/>
                <a:gd name="T1" fmla="*/ 0 h 27"/>
                <a:gd name="T2" fmla="*/ 2 w 17"/>
                <a:gd name="T3" fmla="*/ 7 h 27"/>
                <a:gd name="T4" fmla="*/ 0 w 17"/>
                <a:gd name="T5" fmla="*/ 20 h 27"/>
                <a:gd name="T6" fmla="*/ 7 w 17"/>
                <a:gd name="T7" fmla="*/ 27 h 27"/>
                <a:gd name="T8" fmla="*/ 17 w 17"/>
                <a:gd name="T9" fmla="*/ 15 h 27"/>
                <a:gd name="T10" fmla="*/ 15 w 17"/>
                <a:gd name="T11" fmla="*/ 0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7" h="27">
                  <a:moveTo>
                    <a:pt x="15" y="0"/>
                  </a:moveTo>
                  <a:lnTo>
                    <a:pt x="2" y="7"/>
                  </a:lnTo>
                  <a:lnTo>
                    <a:pt x="0" y="20"/>
                  </a:lnTo>
                  <a:lnTo>
                    <a:pt x="7" y="27"/>
                  </a:lnTo>
                  <a:lnTo>
                    <a:pt x="17" y="15"/>
                  </a:lnTo>
                  <a:lnTo>
                    <a:pt x="15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1" name="Freeform 279"/>
            <p:cNvSpPr>
              <a:spLocks/>
            </p:cNvSpPr>
            <p:nvPr/>
          </p:nvSpPr>
          <p:spPr bwMode="auto">
            <a:xfrm>
              <a:off x="4122161" y="2508524"/>
              <a:ext cx="182782" cy="315193"/>
            </a:xfrm>
            <a:custGeom>
              <a:avLst/>
              <a:gdLst>
                <a:gd name="T0" fmla="*/ 20 w 127"/>
                <a:gd name="T1" fmla="*/ 3 h 219"/>
                <a:gd name="T2" fmla="*/ 12 w 127"/>
                <a:gd name="T3" fmla="*/ 15 h 219"/>
                <a:gd name="T4" fmla="*/ 0 w 127"/>
                <a:gd name="T5" fmla="*/ 30 h 219"/>
                <a:gd name="T6" fmla="*/ 10 w 127"/>
                <a:gd name="T7" fmla="*/ 35 h 219"/>
                <a:gd name="T8" fmla="*/ 12 w 127"/>
                <a:gd name="T9" fmla="*/ 45 h 219"/>
                <a:gd name="T10" fmla="*/ 12 w 127"/>
                <a:gd name="T11" fmla="*/ 55 h 219"/>
                <a:gd name="T12" fmla="*/ 2 w 127"/>
                <a:gd name="T13" fmla="*/ 63 h 219"/>
                <a:gd name="T14" fmla="*/ 5 w 127"/>
                <a:gd name="T15" fmla="*/ 73 h 219"/>
                <a:gd name="T16" fmla="*/ 17 w 127"/>
                <a:gd name="T17" fmla="*/ 75 h 219"/>
                <a:gd name="T18" fmla="*/ 20 w 127"/>
                <a:gd name="T19" fmla="*/ 85 h 219"/>
                <a:gd name="T20" fmla="*/ 15 w 127"/>
                <a:gd name="T21" fmla="*/ 92 h 219"/>
                <a:gd name="T22" fmla="*/ 45 w 127"/>
                <a:gd name="T23" fmla="*/ 100 h 219"/>
                <a:gd name="T24" fmla="*/ 50 w 127"/>
                <a:gd name="T25" fmla="*/ 110 h 219"/>
                <a:gd name="T26" fmla="*/ 60 w 127"/>
                <a:gd name="T27" fmla="*/ 112 h 219"/>
                <a:gd name="T28" fmla="*/ 57 w 127"/>
                <a:gd name="T29" fmla="*/ 122 h 219"/>
                <a:gd name="T30" fmla="*/ 42 w 127"/>
                <a:gd name="T31" fmla="*/ 132 h 219"/>
                <a:gd name="T32" fmla="*/ 30 w 127"/>
                <a:gd name="T33" fmla="*/ 132 h 219"/>
                <a:gd name="T34" fmla="*/ 27 w 127"/>
                <a:gd name="T35" fmla="*/ 145 h 219"/>
                <a:gd name="T36" fmla="*/ 32 w 127"/>
                <a:gd name="T37" fmla="*/ 152 h 219"/>
                <a:gd name="T38" fmla="*/ 30 w 127"/>
                <a:gd name="T39" fmla="*/ 165 h 219"/>
                <a:gd name="T40" fmla="*/ 20 w 127"/>
                <a:gd name="T41" fmla="*/ 172 h 219"/>
                <a:gd name="T42" fmla="*/ 47 w 127"/>
                <a:gd name="T43" fmla="*/ 177 h 219"/>
                <a:gd name="T44" fmla="*/ 45 w 127"/>
                <a:gd name="T45" fmla="*/ 182 h 219"/>
                <a:gd name="T46" fmla="*/ 35 w 127"/>
                <a:gd name="T47" fmla="*/ 184 h 219"/>
                <a:gd name="T48" fmla="*/ 25 w 127"/>
                <a:gd name="T49" fmla="*/ 197 h 219"/>
                <a:gd name="T50" fmla="*/ 12 w 127"/>
                <a:gd name="T51" fmla="*/ 209 h 219"/>
                <a:gd name="T52" fmla="*/ 12 w 127"/>
                <a:gd name="T53" fmla="*/ 219 h 219"/>
                <a:gd name="T54" fmla="*/ 37 w 127"/>
                <a:gd name="T55" fmla="*/ 209 h 219"/>
                <a:gd name="T56" fmla="*/ 55 w 127"/>
                <a:gd name="T57" fmla="*/ 202 h 219"/>
                <a:gd name="T58" fmla="*/ 77 w 127"/>
                <a:gd name="T59" fmla="*/ 207 h 219"/>
                <a:gd name="T60" fmla="*/ 97 w 127"/>
                <a:gd name="T61" fmla="*/ 194 h 219"/>
                <a:gd name="T62" fmla="*/ 119 w 127"/>
                <a:gd name="T63" fmla="*/ 189 h 219"/>
                <a:gd name="T64" fmla="*/ 107 w 127"/>
                <a:gd name="T65" fmla="*/ 177 h 219"/>
                <a:gd name="T66" fmla="*/ 114 w 127"/>
                <a:gd name="T67" fmla="*/ 172 h 219"/>
                <a:gd name="T68" fmla="*/ 124 w 127"/>
                <a:gd name="T69" fmla="*/ 172 h 219"/>
                <a:gd name="T70" fmla="*/ 127 w 127"/>
                <a:gd name="T71" fmla="*/ 145 h 219"/>
                <a:gd name="T72" fmla="*/ 104 w 127"/>
                <a:gd name="T73" fmla="*/ 137 h 219"/>
                <a:gd name="T74" fmla="*/ 102 w 127"/>
                <a:gd name="T75" fmla="*/ 120 h 219"/>
                <a:gd name="T76" fmla="*/ 99 w 127"/>
                <a:gd name="T77" fmla="*/ 107 h 219"/>
                <a:gd name="T78" fmla="*/ 87 w 127"/>
                <a:gd name="T79" fmla="*/ 102 h 219"/>
                <a:gd name="T80" fmla="*/ 89 w 127"/>
                <a:gd name="T81" fmla="*/ 87 h 219"/>
                <a:gd name="T82" fmla="*/ 77 w 127"/>
                <a:gd name="T83" fmla="*/ 85 h 219"/>
                <a:gd name="T84" fmla="*/ 82 w 127"/>
                <a:gd name="T85" fmla="*/ 63 h 219"/>
                <a:gd name="T86" fmla="*/ 52 w 127"/>
                <a:gd name="T87" fmla="*/ 43 h 219"/>
                <a:gd name="T88" fmla="*/ 67 w 127"/>
                <a:gd name="T89" fmla="*/ 38 h 219"/>
                <a:gd name="T90" fmla="*/ 69 w 127"/>
                <a:gd name="T91" fmla="*/ 18 h 219"/>
                <a:gd name="T92" fmla="*/ 42 w 127"/>
                <a:gd name="T93" fmla="*/ 18 h 219"/>
                <a:gd name="T94" fmla="*/ 42 w 127"/>
                <a:gd name="T95" fmla="*/ 0 h 219"/>
                <a:gd name="T96" fmla="*/ 20 w 127"/>
                <a:gd name="T97" fmla="*/ 3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7" h="219">
                  <a:moveTo>
                    <a:pt x="20" y="3"/>
                  </a:moveTo>
                  <a:lnTo>
                    <a:pt x="12" y="15"/>
                  </a:lnTo>
                  <a:lnTo>
                    <a:pt x="0" y="30"/>
                  </a:lnTo>
                  <a:lnTo>
                    <a:pt x="10" y="35"/>
                  </a:lnTo>
                  <a:lnTo>
                    <a:pt x="12" y="45"/>
                  </a:lnTo>
                  <a:lnTo>
                    <a:pt x="12" y="55"/>
                  </a:lnTo>
                  <a:lnTo>
                    <a:pt x="2" y="63"/>
                  </a:lnTo>
                  <a:lnTo>
                    <a:pt x="5" y="73"/>
                  </a:lnTo>
                  <a:lnTo>
                    <a:pt x="17" y="75"/>
                  </a:lnTo>
                  <a:lnTo>
                    <a:pt x="20" y="85"/>
                  </a:lnTo>
                  <a:lnTo>
                    <a:pt x="15" y="92"/>
                  </a:lnTo>
                  <a:lnTo>
                    <a:pt x="45" y="100"/>
                  </a:lnTo>
                  <a:lnTo>
                    <a:pt x="50" y="110"/>
                  </a:lnTo>
                  <a:lnTo>
                    <a:pt x="60" y="112"/>
                  </a:lnTo>
                  <a:lnTo>
                    <a:pt x="57" y="122"/>
                  </a:lnTo>
                  <a:lnTo>
                    <a:pt x="42" y="132"/>
                  </a:lnTo>
                  <a:lnTo>
                    <a:pt x="30" y="132"/>
                  </a:lnTo>
                  <a:lnTo>
                    <a:pt x="27" y="145"/>
                  </a:lnTo>
                  <a:lnTo>
                    <a:pt x="32" y="152"/>
                  </a:lnTo>
                  <a:lnTo>
                    <a:pt x="30" y="165"/>
                  </a:lnTo>
                  <a:lnTo>
                    <a:pt x="20" y="172"/>
                  </a:lnTo>
                  <a:lnTo>
                    <a:pt x="47" y="177"/>
                  </a:lnTo>
                  <a:lnTo>
                    <a:pt x="45" y="182"/>
                  </a:lnTo>
                  <a:lnTo>
                    <a:pt x="35" y="184"/>
                  </a:lnTo>
                  <a:lnTo>
                    <a:pt x="25" y="197"/>
                  </a:lnTo>
                  <a:lnTo>
                    <a:pt x="12" y="209"/>
                  </a:lnTo>
                  <a:lnTo>
                    <a:pt x="12" y="219"/>
                  </a:lnTo>
                  <a:lnTo>
                    <a:pt x="37" y="209"/>
                  </a:lnTo>
                  <a:lnTo>
                    <a:pt x="55" y="202"/>
                  </a:lnTo>
                  <a:lnTo>
                    <a:pt x="77" y="207"/>
                  </a:lnTo>
                  <a:lnTo>
                    <a:pt x="97" y="194"/>
                  </a:lnTo>
                  <a:lnTo>
                    <a:pt x="119" y="189"/>
                  </a:lnTo>
                  <a:lnTo>
                    <a:pt x="107" y="177"/>
                  </a:lnTo>
                  <a:lnTo>
                    <a:pt x="114" y="172"/>
                  </a:lnTo>
                  <a:lnTo>
                    <a:pt x="124" y="172"/>
                  </a:lnTo>
                  <a:lnTo>
                    <a:pt x="127" y="145"/>
                  </a:lnTo>
                  <a:lnTo>
                    <a:pt x="104" y="137"/>
                  </a:lnTo>
                  <a:lnTo>
                    <a:pt x="102" y="120"/>
                  </a:lnTo>
                  <a:lnTo>
                    <a:pt x="99" y="107"/>
                  </a:lnTo>
                  <a:lnTo>
                    <a:pt x="87" y="102"/>
                  </a:lnTo>
                  <a:lnTo>
                    <a:pt x="89" y="87"/>
                  </a:lnTo>
                  <a:lnTo>
                    <a:pt x="77" y="85"/>
                  </a:lnTo>
                  <a:lnTo>
                    <a:pt x="82" y="63"/>
                  </a:lnTo>
                  <a:lnTo>
                    <a:pt x="52" y="43"/>
                  </a:lnTo>
                  <a:lnTo>
                    <a:pt x="67" y="38"/>
                  </a:lnTo>
                  <a:lnTo>
                    <a:pt x="69" y="18"/>
                  </a:lnTo>
                  <a:lnTo>
                    <a:pt x="42" y="18"/>
                  </a:lnTo>
                  <a:lnTo>
                    <a:pt x="42" y="0"/>
                  </a:lnTo>
                  <a:lnTo>
                    <a:pt x="2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2" name="Freeform 280"/>
            <p:cNvSpPr>
              <a:spLocks/>
            </p:cNvSpPr>
            <p:nvPr/>
          </p:nvSpPr>
          <p:spPr bwMode="auto">
            <a:xfrm>
              <a:off x="4225786" y="2423609"/>
              <a:ext cx="14392" cy="31663"/>
            </a:xfrm>
            <a:custGeom>
              <a:avLst/>
              <a:gdLst>
                <a:gd name="T0" fmla="*/ 10 w 10"/>
                <a:gd name="T1" fmla="*/ 0 h 22"/>
                <a:gd name="T2" fmla="*/ 0 w 10"/>
                <a:gd name="T3" fmla="*/ 10 h 22"/>
                <a:gd name="T4" fmla="*/ 2 w 10"/>
                <a:gd name="T5" fmla="*/ 22 h 22"/>
                <a:gd name="T6" fmla="*/ 10 w 10"/>
                <a:gd name="T7" fmla="*/ 22 h 22"/>
                <a:gd name="T8" fmla="*/ 10 w 10"/>
                <a:gd name="T9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" h="22">
                  <a:moveTo>
                    <a:pt x="10" y="0"/>
                  </a:moveTo>
                  <a:lnTo>
                    <a:pt x="0" y="10"/>
                  </a:lnTo>
                  <a:lnTo>
                    <a:pt x="2" y="22"/>
                  </a:lnTo>
                  <a:lnTo>
                    <a:pt x="10" y="22"/>
                  </a:lnTo>
                  <a:lnTo>
                    <a:pt x="10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3" name="Freeform 281"/>
            <p:cNvSpPr>
              <a:spLocks/>
            </p:cNvSpPr>
            <p:nvPr/>
          </p:nvSpPr>
          <p:spPr bwMode="auto">
            <a:xfrm>
              <a:off x="4379784" y="1980325"/>
              <a:ext cx="621750" cy="542591"/>
            </a:xfrm>
            <a:custGeom>
              <a:avLst/>
              <a:gdLst>
                <a:gd name="T0" fmla="*/ 373 w 432"/>
                <a:gd name="T1" fmla="*/ 52 h 377"/>
                <a:gd name="T2" fmla="*/ 345 w 432"/>
                <a:gd name="T3" fmla="*/ 37 h 377"/>
                <a:gd name="T4" fmla="*/ 323 w 432"/>
                <a:gd name="T5" fmla="*/ 62 h 377"/>
                <a:gd name="T6" fmla="*/ 291 w 432"/>
                <a:gd name="T7" fmla="*/ 82 h 377"/>
                <a:gd name="T8" fmla="*/ 261 w 432"/>
                <a:gd name="T9" fmla="*/ 77 h 377"/>
                <a:gd name="T10" fmla="*/ 243 w 432"/>
                <a:gd name="T11" fmla="*/ 97 h 377"/>
                <a:gd name="T12" fmla="*/ 214 w 432"/>
                <a:gd name="T13" fmla="*/ 97 h 377"/>
                <a:gd name="T14" fmla="*/ 194 w 432"/>
                <a:gd name="T15" fmla="*/ 111 h 377"/>
                <a:gd name="T16" fmla="*/ 181 w 432"/>
                <a:gd name="T17" fmla="*/ 124 h 377"/>
                <a:gd name="T18" fmla="*/ 169 w 432"/>
                <a:gd name="T19" fmla="*/ 146 h 377"/>
                <a:gd name="T20" fmla="*/ 154 w 432"/>
                <a:gd name="T21" fmla="*/ 161 h 377"/>
                <a:gd name="T22" fmla="*/ 142 w 432"/>
                <a:gd name="T23" fmla="*/ 188 h 377"/>
                <a:gd name="T24" fmla="*/ 144 w 432"/>
                <a:gd name="T25" fmla="*/ 213 h 377"/>
                <a:gd name="T26" fmla="*/ 119 w 432"/>
                <a:gd name="T27" fmla="*/ 216 h 377"/>
                <a:gd name="T28" fmla="*/ 119 w 432"/>
                <a:gd name="T29" fmla="*/ 261 h 377"/>
                <a:gd name="T30" fmla="*/ 132 w 432"/>
                <a:gd name="T31" fmla="*/ 300 h 377"/>
                <a:gd name="T32" fmla="*/ 119 w 432"/>
                <a:gd name="T33" fmla="*/ 330 h 377"/>
                <a:gd name="T34" fmla="*/ 107 w 432"/>
                <a:gd name="T35" fmla="*/ 365 h 377"/>
                <a:gd name="T36" fmla="*/ 69 w 432"/>
                <a:gd name="T37" fmla="*/ 360 h 377"/>
                <a:gd name="T38" fmla="*/ 42 w 432"/>
                <a:gd name="T39" fmla="*/ 375 h 377"/>
                <a:gd name="T40" fmla="*/ 20 w 432"/>
                <a:gd name="T41" fmla="*/ 355 h 377"/>
                <a:gd name="T42" fmla="*/ 15 w 432"/>
                <a:gd name="T43" fmla="*/ 318 h 377"/>
                <a:gd name="T44" fmla="*/ 0 w 432"/>
                <a:gd name="T45" fmla="*/ 271 h 377"/>
                <a:gd name="T46" fmla="*/ 17 w 432"/>
                <a:gd name="T47" fmla="*/ 253 h 377"/>
                <a:gd name="T48" fmla="*/ 50 w 432"/>
                <a:gd name="T49" fmla="*/ 246 h 377"/>
                <a:gd name="T50" fmla="*/ 74 w 432"/>
                <a:gd name="T51" fmla="*/ 233 h 377"/>
                <a:gd name="T52" fmla="*/ 102 w 432"/>
                <a:gd name="T53" fmla="*/ 203 h 377"/>
                <a:gd name="T54" fmla="*/ 117 w 432"/>
                <a:gd name="T55" fmla="*/ 179 h 377"/>
                <a:gd name="T56" fmla="*/ 127 w 432"/>
                <a:gd name="T57" fmla="*/ 146 h 377"/>
                <a:gd name="T58" fmla="*/ 159 w 432"/>
                <a:gd name="T59" fmla="*/ 109 h 377"/>
                <a:gd name="T60" fmla="*/ 201 w 432"/>
                <a:gd name="T61" fmla="*/ 92 h 377"/>
                <a:gd name="T62" fmla="*/ 241 w 432"/>
                <a:gd name="T63" fmla="*/ 79 h 377"/>
                <a:gd name="T64" fmla="*/ 261 w 432"/>
                <a:gd name="T65" fmla="*/ 57 h 377"/>
                <a:gd name="T66" fmla="*/ 243 w 432"/>
                <a:gd name="T67" fmla="*/ 29 h 377"/>
                <a:gd name="T68" fmla="*/ 268 w 432"/>
                <a:gd name="T69" fmla="*/ 12 h 377"/>
                <a:gd name="T70" fmla="*/ 281 w 432"/>
                <a:gd name="T71" fmla="*/ 32 h 377"/>
                <a:gd name="T72" fmla="*/ 291 w 432"/>
                <a:gd name="T73" fmla="*/ 22 h 377"/>
                <a:gd name="T74" fmla="*/ 306 w 432"/>
                <a:gd name="T75" fmla="*/ 32 h 377"/>
                <a:gd name="T76" fmla="*/ 303 w 432"/>
                <a:gd name="T77" fmla="*/ 12 h 377"/>
                <a:gd name="T78" fmla="*/ 333 w 432"/>
                <a:gd name="T79" fmla="*/ 14 h 377"/>
                <a:gd name="T80" fmla="*/ 348 w 432"/>
                <a:gd name="T81" fmla="*/ 17 h 377"/>
                <a:gd name="T82" fmla="*/ 380 w 432"/>
                <a:gd name="T83" fmla="*/ 7 h 377"/>
                <a:gd name="T84" fmla="*/ 395 w 432"/>
                <a:gd name="T85" fmla="*/ 32 h 377"/>
                <a:gd name="T86" fmla="*/ 410 w 432"/>
                <a:gd name="T87" fmla="*/ 59 h 377"/>
                <a:gd name="T88" fmla="*/ 383 w 432"/>
                <a:gd name="T89" fmla="*/ 99 h 377"/>
                <a:gd name="T90" fmla="*/ 373 w 432"/>
                <a:gd name="T91" fmla="*/ 52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32" h="377">
                  <a:moveTo>
                    <a:pt x="363" y="82"/>
                  </a:moveTo>
                  <a:lnTo>
                    <a:pt x="373" y="52"/>
                  </a:lnTo>
                  <a:lnTo>
                    <a:pt x="360" y="39"/>
                  </a:lnTo>
                  <a:lnTo>
                    <a:pt x="345" y="37"/>
                  </a:lnTo>
                  <a:lnTo>
                    <a:pt x="335" y="47"/>
                  </a:lnTo>
                  <a:lnTo>
                    <a:pt x="323" y="62"/>
                  </a:lnTo>
                  <a:lnTo>
                    <a:pt x="316" y="79"/>
                  </a:lnTo>
                  <a:lnTo>
                    <a:pt x="291" y="82"/>
                  </a:lnTo>
                  <a:lnTo>
                    <a:pt x="276" y="79"/>
                  </a:lnTo>
                  <a:lnTo>
                    <a:pt x="261" y="77"/>
                  </a:lnTo>
                  <a:lnTo>
                    <a:pt x="251" y="84"/>
                  </a:lnTo>
                  <a:lnTo>
                    <a:pt x="243" y="97"/>
                  </a:lnTo>
                  <a:lnTo>
                    <a:pt x="226" y="97"/>
                  </a:lnTo>
                  <a:lnTo>
                    <a:pt x="214" y="97"/>
                  </a:lnTo>
                  <a:lnTo>
                    <a:pt x="204" y="106"/>
                  </a:lnTo>
                  <a:lnTo>
                    <a:pt x="194" y="111"/>
                  </a:lnTo>
                  <a:lnTo>
                    <a:pt x="184" y="109"/>
                  </a:lnTo>
                  <a:lnTo>
                    <a:pt x="181" y="124"/>
                  </a:lnTo>
                  <a:lnTo>
                    <a:pt x="174" y="129"/>
                  </a:lnTo>
                  <a:lnTo>
                    <a:pt x="169" y="146"/>
                  </a:lnTo>
                  <a:lnTo>
                    <a:pt x="159" y="146"/>
                  </a:lnTo>
                  <a:lnTo>
                    <a:pt x="154" y="161"/>
                  </a:lnTo>
                  <a:lnTo>
                    <a:pt x="144" y="164"/>
                  </a:lnTo>
                  <a:lnTo>
                    <a:pt x="142" y="188"/>
                  </a:lnTo>
                  <a:lnTo>
                    <a:pt x="134" y="203"/>
                  </a:lnTo>
                  <a:lnTo>
                    <a:pt x="144" y="213"/>
                  </a:lnTo>
                  <a:lnTo>
                    <a:pt x="137" y="218"/>
                  </a:lnTo>
                  <a:lnTo>
                    <a:pt x="119" y="216"/>
                  </a:lnTo>
                  <a:lnTo>
                    <a:pt x="114" y="228"/>
                  </a:lnTo>
                  <a:lnTo>
                    <a:pt x="119" y="261"/>
                  </a:lnTo>
                  <a:lnTo>
                    <a:pt x="122" y="280"/>
                  </a:lnTo>
                  <a:lnTo>
                    <a:pt x="132" y="300"/>
                  </a:lnTo>
                  <a:lnTo>
                    <a:pt x="137" y="320"/>
                  </a:lnTo>
                  <a:lnTo>
                    <a:pt x="119" y="330"/>
                  </a:lnTo>
                  <a:lnTo>
                    <a:pt x="114" y="353"/>
                  </a:lnTo>
                  <a:lnTo>
                    <a:pt x="107" y="365"/>
                  </a:lnTo>
                  <a:lnTo>
                    <a:pt x="94" y="358"/>
                  </a:lnTo>
                  <a:lnTo>
                    <a:pt x="69" y="360"/>
                  </a:lnTo>
                  <a:lnTo>
                    <a:pt x="55" y="370"/>
                  </a:lnTo>
                  <a:lnTo>
                    <a:pt x="42" y="375"/>
                  </a:lnTo>
                  <a:lnTo>
                    <a:pt x="20" y="377"/>
                  </a:lnTo>
                  <a:lnTo>
                    <a:pt x="20" y="355"/>
                  </a:lnTo>
                  <a:lnTo>
                    <a:pt x="10" y="350"/>
                  </a:lnTo>
                  <a:lnTo>
                    <a:pt x="15" y="318"/>
                  </a:lnTo>
                  <a:lnTo>
                    <a:pt x="2" y="315"/>
                  </a:lnTo>
                  <a:lnTo>
                    <a:pt x="0" y="271"/>
                  </a:lnTo>
                  <a:lnTo>
                    <a:pt x="15" y="266"/>
                  </a:lnTo>
                  <a:lnTo>
                    <a:pt x="17" y="253"/>
                  </a:lnTo>
                  <a:lnTo>
                    <a:pt x="35" y="248"/>
                  </a:lnTo>
                  <a:lnTo>
                    <a:pt x="50" y="246"/>
                  </a:lnTo>
                  <a:lnTo>
                    <a:pt x="57" y="236"/>
                  </a:lnTo>
                  <a:lnTo>
                    <a:pt x="74" y="233"/>
                  </a:lnTo>
                  <a:lnTo>
                    <a:pt x="77" y="213"/>
                  </a:lnTo>
                  <a:lnTo>
                    <a:pt x="102" y="203"/>
                  </a:lnTo>
                  <a:lnTo>
                    <a:pt x="104" y="188"/>
                  </a:lnTo>
                  <a:lnTo>
                    <a:pt x="117" y="179"/>
                  </a:lnTo>
                  <a:lnTo>
                    <a:pt x="122" y="161"/>
                  </a:lnTo>
                  <a:lnTo>
                    <a:pt x="127" y="146"/>
                  </a:lnTo>
                  <a:lnTo>
                    <a:pt x="144" y="126"/>
                  </a:lnTo>
                  <a:lnTo>
                    <a:pt x="159" y="109"/>
                  </a:lnTo>
                  <a:lnTo>
                    <a:pt x="176" y="97"/>
                  </a:lnTo>
                  <a:lnTo>
                    <a:pt x="201" y="92"/>
                  </a:lnTo>
                  <a:lnTo>
                    <a:pt x="214" y="84"/>
                  </a:lnTo>
                  <a:lnTo>
                    <a:pt x="241" y="79"/>
                  </a:lnTo>
                  <a:lnTo>
                    <a:pt x="246" y="64"/>
                  </a:lnTo>
                  <a:lnTo>
                    <a:pt x="261" y="57"/>
                  </a:lnTo>
                  <a:lnTo>
                    <a:pt x="256" y="39"/>
                  </a:lnTo>
                  <a:lnTo>
                    <a:pt x="243" y="29"/>
                  </a:lnTo>
                  <a:lnTo>
                    <a:pt x="261" y="24"/>
                  </a:lnTo>
                  <a:lnTo>
                    <a:pt x="268" y="12"/>
                  </a:lnTo>
                  <a:lnTo>
                    <a:pt x="271" y="29"/>
                  </a:lnTo>
                  <a:lnTo>
                    <a:pt x="281" y="32"/>
                  </a:lnTo>
                  <a:lnTo>
                    <a:pt x="281" y="22"/>
                  </a:lnTo>
                  <a:lnTo>
                    <a:pt x="291" y="22"/>
                  </a:lnTo>
                  <a:lnTo>
                    <a:pt x="293" y="29"/>
                  </a:lnTo>
                  <a:lnTo>
                    <a:pt x="306" y="32"/>
                  </a:lnTo>
                  <a:lnTo>
                    <a:pt x="311" y="19"/>
                  </a:lnTo>
                  <a:lnTo>
                    <a:pt x="303" y="12"/>
                  </a:lnTo>
                  <a:lnTo>
                    <a:pt x="318" y="5"/>
                  </a:lnTo>
                  <a:lnTo>
                    <a:pt x="333" y="14"/>
                  </a:lnTo>
                  <a:lnTo>
                    <a:pt x="343" y="0"/>
                  </a:lnTo>
                  <a:lnTo>
                    <a:pt x="348" y="17"/>
                  </a:lnTo>
                  <a:lnTo>
                    <a:pt x="363" y="19"/>
                  </a:lnTo>
                  <a:lnTo>
                    <a:pt x="380" y="7"/>
                  </a:lnTo>
                  <a:lnTo>
                    <a:pt x="400" y="19"/>
                  </a:lnTo>
                  <a:lnTo>
                    <a:pt x="395" y="32"/>
                  </a:lnTo>
                  <a:lnTo>
                    <a:pt x="432" y="44"/>
                  </a:lnTo>
                  <a:lnTo>
                    <a:pt x="410" y="59"/>
                  </a:lnTo>
                  <a:lnTo>
                    <a:pt x="390" y="82"/>
                  </a:lnTo>
                  <a:lnTo>
                    <a:pt x="383" y="99"/>
                  </a:lnTo>
                  <a:lnTo>
                    <a:pt x="365" y="82"/>
                  </a:lnTo>
                  <a:lnTo>
                    <a:pt x="373" y="52"/>
                  </a:lnTo>
                  <a:lnTo>
                    <a:pt x="363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4" name="Freeform 282"/>
            <p:cNvSpPr>
              <a:spLocks/>
            </p:cNvSpPr>
            <p:nvPr/>
          </p:nvSpPr>
          <p:spPr bwMode="auto">
            <a:xfrm>
              <a:off x="4161020" y="2770464"/>
              <a:ext cx="297922" cy="315193"/>
            </a:xfrm>
            <a:custGeom>
              <a:avLst/>
              <a:gdLst>
                <a:gd name="T0" fmla="*/ 107 w 207"/>
                <a:gd name="T1" fmla="*/ 5 h 219"/>
                <a:gd name="T2" fmla="*/ 102 w 207"/>
                <a:gd name="T3" fmla="*/ 20 h 219"/>
                <a:gd name="T4" fmla="*/ 95 w 207"/>
                <a:gd name="T5" fmla="*/ 27 h 219"/>
                <a:gd name="T6" fmla="*/ 90 w 207"/>
                <a:gd name="T7" fmla="*/ 37 h 219"/>
                <a:gd name="T8" fmla="*/ 77 w 207"/>
                <a:gd name="T9" fmla="*/ 35 h 219"/>
                <a:gd name="T10" fmla="*/ 75 w 207"/>
                <a:gd name="T11" fmla="*/ 47 h 219"/>
                <a:gd name="T12" fmla="*/ 60 w 207"/>
                <a:gd name="T13" fmla="*/ 47 h 219"/>
                <a:gd name="T14" fmla="*/ 50 w 207"/>
                <a:gd name="T15" fmla="*/ 37 h 219"/>
                <a:gd name="T16" fmla="*/ 42 w 207"/>
                <a:gd name="T17" fmla="*/ 40 h 219"/>
                <a:gd name="T18" fmla="*/ 45 w 207"/>
                <a:gd name="T19" fmla="*/ 50 h 219"/>
                <a:gd name="T20" fmla="*/ 42 w 207"/>
                <a:gd name="T21" fmla="*/ 60 h 219"/>
                <a:gd name="T22" fmla="*/ 28 w 207"/>
                <a:gd name="T23" fmla="*/ 62 h 219"/>
                <a:gd name="T24" fmla="*/ 20 w 207"/>
                <a:gd name="T25" fmla="*/ 67 h 219"/>
                <a:gd name="T26" fmla="*/ 18 w 207"/>
                <a:gd name="T27" fmla="*/ 67 h 219"/>
                <a:gd name="T28" fmla="*/ 0 w 207"/>
                <a:gd name="T29" fmla="*/ 70 h 219"/>
                <a:gd name="T30" fmla="*/ 0 w 207"/>
                <a:gd name="T31" fmla="*/ 74 h 219"/>
                <a:gd name="T32" fmla="*/ 0 w 207"/>
                <a:gd name="T33" fmla="*/ 84 h 219"/>
                <a:gd name="T34" fmla="*/ 20 w 207"/>
                <a:gd name="T35" fmla="*/ 94 h 219"/>
                <a:gd name="T36" fmla="*/ 30 w 207"/>
                <a:gd name="T37" fmla="*/ 99 h 219"/>
                <a:gd name="T38" fmla="*/ 42 w 207"/>
                <a:gd name="T39" fmla="*/ 109 h 219"/>
                <a:gd name="T40" fmla="*/ 47 w 207"/>
                <a:gd name="T41" fmla="*/ 127 h 219"/>
                <a:gd name="T42" fmla="*/ 57 w 207"/>
                <a:gd name="T43" fmla="*/ 139 h 219"/>
                <a:gd name="T44" fmla="*/ 50 w 207"/>
                <a:gd name="T45" fmla="*/ 144 h 219"/>
                <a:gd name="T46" fmla="*/ 42 w 207"/>
                <a:gd name="T47" fmla="*/ 186 h 219"/>
                <a:gd name="T48" fmla="*/ 38 w 207"/>
                <a:gd name="T49" fmla="*/ 199 h 219"/>
                <a:gd name="T50" fmla="*/ 60 w 207"/>
                <a:gd name="T51" fmla="*/ 206 h 219"/>
                <a:gd name="T52" fmla="*/ 85 w 207"/>
                <a:gd name="T53" fmla="*/ 209 h 219"/>
                <a:gd name="T54" fmla="*/ 97 w 207"/>
                <a:gd name="T55" fmla="*/ 219 h 219"/>
                <a:gd name="T56" fmla="*/ 132 w 207"/>
                <a:gd name="T57" fmla="*/ 216 h 219"/>
                <a:gd name="T58" fmla="*/ 127 w 207"/>
                <a:gd name="T59" fmla="*/ 204 h 219"/>
                <a:gd name="T60" fmla="*/ 134 w 207"/>
                <a:gd name="T61" fmla="*/ 191 h 219"/>
                <a:gd name="T62" fmla="*/ 149 w 207"/>
                <a:gd name="T63" fmla="*/ 189 h 219"/>
                <a:gd name="T64" fmla="*/ 164 w 207"/>
                <a:gd name="T65" fmla="*/ 189 h 219"/>
                <a:gd name="T66" fmla="*/ 174 w 207"/>
                <a:gd name="T67" fmla="*/ 196 h 219"/>
                <a:gd name="T68" fmla="*/ 189 w 207"/>
                <a:gd name="T69" fmla="*/ 201 h 219"/>
                <a:gd name="T70" fmla="*/ 197 w 207"/>
                <a:gd name="T71" fmla="*/ 184 h 219"/>
                <a:gd name="T72" fmla="*/ 197 w 207"/>
                <a:gd name="T73" fmla="*/ 171 h 219"/>
                <a:gd name="T74" fmla="*/ 184 w 207"/>
                <a:gd name="T75" fmla="*/ 166 h 219"/>
                <a:gd name="T76" fmla="*/ 182 w 207"/>
                <a:gd name="T77" fmla="*/ 149 h 219"/>
                <a:gd name="T78" fmla="*/ 189 w 207"/>
                <a:gd name="T79" fmla="*/ 137 h 219"/>
                <a:gd name="T80" fmla="*/ 189 w 207"/>
                <a:gd name="T81" fmla="*/ 124 h 219"/>
                <a:gd name="T82" fmla="*/ 179 w 207"/>
                <a:gd name="T83" fmla="*/ 117 h 219"/>
                <a:gd name="T84" fmla="*/ 184 w 207"/>
                <a:gd name="T85" fmla="*/ 104 h 219"/>
                <a:gd name="T86" fmla="*/ 192 w 207"/>
                <a:gd name="T87" fmla="*/ 94 h 219"/>
                <a:gd name="T88" fmla="*/ 202 w 207"/>
                <a:gd name="T89" fmla="*/ 92 h 219"/>
                <a:gd name="T90" fmla="*/ 199 w 207"/>
                <a:gd name="T91" fmla="*/ 65 h 219"/>
                <a:gd name="T92" fmla="*/ 207 w 207"/>
                <a:gd name="T93" fmla="*/ 55 h 219"/>
                <a:gd name="T94" fmla="*/ 192 w 207"/>
                <a:gd name="T95" fmla="*/ 40 h 219"/>
                <a:gd name="T96" fmla="*/ 167 w 207"/>
                <a:gd name="T97" fmla="*/ 42 h 219"/>
                <a:gd name="T98" fmla="*/ 144 w 207"/>
                <a:gd name="T99" fmla="*/ 35 h 219"/>
                <a:gd name="T100" fmla="*/ 137 w 207"/>
                <a:gd name="T101" fmla="*/ 20 h 219"/>
                <a:gd name="T102" fmla="*/ 125 w 207"/>
                <a:gd name="T103" fmla="*/ 12 h 219"/>
                <a:gd name="T104" fmla="*/ 125 w 207"/>
                <a:gd name="T105" fmla="*/ 0 h 219"/>
                <a:gd name="T106" fmla="*/ 107 w 207"/>
                <a:gd name="T107" fmla="*/ 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07" h="219">
                  <a:moveTo>
                    <a:pt x="107" y="5"/>
                  </a:moveTo>
                  <a:lnTo>
                    <a:pt x="102" y="20"/>
                  </a:lnTo>
                  <a:lnTo>
                    <a:pt x="95" y="27"/>
                  </a:lnTo>
                  <a:lnTo>
                    <a:pt x="90" y="37"/>
                  </a:lnTo>
                  <a:lnTo>
                    <a:pt x="77" y="35"/>
                  </a:lnTo>
                  <a:lnTo>
                    <a:pt x="75" y="47"/>
                  </a:lnTo>
                  <a:lnTo>
                    <a:pt x="60" y="47"/>
                  </a:lnTo>
                  <a:lnTo>
                    <a:pt x="50" y="37"/>
                  </a:lnTo>
                  <a:lnTo>
                    <a:pt x="42" y="40"/>
                  </a:lnTo>
                  <a:lnTo>
                    <a:pt x="45" y="50"/>
                  </a:lnTo>
                  <a:lnTo>
                    <a:pt x="42" y="60"/>
                  </a:lnTo>
                  <a:lnTo>
                    <a:pt x="28" y="62"/>
                  </a:lnTo>
                  <a:lnTo>
                    <a:pt x="20" y="67"/>
                  </a:lnTo>
                  <a:lnTo>
                    <a:pt x="18" y="67"/>
                  </a:lnTo>
                  <a:lnTo>
                    <a:pt x="0" y="70"/>
                  </a:lnTo>
                  <a:lnTo>
                    <a:pt x="0" y="74"/>
                  </a:lnTo>
                  <a:lnTo>
                    <a:pt x="0" y="84"/>
                  </a:lnTo>
                  <a:lnTo>
                    <a:pt x="20" y="94"/>
                  </a:lnTo>
                  <a:lnTo>
                    <a:pt x="30" y="99"/>
                  </a:lnTo>
                  <a:lnTo>
                    <a:pt x="42" y="109"/>
                  </a:lnTo>
                  <a:lnTo>
                    <a:pt x="47" y="127"/>
                  </a:lnTo>
                  <a:lnTo>
                    <a:pt x="57" y="139"/>
                  </a:lnTo>
                  <a:lnTo>
                    <a:pt x="50" y="144"/>
                  </a:lnTo>
                  <a:lnTo>
                    <a:pt x="42" y="186"/>
                  </a:lnTo>
                  <a:lnTo>
                    <a:pt x="38" y="199"/>
                  </a:lnTo>
                  <a:lnTo>
                    <a:pt x="60" y="206"/>
                  </a:lnTo>
                  <a:lnTo>
                    <a:pt x="85" y="209"/>
                  </a:lnTo>
                  <a:lnTo>
                    <a:pt x="97" y="219"/>
                  </a:lnTo>
                  <a:lnTo>
                    <a:pt x="132" y="216"/>
                  </a:lnTo>
                  <a:lnTo>
                    <a:pt x="127" y="204"/>
                  </a:lnTo>
                  <a:lnTo>
                    <a:pt x="134" y="191"/>
                  </a:lnTo>
                  <a:lnTo>
                    <a:pt x="149" y="189"/>
                  </a:lnTo>
                  <a:lnTo>
                    <a:pt x="164" y="189"/>
                  </a:lnTo>
                  <a:lnTo>
                    <a:pt x="174" y="196"/>
                  </a:lnTo>
                  <a:lnTo>
                    <a:pt x="189" y="201"/>
                  </a:lnTo>
                  <a:lnTo>
                    <a:pt x="197" y="184"/>
                  </a:lnTo>
                  <a:lnTo>
                    <a:pt x="197" y="171"/>
                  </a:lnTo>
                  <a:lnTo>
                    <a:pt x="184" y="166"/>
                  </a:lnTo>
                  <a:lnTo>
                    <a:pt x="182" y="149"/>
                  </a:lnTo>
                  <a:lnTo>
                    <a:pt x="189" y="137"/>
                  </a:lnTo>
                  <a:lnTo>
                    <a:pt x="189" y="124"/>
                  </a:lnTo>
                  <a:lnTo>
                    <a:pt x="179" y="117"/>
                  </a:lnTo>
                  <a:lnTo>
                    <a:pt x="184" y="104"/>
                  </a:lnTo>
                  <a:lnTo>
                    <a:pt x="192" y="94"/>
                  </a:lnTo>
                  <a:lnTo>
                    <a:pt x="202" y="92"/>
                  </a:lnTo>
                  <a:lnTo>
                    <a:pt x="199" y="65"/>
                  </a:lnTo>
                  <a:lnTo>
                    <a:pt x="207" y="55"/>
                  </a:lnTo>
                  <a:lnTo>
                    <a:pt x="192" y="40"/>
                  </a:lnTo>
                  <a:lnTo>
                    <a:pt x="167" y="42"/>
                  </a:lnTo>
                  <a:lnTo>
                    <a:pt x="144" y="35"/>
                  </a:lnTo>
                  <a:lnTo>
                    <a:pt x="137" y="20"/>
                  </a:lnTo>
                  <a:lnTo>
                    <a:pt x="125" y="12"/>
                  </a:lnTo>
                  <a:lnTo>
                    <a:pt x="125" y="0"/>
                  </a:lnTo>
                  <a:lnTo>
                    <a:pt x="107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5" name="Freeform 283"/>
            <p:cNvSpPr>
              <a:spLocks/>
            </p:cNvSpPr>
            <p:nvPr/>
          </p:nvSpPr>
          <p:spPr bwMode="auto">
            <a:xfrm>
              <a:off x="4422961" y="2920145"/>
              <a:ext cx="303679" cy="300801"/>
            </a:xfrm>
            <a:custGeom>
              <a:avLst/>
              <a:gdLst>
                <a:gd name="T0" fmla="*/ 15 w 211"/>
                <a:gd name="T1" fmla="*/ 80 h 209"/>
                <a:gd name="T2" fmla="*/ 15 w 211"/>
                <a:gd name="T3" fmla="*/ 67 h 209"/>
                <a:gd name="T4" fmla="*/ 2 w 211"/>
                <a:gd name="T5" fmla="*/ 62 h 209"/>
                <a:gd name="T6" fmla="*/ 0 w 211"/>
                <a:gd name="T7" fmla="*/ 45 h 209"/>
                <a:gd name="T8" fmla="*/ 7 w 211"/>
                <a:gd name="T9" fmla="*/ 33 h 209"/>
                <a:gd name="T10" fmla="*/ 7 w 211"/>
                <a:gd name="T11" fmla="*/ 20 h 209"/>
                <a:gd name="T12" fmla="*/ 25 w 211"/>
                <a:gd name="T13" fmla="*/ 20 h 209"/>
                <a:gd name="T14" fmla="*/ 32 w 211"/>
                <a:gd name="T15" fmla="*/ 13 h 209"/>
                <a:gd name="T16" fmla="*/ 37 w 211"/>
                <a:gd name="T17" fmla="*/ 20 h 209"/>
                <a:gd name="T18" fmla="*/ 42 w 211"/>
                <a:gd name="T19" fmla="*/ 13 h 209"/>
                <a:gd name="T20" fmla="*/ 49 w 211"/>
                <a:gd name="T21" fmla="*/ 18 h 209"/>
                <a:gd name="T22" fmla="*/ 57 w 211"/>
                <a:gd name="T23" fmla="*/ 3 h 209"/>
                <a:gd name="T24" fmla="*/ 64 w 211"/>
                <a:gd name="T25" fmla="*/ 8 h 209"/>
                <a:gd name="T26" fmla="*/ 82 w 211"/>
                <a:gd name="T27" fmla="*/ 8 h 209"/>
                <a:gd name="T28" fmla="*/ 97 w 211"/>
                <a:gd name="T29" fmla="*/ 0 h 209"/>
                <a:gd name="T30" fmla="*/ 109 w 211"/>
                <a:gd name="T31" fmla="*/ 10 h 209"/>
                <a:gd name="T32" fmla="*/ 112 w 211"/>
                <a:gd name="T33" fmla="*/ 25 h 209"/>
                <a:gd name="T34" fmla="*/ 104 w 211"/>
                <a:gd name="T35" fmla="*/ 33 h 209"/>
                <a:gd name="T36" fmla="*/ 97 w 211"/>
                <a:gd name="T37" fmla="*/ 50 h 209"/>
                <a:gd name="T38" fmla="*/ 99 w 211"/>
                <a:gd name="T39" fmla="*/ 62 h 209"/>
                <a:gd name="T40" fmla="*/ 107 w 211"/>
                <a:gd name="T41" fmla="*/ 67 h 209"/>
                <a:gd name="T42" fmla="*/ 117 w 211"/>
                <a:gd name="T43" fmla="*/ 85 h 209"/>
                <a:gd name="T44" fmla="*/ 131 w 211"/>
                <a:gd name="T45" fmla="*/ 105 h 209"/>
                <a:gd name="T46" fmla="*/ 151 w 211"/>
                <a:gd name="T47" fmla="*/ 125 h 209"/>
                <a:gd name="T48" fmla="*/ 164 w 211"/>
                <a:gd name="T49" fmla="*/ 125 h 209"/>
                <a:gd name="T50" fmla="*/ 171 w 211"/>
                <a:gd name="T51" fmla="*/ 122 h 209"/>
                <a:gd name="T52" fmla="*/ 174 w 211"/>
                <a:gd name="T53" fmla="*/ 130 h 209"/>
                <a:gd name="T54" fmla="*/ 179 w 211"/>
                <a:gd name="T55" fmla="*/ 137 h 209"/>
                <a:gd name="T56" fmla="*/ 184 w 211"/>
                <a:gd name="T57" fmla="*/ 144 h 209"/>
                <a:gd name="T58" fmla="*/ 191 w 211"/>
                <a:gd name="T59" fmla="*/ 152 h 209"/>
                <a:gd name="T60" fmla="*/ 201 w 211"/>
                <a:gd name="T61" fmla="*/ 159 h 209"/>
                <a:gd name="T62" fmla="*/ 211 w 211"/>
                <a:gd name="T63" fmla="*/ 172 h 209"/>
                <a:gd name="T64" fmla="*/ 204 w 211"/>
                <a:gd name="T65" fmla="*/ 177 h 209"/>
                <a:gd name="T66" fmla="*/ 189 w 211"/>
                <a:gd name="T67" fmla="*/ 164 h 209"/>
                <a:gd name="T68" fmla="*/ 179 w 211"/>
                <a:gd name="T69" fmla="*/ 169 h 209"/>
                <a:gd name="T70" fmla="*/ 176 w 211"/>
                <a:gd name="T71" fmla="*/ 179 h 209"/>
                <a:gd name="T72" fmla="*/ 181 w 211"/>
                <a:gd name="T73" fmla="*/ 192 h 209"/>
                <a:gd name="T74" fmla="*/ 176 w 211"/>
                <a:gd name="T75" fmla="*/ 199 h 209"/>
                <a:gd name="T76" fmla="*/ 171 w 211"/>
                <a:gd name="T77" fmla="*/ 209 h 209"/>
                <a:gd name="T78" fmla="*/ 161 w 211"/>
                <a:gd name="T79" fmla="*/ 209 h 209"/>
                <a:gd name="T80" fmla="*/ 161 w 211"/>
                <a:gd name="T81" fmla="*/ 187 h 209"/>
                <a:gd name="T82" fmla="*/ 161 w 211"/>
                <a:gd name="T83" fmla="*/ 177 h 209"/>
                <a:gd name="T84" fmla="*/ 149 w 211"/>
                <a:gd name="T85" fmla="*/ 169 h 209"/>
                <a:gd name="T86" fmla="*/ 144 w 211"/>
                <a:gd name="T87" fmla="*/ 157 h 209"/>
                <a:gd name="T88" fmla="*/ 131 w 211"/>
                <a:gd name="T89" fmla="*/ 154 h 209"/>
                <a:gd name="T90" fmla="*/ 134 w 211"/>
                <a:gd name="T91" fmla="*/ 144 h 209"/>
                <a:gd name="T92" fmla="*/ 107 w 211"/>
                <a:gd name="T93" fmla="*/ 137 h 209"/>
                <a:gd name="T94" fmla="*/ 92 w 211"/>
                <a:gd name="T95" fmla="*/ 122 h 209"/>
                <a:gd name="T96" fmla="*/ 82 w 211"/>
                <a:gd name="T97" fmla="*/ 115 h 209"/>
                <a:gd name="T98" fmla="*/ 72 w 211"/>
                <a:gd name="T99" fmla="*/ 107 h 209"/>
                <a:gd name="T100" fmla="*/ 64 w 211"/>
                <a:gd name="T101" fmla="*/ 85 h 209"/>
                <a:gd name="T102" fmla="*/ 59 w 211"/>
                <a:gd name="T103" fmla="*/ 72 h 209"/>
                <a:gd name="T104" fmla="*/ 39 w 211"/>
                <a:gd name="T105" fmla="*/ 70 h 209"/>
                <a:gd name="T106" fmla="*/ 34 w 211"/>
                <a:gd name="T107" fmla="*/ 80 h 209"/>
                <a:gd name="T108" fmla="*/ 15 w 211"/>
                <a:gd name="T109" fmla="*/ 80 h 2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211" h="209">
                  <a:moveTo>
                    <a:pt x="15" y="80"/>
                  </a:moveTo>
                  <a:lnTo>
                    <a:pt x="15" y="67"/>
                  </a:lnTo>
                  <a:lnTo>
                    <a:pt x="2" y="62"/>
                  </a:lnTo>
                  <a:lnTo>
                    <a:pt x="0" y="45"/>
                  </a:lnTo>
                  <a:lnTo>
                    <a:pt x="7" y="33"/>
                  </a:lnTo>
                  <a:lnTo>
                    <a:pt x="7" y="20"/>
                  </a:lnTo>
                  <a:lnTo>
                    <a:pt x="25" y="20"/>
                  </a:lnTo>
                  <a:lnTo>
                    <a:pt x="32" y="13"/>
                  </a:lnTo>
                  <a:lnTo>
                    <a:pt x="37" y="20"/>
                  </a:lnTo>
                  <a:lnTo>
                    <a:pt x="42" y="13"/>
                  </a:lnTo>
                  <a:lnTo>
                    <a:pt x="49" y="18"/>
                  </a:lnTo>
                  <a:lnTo>
                    <a:pt x="57" y="3"/>
                  </a:lnTo>
                  <a:lnTo>
                    <a:pt x="64" y="8"/>
                  </a:lnTo>
                  <a:lnTo>
                    <a:pt x="82" y="8"/>
                  </a:lnTo>
                  <a:lnTo>
                    <a:pt x="97" y="0"/>
                  </a:lnTo>
                  <a:lnTo>
                    <a:pt x="109" y="10"/>
                  </a:lnTo>
                  <a:lnTo>
                    <a:pt x="112" y="25"/>
                  </a:lnTo>
                  <a:lnTo>
                    <a:pt x="104" y="33"/>
                  </a:lnTo>
                  <a:lnTo>
                    <a:pt x="97" y="50"/>
                  </a:lnTo>
                  <a:lnTo>
                    <a:pt x="99" y="62"/>
                  </a:lnTo>
                  <a:lnTo>
                    <a:pt x="107" y="67"/>
                  </a:lnTo>
                  <a:lnTo>
                    <a:pt x="117" y="85"/>
                  </a:lnTo>
                  <a:lnTo>
                    <a:pt x="131" y="105"/>
                  </a:lnTo>
                  <a:lnTo>
                    <a:pt x="151" y="125"/>
                  </a:lnTo>
                  <a:lnTo>
                    <a:pt x="164" y="125"/>
                  </a:lnTo>
                  <a:lnTo>
                    <a:pt x="171" y="122"/>
                  </a:lnTo>
                  <a:lnTo>
                    <a:pt x="174" y="130"/>
                  </a:lnTo>
                  <a:lnTo>
                    <a:pt x="179" y="137"/>
                  </a:lnTo>
                  <a:lnTo>
                    <a:pt x="184" y="144"/>
                  </a:lnTo>
                  <a:lnTo>
                    <a:pt x="191" y="152"/>
                  </a:lnTo>
                  <a:lnTo>
                    <a:pt x="201" y="159"/>
                  </a:lnTo>
                  <a:lnTo>
                    <a:pt x="211" y="172"/>
                  </a:lnTo>
                  <a:lnTo>
                    <a:pt x="204" y="177"/>
                  </a:lnTo>
                  <a:lnTo>
                    <a:pt x="189" y="164"/>
                  </a:lnTo>
                  <a:lnTo>
                    <a:pt x="179" y="169"/>
                  </a:lnTo>
                  <a:lnTo>
                    <a:pt x="176" y="179"/>
                  </a:lnTo>
                  <a:lnTo>
                    <a:pt x="181" y="192"/>
                  </a:lnTo>
                  <a:lnTo>
                    <a:pt x="176" y="199"/>
                  </a:lnTo>
                  <a:lnTo>
                    <a:pt x="171" y="209"/>
                  </a:lnTo>
                  <a:lnTo>
                    <a:pt x="161" y="209"/>
                  </a:lnTo>
                  <a:lnTo>
                    <a:pt x="161" y="187"/>
                  </a:lnTo>
                  <a:lnTo>
                    <a:pt x="161" y="177"/>
                  </a:lnTo>
                  <a:lnTo>
                    <a:pt x="149" y="169"/>
                  </a:lnTo>
                  <a:lnTo>
                    <a:pt x="144" y="157"/>
                  </a:lnTo>
                  <a:lnTo>
                    <a:pt x="131" y="154"/>
                  </a:lnTo>
                  <a:lnTo>
                    <a:pt x="134" y="144"/>
                  </a:lnTo>
                  <a:lnTo>
                    <a:pt x="107" y="137"/>
                  </a:lnTo>
                  <a:lnTo>
                    <a:pt x="92" y="122"/>
                  </a:lnTo>
                  <a:lnTo>
                    <a:pt x="82" y="115"/>
                  </a:lnTo>
                  <a:lnTo>
                    <a:pt x="72" y="107"/>
                  </a:lnTo>
                  <a:lnTo>
                    <a:pt x="64" y="85"/>
                  </a:lnTo>
                  <a:lnTo>
                    <a:pt x="59" y="72"/>
                  </a:lnTo>
                  <a:lnTo>
                    <a:pt x="39" y="70"/>
                  </a:lnTo>
                  <a:lnTo>
                    <a:pt x="34" y="80"/>
                  </a:lnTo>
                  <a:lnTo>
                    <a:pt x="15" y="8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6" name="Freeform 284"/>
            <p:cNvSpPr>
              <a:spLocks/>
            </p:cNvSpPr>
            <p:nvPr/>
          </p:nvSpPr>
          <p:spPr bwMode="auto">
            <a:xfrm>
              <a:off x="4040124" y="3038162"/>
              <a:ext cx="310875" cy="247548"/>
            </a:xfrm>
            <a:custGeom>
              <a:avLst/>
              <a:gdLst>
                <a:gd name="T0" fmla="*/ 216 w 216"/>
                <a:gd name="T1" fmla="*/ 30 h 172"/>
                <a:gd name="T2" fmla="*/ 181 w 216"/>
                <a:gd name="T3" fmla="*/ 33 h 172"/>
                <a:gd name="T4" fmla="*/ 169 w 216"/>
                <a:gd name="T5" fmla="*/ 23 h 172"/>
                <a:gd name="T6" fmla="*/ 144 w 216"/>
                <a:gd name="T7" fmla="*/ 20 h 172"/>
                <a:gd name="T8" fmla="*/ 122 w 216"/>
                <a:gd name="T9" fmla="*/ 13 h 172"/>
                <a:gd name="T10" fmla="*/ 94 w 216"/>
                <a:gd name="T11" fmla="*/ 3 h 172"/>
                <a:gd name="T12" fmla="*/ 79 w 216"/>
                <a:gd name="T13" fmla="*/ 8 h 172"/>
                <a:gd name="T14" fmla="*/ 67 w 216"/>
                <a:gd name="T15" fmla="*/ 0 h 172"/>
                <a:gd name="T16" fmla="*/ 7 w 216"/>
                <a:gd name="T17" fmla="*/ 0 h 172"/>
                <a:gd name="T18" fmla="*/ 10 w 216"/>
                <a:gd name="T19" fmla="*/ 10 h 172"/>
                <a:gd name="T20" fmla="*/ 0 w 216"/>
                <a:gd name="T21" fmla="*/ 15 h 172"/>
                <a:gd name="T22" fmla="*/ 2 w 216"/>
                <a:gd name="T23" fmla="*/ 28 h 172"/>
                <a:gd name="T24" fmla="*/ 12 w 216"/>
                <a:gd name="T25" fmla="*/ 38 h 172"/>
                <a:gd name="T26" fmla="*/ 15 w 216"/>
                <a:gd name="T27" fmla="*/ 50 h 172"/>
                <a:gd name="T28" fmla="*/ 32 w 216"/>
                <a:gd name="T29" fmla="*/ 48 h 172"/>
                <a:gd name="T30" fmla="*/ 44 w 216"/>
                <a:gd name="T31" fmla="*/ 43 h 172"/>
                <a:gd name="T32" fmla="*/ 49 w 216"/>
                <a:gd name="T33" fmla="*/ 50 h 172"/>
                <a:gd name="T34" fmla="*/ 47 w 216"/>
                <a:gd name="T35" fmla="*/ 55 h 172"/>
                <a:gd name="T36" fmla="*/ 42 w 216"/>
                <a:gd name="T37" fmla="*/ 62 h 172"/>
                <a:gd name="T38" fmla="*/ 34 w 216"/>
                <a:gd name="T39" fmla="*/ 95 h 172"/>
                <a:gd name="T40" fmla="*/ 27 w 216"/>
                <a:gd name="T41" fmla="*/ 102 h 172"/>
                <a:gd name="T42" fmla="*/ 37 w 216"/>
                <a:gd name="T43" fmla="*/ 110 h 172"/>
                <a:gd name="T44" fmla="*/ 37 w 216"/>
                <a:gd name="T45" fmla="*/ 137 h 172"/>
                <a:gd name="T46" fmla="*/ 39 w 216"/>
                <a:gd name="T47" fmla="*/ 149 h 172"/>
                <a:gd name="T48" fmla="*/ 49 w 216"/>
                <a:gd name="T49" fmla="*/ 149 h 172"/>
                <a:gd name="T50" fmla="*/ 49 w 216"/>
                <a:gd name="T51" fmla="*/ 164 h 172"/>
                <a:gd name="T52" fmla="*/ 62 w 216"/>
                <a:gd name="T53" fmla="*/ 172 h 172"/>
                <a:gd name="T54" fmla="*/ 74 w 216"/>
                <a:gd name="T55" fmla="*/ 167 h 172"/>
                <a:gd name="T56" fmla="*/ 84 w 216"/>
                <a:gd name="T57" fmla="*/ 162 h 172"/>
                <a:gd name="T58" fmla="*/ 126 w 216"/>
                <a:gd name="T59" fmla="*/ 164 h 172"/>
                <a:gd name="T60" fmla="*/ 134 w 216"/>
                <a:gd name="T61" fmla="*/ 154 h 172"/>
                <a:gd name="T62" fmla="*/ 134 w 216"/>
                <a:gd name="T63" fmla="*/ 145 h 172"/>
                <a:gd name="T64" fmla="*/ 146 w 216"/>
                <a:gd name="T65" fmla="*/ 137 h 172"/>
                <a:gd name="T66" fmla="*/ 156 w 216"/>
                <a:gd name="T67" fmla="*/ 127 h 172"/>
                <a:gd name="T68" fmla="*/ 159 w 216"/>
                <a:gd name="T69" fmla="*/ 115 h 172"/>
                <a:gd name="T70" fmla="*/ 146 w 216"/>
                <a:gd name="T71" fmla="*/ 97 h 172"/>
                <a:gd name="T72" fmla="*/ 156 w 216"/>
                <a:gd name="T73" fmla="*/ 87 h 172"/>
                <a:gd name="T74" fmla="*/ 164 w 216"/>
                <a:gd name="T75" fmla="*/ 75 h 172"/>
                <a:gd name="T76" fmla="*/ 179 w 216"/>
                <a:gd name="T77" fmla="*/ 72 h 172"/>
                <a:gd name="T78" fmla="*/ 191 w 216"/>
                <a:gd name="T79" fmla="*/ 55 h 172"/>
                <a:gd name="T80" fmla="*/ 201 w 216"/>
                <a:gd name="T81" fmla="*/ 45 h 172"/>
                <a:gd name="T82" fmla="*/ 216 w 216"/>
                <a:gd name="T83" fmla="*/ 30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16" h="172">
                  <a:moveTo>
                    <a:pt x="216" y="30"/>
                  </a:moveTo>
                  <a:lnTo>
                    <a:pt x="181" y="33"/>
                  </a:lnTo>
                  <a:lnTo>
                    <a:pt x="169" y="23"/>
                  </a:lnTo>
                  <a:lnTo>
                    <a:pt x="144" y="20"/>
                  </a:lnTo>
                  <a:lnTo>
                    <a:pt x="122" y="13"/>
                  </a:lnTo>
                  <a:lnTo>
                    <a:pt x="94" y="3"/>
                  </a:lnTo>
                  <a:lnTo>
                    <a:pt x="79" y="8"/>
                  </a:lnTo>
                  <a:lnTo>
                    <a:pt x="67" y="0"/>
                  </a:lnTo>
                  <a:lnTo>
                    <a:pt x="7" y="0"/>
                  </a:lnTo>
                  <a:lnTo>
                    <a:pt x="10" y="10"/>
                  </a:lnTo>
                  <a:lnTo>
                    <a:pt x="0" y="15"/>
                  </a:lnTo>
                  <a:lnTo>
                    <a:pt x="2" y="28"/>
                  </a:lnTo>
                  <a:lnTo>
                    <a:pt x="12" y="38"/>
                  </a:lnTo>
                  <a:lnTo>
                    <a:pt x="15" y="50"/>
                  </a:lnTo>
                  <a:lnTo>
                    <a:pt x="32" y="48"/>
                  </a:lnTo>
                  <a:lnTo>
                    <a:pt x="44" y="43"/>
                  </a:lnTo>
                  <a:lnTo>
                    <a:pt x="49" y="50"/>
                  </a:lnTo>
                  <a:lnTo>
                    <a:pt x="47" y="55"/>
                  </a:lnTo>
                  <a:lnTo>
                    <a:pt x="42" y="62"/>
                  </a:lnTo>
                  <a:lnTo>
                    <a:pt x="34" y="95"/>
                  </a:lnTo>
                  <a:lnTo>
                    <a:pt x="27" y="102"/>
                  </a:lnTo>
                  <a:lnTo>
                    <a:pt x="37" y="110"/>
                  </a:lnTo>
                  <a:lnTo>
                    <a:pt x="37" y="137"/>
                  </a:lnTo>
                  <a:lnTo>
                    <a:pt x="39" y="149"/>
                  </a:lnTo>
                  <a:lnTo>
                    <a:pt x="49" y="149"/>
                  </a:lnTo>
                  <a:lnTo>
                    <a:pt x="49" y="164"/>
                  </a:lnTo>
                  <a:lnTo>
                    <a:pt x="62" y="172"/>
                  </a:lnTo>
                  <a:lnTo>
                    <a:pt x="74" y="167"/>
                  </a:lnTo>
                  <a:lnTo>
                    <a:pt x="84" y="162"/>
                  </a:lnTo>
                  <a:lnTo>
                    <a:pt x="126" y="164"/>
                  </a:lnTo>
                  <a:lnTo>
                    <a:pt x="134" y="154"/>
                  </a:lnTo>
                  <a:lnTo>
                    <a:pt x="134" y="145"/>
                  </a:lnTo>
                  <a:lnTo>
                    <a:pt x="146" y="137"/>
                  </a:lnTo>
                  <a:lnTo>
                    <a:pt x="156" y="127"/>
                  </a:lnTo>
                  <a:lnTo>
                    <a:pt x="159" y="115"/>
                  </a:lnTo>
                  <a:lnTo>
                    <a:pt x="146" y="97"/>
                  </a:lnTo>
                  <a:lnTo>
                    <a:pt x="156" y="87"/>
                  </a:lnTo>
                  <a:lnTo>
                    <a:pt x="164" y="75"/>
                  </a:lnTo>
                  <a:lnTo>
                    <a:pt x="179" y="72"/>
                  </a:lnTo>
                  <a:lnTo>
                    <a:pt x="191" y="55"/>
                  </a:lnTo>
                  <a:lnTo>
                    <a:pt x="201" y="45"/>
                  </a:lnTo>
                  <a:lnTo>
                    <a:pt x="216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7" name="Freeform 285"/>
            <p:cNvSpPr>
              <a:spLocks/>
            </p:cNvSpPr>
            <p:nvPr/>
          </p:nvSpPr>
          <p:spPr bwMode="auto">
            <a:xfrm>
              <a:off x="4021415" y="3092853"/>
              <a:ext cx="89233" cy="164073"/>
            </a:xfrm>
            <a:custGeom>
              <a:avLst/>
              <a:gdLst>
                <a:gd name="T0" fmla="*/ 50 w 62"/>
                <a:gd name="T1" fmla="*/ 99 h 114"/>
                <a:gd name="T2" fmla="*/ 50 w 62"/>
                <a:gd name="T3" fmla="*/ 72 h 114"/>
                <a:gd name="T4" fmla="*/ 40 w 62"/>
                <a:gd name="T5" fmla="*/ 64 h 114"/>
                <a:gd name="T6" fmla="*/ 47 w 62"/>
                <a:gd name="T7" fmla="*/ 57 h 114"/>
                <a:gd name="T8" fmla="*/ 55 w 62"/>
                <a:gd name="T9" fmla="*/ 24 h 114"/>
                <a:gd name="T10" fmla="*/ 60 w 62"/>
                <a:gd name="T11" fmla="*/ 17 h 114"/>
                <a:gd name="T12" fmla="*/ 62 w 62"/>
                <a:gd name="T13" fmla="*/ 12 h 114"/>
                <a:gd name="T14" fmla="*/ 57 w 62"/>
                <a:gd name="T15" fmla="*/ 5 h 114"/>
                <a:gd name="T16" fmla="*/ 45 w 62"/>
                <a:gd name="T17" fmla="*/ 10 h 114"/>
                <a:gd name="T18" fmla="*/ 28 w 62"/>
                <a:gd name="T19" fmla="*/ 12 h 114"/>
                <a:gd name="T20" fmla="*/ 25 w 62"/>
                <a:gd name="T21" fmla="*/ 0 h 114"/>
                <a:gd name="T22" fmla="*/ 18 w 62"/>
                <a:gd name="T23" fmla="*/ 15 h 114"/>
                <a:gd name="T24" fmla="*/ 18 w 62"/>
                <a:gd name="T25" fmla="*/ 32 h 114"/>
                <a:gd name="T26" fmla="*/ 20 w 62"/>
                <a:gd name="T27" fmla="*/ 39 h 114"/>
                <a:gd name="T28" fmla="*/ 13 w 62"/>
                <a:gd name="T29" fmla="*/ 52 h 114"/>
                <a:gd name="T30" fmla="*/ 3 w 62"/>
                <a:gd name="T31" fmla="*/ 59 h 114"/>
                <a:gd name="T32" fmla="*/ 0 w 62"/>
                <a:gd name="T33" fmla="*/ 79 h 114"/>
                <a:gd name="T34" fmla="*/ 13 w 62"/>
                <a:gd name="T35" fmla="*/ 84 h 114"/>
                <a:gd name="T36" fmla="*/ 13 w 62"/>
                <a:gd name="T37" fmla="*/ 97 h 114"/>
                <a:gd name="T38" fmla="*/ 15 w 62"/>
                <a:gd name="T39" fmla="*/ 109 h 114"/>
                <a:gd name="T40" fmla="*/ 28 w 62"/>
                <a:gd name="T41" fmla="*/ 114 h 114"/>
                <a:gd name="T42" fmla="*/ 43 w 62"/>
                <a:gd name="T43" fmla="*/ 114 h 114"/>
                <a:gd name="T44" fmla="*/ 50 w 62"/>
                <a:gd name="T45" fmla="*/ 99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2" h="114">
                  <a:moveTo>
                    <a:pt x="50" y="99"/>
                  </a:moveTo>
                  <a:lnTo>
                    <a:pt x="50" y="72"/>
                  </a:lnTo>
                  <a:lnTo>
                    <a:pt x="40" y="64"/>
                  </a:lnTo>
                  <a:lnTo>
                    <a:pt x="47" y="57"/>
                  </a:lnTo>
                  <a:lnTo>
                    <a:pt x="55" y="24"/>
                  </a:lnTo>
                  <a:lnTo>
                    <a:pt x="60" y="17"/>
                  </a:lnTo>
                  <a:lnTo>
                    <a:pt x="62" y="12"/>
                  </a:lnTo>
                  <a:lnTo>
                    <a:pt x="57" y="5"/>
                  </a:lnTo>
                  <a:lnTo>
                    <a:pt x="45" y="10"/>
                  </a:lnTo>
                  <a:lnTo>
                    <a:pt x="28" y="12"/>
                  </a:lnTo>
                  <a:lnTo>
                    <a:pt x="25" y="0"/>
                  </a:lnTo>
                  <a:lnTo>
                    <a:pt x="18" y="15"/>
                  </a:lnTo>
                  <a:lnTo>
                    <a:pt x="18" y="32"/>
                  </a:lnTo>
                  <a:lnTo>
                    <a:pt x="20" y="39"/>
                  </a:lnTo>
                  <a:lnTo>
                    <a:pt x="13" y="52"/>
                  </a:lnTo>
                  <a:lnTo>
                    <a:pt x="3" y="59"/>
                  </a:lnTo>
                  <a:lnTo>
                    <a:pt x="0" y="79"/>
                  </a:lnTo>
                  <a:lnTo>
                    <a:pt x="13" y="84"/>
                  </a:lnTo>
                  <a:lnTo>
                    <a:pt x="13" y="97"/>
                  </a:lnTo>
                  <a:lnTo>
                    <a:pt x="15" y="109"/>
                  </a:lnTo>
                  <a:lnTo>
                    <a:pt x="28" y="114"/>
                  </a:lnTo>
                  <a:lnTo>
                    <a:pt x="43" y="114"/>
                  </a:lnTo>
                  <a:lnTo>
                    <a:pt x="50" y="9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8" name="Freeform 286"/>
            <p:cNvSpPr>
              <a:spLocks/>
            </p:cNvSpPr>
            <p:nvPr/>
          </p:nvSpPr>
          <p:spPr bwMode="auto">
            <a:xfrm>
              <a:off x="4479092" y="3071265"/>
              <a:ext cx="25906" cy="46056"/>
            </a:xfrm>
            <a:custGeom>
              <a:avLst/>
              <a:gdLst>
                <a:gd name="T0" fmla="*/ 18 w 18"/>
                <a:gd name="T1" fmla="*/ 0 h 32"/>
                <a:gd name="T2" fmla="*/ 13 w 18"/>
                <a:gd name="T3" fmla="*/ 5 h 32"/>
                <a:gd name="T4" fmla="*/ 0 w 18"/>
                <a:gd name="T5" fmla="*/ 12 h 32"/>
                <a:gd name="T6" fmla="*/ 5 w 18"/>
                <a:gd name="T7" fmla="*/ 25 h 32"/>
                <a:gd name="T8" fmla="*/ 13 w 18"/>
                <a:gd name="T9" fmla="*/ 32 h 32"/>
                <a:gd name="T10" fmla="*/ 18 w 18"/>
                <a:gd name="T11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8" h="32">
                  <a:moveTo>
                    <a:pt x="18" y="0"/>
                  </a:moveTo>
                  <a:lnTo>
                    <a:pt x="13" y="5"/>
                  </a:lnTo>
                  <a:lnTo>
                    <a:pt x="0" y="12"/>
                  </a:lnTo>
                  <a:lnTo>
                    <a:pt x="5" y="25"/>
                  </a:lnTo>
                  <a:lnTo>
                    <a:pt x="13" y="32"/>
                  </a:lnTo>
                  <a:lnTo>
                    <a:pt x="18" y="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69" name="Freeform 287"/>
            <p:cNvSpPr>
              <a:spLocks/>
            </p:cNvSpPr>
            <p:nvPr/>
          </p:nvSpPr>
          <p:spPr bwMode="auto">
            <a:xfrm>
              <a:off x="4471895" y="3131713"/>
              <a:ext cx="33103" cy="60448"/>
            </a:xfrm>
            <a:custGeom>
              <a:avLst/>
              <a:gdLst>
                <a:gd name="T0" fmla="*/ 3 w 23"/>
                <a:gd name="T1" fmla="*/ 5 h 42"/>
                <a:gd name="T2" fmla="*/ 5 w 23"/>
                <a:gd name="T3" fmla="*/ 5 h 42"/>
                <a:gd name="T4" fmla="*/ 15 w 23"/>
                <a:gd name="T5" fmla="*/ 2 h 42"/>
                <a:gd name="T6" fmla="*/ 20 w 23"/>
                <a:gd name="T7" fmla="*/ 0 h 42"/>
                <a:gd name="T8" fmla="*/ 23 w 23"/>
                <a:gd name="T9" fmla="*/ 7 h 42"/>
                <a:gd name="T10" fmla="*/ 23 w 23"/>
                <a:gd name="T11" fmla="*/ 17 h 42"/>
                <a:gd name="T12" fmla="*/ 23 w 23"/>
                <a:gd name="T13" fmla="*/ 27 h 42"/>
                <a:gd name="T14" fmla="*/ 20 w 23"/>
                <a:gd name="T15" fmla="*/ 40 h 42"/>
                <a:gd name="T16" fmla="*/ 10 w 23"/>
                <a:gd name="T17" fmla="*/ 42 h 42"/>
                <a:gd name="T18" fmla="*/ 3 w 23"/>
                <a:gd name="T19" fmla="*/ 40 h 42"/>
                <a:gd name="T20" fmla="*/ 3 w 23"/>
                <a:gd name="T21" fmla="*/ 30 h 42"/>
                <a:gd name="T22" fmla="*/ 3 w 23"/>
                <a:gd name="T23" fmla="*/ 17 h 42"/>
                <a:gd name="T24" fmla="*/ 0 w 23"/>
                <a:gd name="T25" fmla="*/ 10 h 42"/>
                <a:gd name="T26" fmla="*/ 3 w 23"/>
                <a:gd name="T27" fmla="*/ 5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3" h="42">
                  <a:moveTo>
                    <a:pt x="3" y="5"/>
                  </a:moveTo>
                  <a:lnTo>
                    <a:pt x="5" y="5"/>
                  </a:lnTo>
                  <a:lnTo>
                    <a:pt x="15" y="2"/>
                  </a:lnTo>
                  <a:lnTo>
                    <a:pt x="20" y="0"/>
                  </a:lnTo>
                  <a:lnTo>
                    <a:pt x="23" y="7"/>
                  </a:lnTo>
                  <a:lnTo>
                    <a:pt x="23" y="17"/>
                  </a:lnTo>
                  <a:lnTo>
                    <a:pt x="23" y="27"/>
                  </a:lnTo>
                  <a:lnTo>
                    <a:pt x="20" y="40"/>
                  </a:lnTo>
                  <a:lnTo>
                    <a:pt x="10" y="42"/>
                  </a:lnTo>
                  <a:lnTo>
                    <a:pt x="3" y="40"/>
                  </a:lnTo>
                  <a:lnTo>
                    <a:pt x="3" y="30"/>
                  </a:lnTo>
                  <a:lnTo>
                    <a:pt x="3" y="17"/>
                  </a:lnTo>
                  <a:lnTo>
                    <a:pt x="0" y="10"/>
                  </a:lnTo>
                  <a:lnTo>
                    <a:pt x="3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0" name="Freeform 288"/>
            <p:cNvSpPr>
              <a:spLocks/>
            </p:cNvSpPr>
            <p:nvPr/>
          </p:nvSpPr>
          <p:spPr bwMode="auto">
            <a:xfrm>
              <a:off x="4748228" y="3102928"/>
              <a:ext cx="132410" cy="139605"/>
            </a:xfrm>
            <a:custGeom>
              <a:avLst/>
              <a:gdLst>
                <a:gd name="T0" fmla="*/ 42 w 92"/>
                <a:gd name="T1" fmla="*/ 72 h 97"/>
                <a:gd name="T2" fmla="*/ 20 w 92"/>
                <a:gd name="T3" fmla="*/ 67 h 97"/>
                <a:gd name="T4" fmla="*/ 20 w 92"/>
                <a:gd name="T5" fmla="*/ 57 h 97"/>
                <a:gd name="T6" fmla="*/ 2 w 92"/>
                <a:gd name="T7" fmla="*/ 42 h 97"/>
                <a:gd name="T8" fmla="*/ 0 w 92"/>
                <a:gd name="T9" fmla="*/ 27 h 97"/>
                <a:gd name="T10" fmla="*/ 17 w 92"/>
                <a:gd name="T11" fmla="*/ 15 h 97"/>
                <a:gd name="T12" fmla="*/ 30 w 92"/>
                <a:gd name="T13" fmla="*/ 17 h 97"/>
                <a:gd name="T14" fmla="*/ 47 w 92"/>
                <a:gd name="T15" fmla="*/ 5 h 97"/>
                <a:gd name="T16" fmla="*/ 57 w 92"/>
                <a:gd name="T17" fmla="*/ 5 h 97"/>
                <a:gd name="T18" fmla="*/ 72 w 92"/>
                <a:gd name="T19" fmla="*/ 10 h 97"/>
                <a:gd name="T20" fmla="*/ 84 w 92"/>
                <a:gd name="T21" fmla="*/ 0 h 97"/>
                <a:gd name="T22" fmla="*/ 92 w 92"/>
                <a:gd name="T23" fmla="*/ 0 h 97"/>
                <a:gd name="T24" fmla="*/ 92 w 92"/>
                <a:gd name="T25" fmla="*/ 17 h 97"/>
                <a:gd name="T26" fmla="*/ 82 w 92"/>
                <a:gd name="T27" fmla="*/ 20 h 97"/>
                <a:gd name="T28" fmla="*/ 77 w 92"/>
                <a:gd name="T29" fmla="*/ 25 h 97"/>
                <a:gd name="T30" fmla="*/ 70 w 92"/>
                <a:gd name="T31" fmla="*/ 30 h 97"/>
                <a:gd name="T32" fmla="*/ 74 w 92"/>
                <a:gd name="T33" fmla="*/ 37 h 97"/>
                <a:gd name="T34" fmla="*/ 62 w 92"/>
                <a:gd name="T35" fmla="*/ 42 h 97"/>
                <a:gd name="T36" fmla="*/ 57 w 92"/>
                <a:gd name="T37" fmla="*/ 37 h 97"/>
                <a:gd name="T38" fmla="*/ 50 w 92"/>
                <a:gd name="T39" fmla="*/ 37 h 97"/>
                <a:gd name="T40" fmla="*/ 57 w 92"/>
                <a:gd name="T41" fmla="*/ 47 h 97"/>
                <a:gd name="T42" fmla="*/ 47 w 92"/>
                <a:gd name="T43" fmla="*/ 57 h 97"/>
                <a:gd name="T44" fmla="*/ 60 w 92"/>
                <a:gd name="T45" fmla="*/ 62 h 97"/>
                <a:gd name="T46" fmla="*/ 77 w 92"/>
                <a:gd name="T47" fmla="*/ 72 h 97"/>
                <a:gd name="T48" fmla="*/ 79 w 92"/>
                <a:gd name="T49" fmla="*/ 82 h 97"/>
                <a:gd name="T50" fmla="*/ 72 w 92"/>
                <a:gd name="T51" fmla="*/ 80 h 97"/>
                <a:gd name="T52" fmla="*/ 57 w 92"/>
                <a:gd name="T53" fmla="*/ 87 h 97"/>
                <a:gd name="T54" fmla="*/ 62 w 92"/>
                <a:gd name="T55" fmla="*/ 97 h 97"/>
                <a:gd name="T56" fmla="*/ 32 w 92"/>
                <a:gd name="T57" fmla="*/ 97 h 97"/>
                <a:gd name="T58" fmla="*/ 32 w 92"/>
                <a:gd name="T59" fmla="*/ 87 h 97"/>
                <a:gd name="T60" fmla="*/ 22 w 92"/>
                <a:gd name="T61" fmla="*/ 82 h 97"/>
                <a:gd name="T62" fmla="*/ 32 w 92"/>
                <a:gd name="T63" fmla="*/ 75 h 97"/>
                <a:gd name="T64" fmla="*/ 40 w 92"/>
                <a:gd name="T65" fmla="*/ 75 h 97"/>
                <a:gd name="T66" fmla="*/ 42 w 92"/>
                <a:gd name="T67" fmla="*/ 72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92" h="97">
                  <a:moveTo>
                    <a:pt x="42" y="72"/>
                  </a:moveTo>
                  <a:lnTo>
                    <a:pt x="20" y="67"/>
                  </a:lnTo>
                  <a:lnTo>
                    <a:pt x="20" y="57"/>
                  </a:lnTo>
                  <a:lnTo>
                    <a:pt x="2" y="42"/>
                  </a:lnTo>
                  <a:lnTo>
                    <a:pt x="0" y="27"/>
                  </a:lnTo>
                  <a:lnTo>
                    <a:pt x="17" y="15"/>
                  </a:lnTo>
                  <a:lnTo>
                    <a:pt x="30" y="17"/>
                  </a:lnTo>
                  <a:lnTo>
                    <a:pt x="47" y="5"/>
                  </a:lnTo>
                  <a:lnTo>
                    <a:pt x="57" y="5"/>
                  </a:lnTo>
                  <a:lnTo>
                    <a:pt x="72" y="10"/>
                  </a:lnTo>
                  <a:lnTo>
                    <a:pt x="84" y="0"/>
                  </a:lnTo>
                  <a:lnTo>
                    <a:pt x="92" y="0"/>
                  </a:lnTo>
                  <a:lnTo>
                    <a:pt x="92" y="17"/>
                  </a:lnTo>
                  <a:lnTo>
                    <a:pt x="82" y="20"/>
                  </a:lnTo>
                  <a:lnTo>
                    <a:pt x="77" y="25"/>
                  </a:lnTo>
                  <a:lnTo>
                    <a:pt x="70" y="30"/>
                  </a:lnTo>
                  <a:lnTo>
                    <a:pt x="74" y="37"/>
                  </a:lnTo>
                  <a:lnTo>
                    <a:pt x="62" y="42"/>
                  </a:lnTo>
                  <a:lnTo>
                    <a:pt x="57" y="37"/>
                  </a:lnTo>
                  <a:lnTo>
                    <a:pt x="50" y="37"/>
                  </a:lnTo>
                  <a:lnTo>
                    <a:pt x="57" y="47"/>
                  </a:lnTo>
                  <a:lnTo>
                    <a:pt x="47" y="57"/>
                  </a:lnTo>
                  <a:lnTo>
                    <a:pt x="60" y="62"/>
                  </a:lnTo>
                  <a:lnTo>
                    <a:pt x="77" y="72"/>
                  </a:lnTo>
                  <a:lnTo>
                    <a:pt x="79" y="82"/>
                  </a:lnTo>
                  <a:lnTo>
                    <a:pt x="72" y="80"/>
                  </a:lnTo>
                  <a:lnTo>
                    <a:pt x="57" y="87"/>
                  </a:lnTo>
                  <a:lnTo>
                    <a:pt x="62" y="97"/>
                  </a:lnTo>
                  <a:lnTo>
                    <a:pt x="32" y="97"/>
                  </a:lnTo>
                  <a:lnTo>
                    <a:pt x="32" y="87"/>
                  </a:lnTo>
                  <a:lnTo>
                    <a:pt x="22" y="82"/>
                  </a:lnTo>
                  <a:lnTo>
                    <a:pt x="32" y="75"/>
                  </a:lnTo>
                  <a:lnTo>
                    <a:pt x="40" y="75"/>
                  </a:lnTo>
                  <a:lnTo>
                    <a:pt x="42" y="7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1" name="Freeform 289"/>
            <p:cNvSpPr>
              <a:spLocks/>
            </p:cNvSpPr>
            <p:nvPr/>
          </p:nvSpPr>
          <p:spPr bwMode="auto">
            <a:xfrm>
              <a:off x="4404251" y="2645251"/>
              <a:ext cx="207250" cy="264819"/>
            </a:xfrm>
            <a:custGeom>
              <a:avLst/>
              <a:gdLst>
                <a:gd name="T0" fmla="*/ 144 w 144"/>
                <a:gd name="T1" fmla="*/ 89 h 184"/>
                <a:gd name="T2" fmla="*/ 135 w 144"/>
                <a:gd name="T3" fmla="*/ 57 h 184"/>
                <a:gd name="T4" fmla="*/ 137 w 144"/>
                <a:gd name="T5" fmla="*/ 22 h 184"/>
                <a:gd name="T6" fmla="*/ 132 w 144"/>
                <a:gd name="T7" fmla="*/ 17 h 184"/>
                <a:gd name="T8" fmla="*/ 90 w 144"/>
                <a:gd name="T9" fmla="*/ 25 h 184"/>
                <a:gd name="T10" fmla="*/ 80 w 144"/>
                <a:gd name="T11" fmla="*/ 15 h 184"/>
                <a:gd name="T12" fmla="*/ 72 w 144"/>
                <a:gd name="T13" fmla="*/ 0 h 184"/>
                <a:gd name="T14" fmla="*/ 52 w 144"/>
                <a:gd name="T15" fmla="*/ 5 h 184"/>
                <a:gd name="T16" fmla="*/ 52 w 144"/>
                <a:gd name="T17" fmla="*/ 22 h 184"/>
                <a:gd name="T18" fmla="*/ 52 w 144"/>
                <a:gd name="T19" fmla="*/ 30 h 184"/>
                <a:gd name="T20" fmla="*/ 45 w 144"/>
                <a:gd name="T21" fmla="*/ 30 h 184"/>
                <a:gd name="T22" fmla="*/ 25 w 144"/>
                <a:gd name="T23" fmla="*/ 37 h 184"/>
                <a:gd name="T24" fmla="*/ 25 w 144"/>
                <a:gd name="T25" fmla="*/ 57 h 184"/>
                <a:gd name="T26" fmla="*/ 15 w 144"/>
                <a:gd name="T27" fmla="*/ 72 h 184"/>
                <a:gd name="T28" fmla="*/ 3 w 144"/>
                <a:gd name="T29" fmla="*/ 82 h 184"/>
                <a:gd name="T30" fmla="*/ 0 w 144"/>
                <a:gd name="T31" fmla="*/ 102 h 184"/>
                <a:gd name="T32" fmla="*/ 10 w 144"/>
                <a:gd name="T33" fmla="*/ 107 h 184"/>
                <a:gd name="T34" fmla="*/ 8 w 144"/>
                <a:gd name="T35" fmla="*/ 119 h 184"/>
                <a:gd name="T36" fmla="*/ 23 w 144"/>
                <a:gd name="T37" fmla="*/ 127 h 184"/>
                <a:gd name="T38" fmla="*/ 38 w 144"/>
                <a:gd name="T39" fmla="*/ 142 h 184"/>
                <a:gd name="T40" fmla="*/ 30 w 144"/>
                <a:gd name="T41" fmla="*/ 152 h 184"/>
                <a:gd name="T42" fmla="*/ 33 w 144"/>
                <a:gd name="T43" fmla="*/ 179 h 184"/>
                <a:gd name="T44" fmla="*/ 43 w 144"/>
                <a:gd name="T45" fmla="*/ 179 h 184"/>
                <a:gd name="T46" fmla="*/ 55 w 144"/>
                <a:gd name="T47" fmla="*/ 176 h 184"/>
                <a:gd name="T48" fmla="*/ 65 w 144"/>
                <a:gd name="T49" fmla="*/ 181 h 184"/>
                <a:gd name="T50" fmla="*/ 72 w 144"/>
                <a:gd name="T51" fmla="*/ 184 h 184"/>
                <a:gd name="T52" fmla="*/ 80 w 144"/>
                <a:gd name="T53" fmla="*/ 184 h 184"/>
                <a:gd name="T54" fmla="*/ 102 w 144"/>
                <a:gd name="T55" fmla="*/ 176 h 184"/>
                <a:gd name="T56" fmla="*/ 117 w 144"/>
                <a:gd name="T57" fmla="*/ 164 h 184"/>
                <a:gd name="T58" fmla="*/ 122 w 144"/>
                <a:gd name="T59" fmla="*/ 159 h 184"/>
                <a:gd name="T60" fmla="*/ 125 w 144"/>
                <a:gd name="T61" fmla="*/ 142 h 184"/>
                <a:gd name="T62" fmla="*/ 97 w 144"/>
                <a:gd name="T63" fmla="*/ 109 h 184"/>
                <a:gd name="T64" fmla="*/ 144 w 144"/>
                <a:gd name="T65" fmla="*/ 89 h 1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4" h="184">
                  <a:moveTo>
                    <a:pt x="144" y="89"/>
                  </a:moveTo>
                  <a:lnTo>
                    <a:pt x="135" y="57"/>
                  </a:lnTo>
                  <a:lnTo>
                    <a:pt x="137" y="22"/>
                  </a:lnTo>
                  <a:lnTo>
                    <a:pt x="132" y="17"/>
                  </a:lnTo>
                  <a:lnTo>
                    <a:pt x="90" y="25"/>
                  </a:lnTo>
                  <a:lnTo>
                    <a:pt x="80" y="15"/>
                  </a:lnTo>
                  <a:lnTo>
                    <a:pt x="72" y="0"/>
                  </a:lnTo>
                  <a:lnTo>
                    <a:pt x="52" y="5"/>
                  </a:lnTo>
                  <a:lnTo>
                    <a:pt x="52" y="22"/>
                  </a:lnTo>
                  <a:lnTo>
                    <a:pt x="52" y="30"/>
                  </a:lnTo>
                  <a:lnTo>
                    <a:pt x="45" y="30"/>
                  </a:lnTo>
                  <a:lnTo>
                    <a:pt x="25" y="37"/>
                  </a:lnTo>
                  <a:lnTo>
                    <a:pt x="25" y="57"/>
                  </a:lnTo>
                  <a:lnTo>
                    <a:pt x="15" y="72"/>
                  </a:lnTo>
                  <a:lnTo>
                    <a:pt x="3" y="82"/>
                  </a:lnTo>
                  <a:lnTo>
                    <a:pt x="0" y="102"/>
                  </a:lnTo>
                  <a:lnTo>
                    <a:pt x="10" y="107"/>
                  </a:lnTo>
                  <a:lnTo>
                    <a:pt x="8" y="119"/>
                  </a:lnTo>
                  <a:lnTo>
                    <a:pt x="23" y="127"/>
                  </a:lnTo>
                  <a:lnTo>
                    <a:pt x="38" y="142"/>
                  </a:lnTo>
                  <a:lnTo>
                    <a:pt x="30" y="152"/>
                  </a:lnTo>
                  <a:lnTo>
                    <a:pt x="33" y="179"/>
                  </a:lnTo>
                  <a:lnTo>
                    <a:pt x="43" y="179"/>
                  </a:lnTo>
                  <a:lnTo>
                    <a:pt x="55" y="176"/>
                  </a:lnTo>
                  <a:lnTo>
                    <a:pt x="65" y="181"/>
                  </a:lnTo>
                  <a:lnTo>
                    <a:pt x="72" y="184"/>
                  </a:lnTo>
                  <a:lnTo>
                    <a:pt x="80" y="184"/>
                  </a:lnTo>
                  <a:lnTo>
                    <a:pt x="102" y="176"/>
                  </a:lnTo>
                  <a:lnTo>
                    <a:pt x="117" y="164"/>
                  </a:lnTo>
                  <a:lnTo>
                    <a:pt x="122" y="159"/>
                  </a:lnTo>
                  <a:lnTo>
                    <a:pt x="125" y="142"/>
                  </a:lnTo>
                  <a:lnTo>
                    <a:pt x="97" y="109"/>
                  </a:lnTo>
                  <a:lnTo>
                    <a:pt x="144" y="89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2" name="Freeform 291"/>
            <p:cNvSpPr>
              <a:spLocks/>
            </p:cNvSpPr>
            <p:nvPr/>
          </p:nvSpPr>
          <p:spPr bwMode="auto">
            <a:xfrm>
              <a:off x="4598548" y="2645251"/>
              <a:ext cx="231717" cy="182782"/>
            </a:xfrm>
            <a:custGeom>
              <a:avLst/>
              <a:gdLst>
                <a:gd name="T0" fmla="*/ 9 w 161"/>
                <a:gd name="T1" fmla="*/ 89 h 127"/>
                <a:gd name="T2" fmla="*/ 0 w 161"/>
                <a:gd name="T3" fmla="*/ 57 h 127"/>
                <a:gd name="T4" fmla="*/ 2 w 161"/>
                <a:gd name="T5" fmla="*/ 22 h 127"/>
                <a:gd name="T6" fmla="*/ 52 w 161"/>
                <a:gd name="T7" fmla="*/ 0 h 127"/>
                <a:gd name="T8" fmla="*/ 69 w 161"/>
                <a:gd name="T9" fmla="*/ 7 h 127"/>
                <a:gd name="T10" fmla="*/ 94 w 161"/>
                <a:gd name="T11" fmla="*/ 2 h 127"/>
                <a:gd name="T12" fmla="*/ 124 w 161"/>
                <a:gd name="T13" fmla="*/ 15 h 127"/>
                <a:gd name="T14" fmla="*/ 146 w 161"/>
                <a:gd name="T15" fmla="*/ 35 h 127"/>
                <a:gd name="T16" fmla="*/ 146 w 161"/>
                <a:gd name="T17" fmla="*/ 60 h 127"/>
                <a:gd name="T18" fmla="*/ 159 w 161"/>
                <a:gd name="T19" fmla="*/ 60 h 127"/>
                <a:gd name="T20" fmla="*/ 159 w 161"/>
                <a:gd name="T21" fmla="*/ 79 h 127"/>
                <a:gd name="T22" fmla="*/ 161 w 161"/>
                <a:gd name="T23" fmla="*/ 112 h 127"/>
                <a:gd name="T24" fmla="*/ 146 w 161"/>
                <a:gd name="T25" fmla="*/ 122 h 127"/>
                <a:gd name="T26" fmla="*/ 119 w 161"/>
                <a:gd name="T27" fmla="*/ 124 h 127"/>
                <a:gd name="T28" fmla="*/ 89 w 161"/>
                <a:gd name="T29" fmla="*/ 127 h 127"/>
                <a:gd name="T30" fmla="*/ 69 w 161"/>
                <a:gd name="T31" fmla="*/ 114 h 127"/>
                <a:gd name="T32" fmla="*/ 27 w 161"/>
                <a:gd name="T33" fmla="*/ 102 h 127"/>
                <a:gd name="T34" fmla="*/ 9 w 161"/>
                <a:gd name="T35" fmla="*/ 89 h 1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1" h="127">
                  <a:moveTo>
                    <a:pt x="9" y="89"/>
                  </a:moveTo>
                  <a:lnTo>
                    <a:pt x="0" y="57"/>
                  </a:lnTo>
                  <a:lnTo>
                    <a:pt x="2" y="22"/>
                  </a:lnTo>
                  <a:lnTo>
                    <a:pt x="52" y="0"/>
                  </a:lnTo>
                  <a:lnTo>
                    <a:pt x="69" y="7"/>
                  </a:lnTo>
                  <a:lnTo>
                    <a:pt x="94" y="2"/>
                  </a:lnTo>
                  <a:lnTo>
                    <a:pt x="124" y="15"/>
                  </a:lnTo>
                  <a:lnTo>
                    <a:pt x="146" y="35"/>
                  </a:lnTo>
                  <a:lnTo>
                    <a:pt x="146" y="60"/>
                  </a:lnTo>
                  <a:lnTo>
                    <a:pt x="159" y="60"/>
                  </a:lnTo>
                  <a:lnTo>
                    <a:pt x="159" y="79"/>
                  </a:lnTo>
                  <a:lnTo>
                    <a:pt x="161" y="112"/>
                  </a:lnTo>
                  <a:lnTo>
                    <a:pt x="146" y="122"/>
                  </a:lnTo>
                  <a:lnTo>
                    <a:pt x="119" y="124"/>
                  </a:lnTo>
                  <a:lnTo>
                    <a:pt x="89" y="127"/>
                  </a:lnTo>
                  <a:lnTo>
                    <a:pt x="69" y="114"/>
                  </a:lnTo>
                  <a:lnTo>
                    <a:pt x="27" y="102"/>
                  </a:lnTo>
                  <a:lnTo>
                    <a:pt x="9" y="8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3" name="Freeform 292"/>
            <p:cNvSpPr>
              <a:spLocks/>
            </p:cNvSpPr>
            <p:nvPr/>
          </p:nvSpPr>
          <p:spPr bwMode="auto">
            <a:xfrm>
              <a:off x="4533783" y="2091145"/>
              <a:ext cx="267698" cy="532517"/>
            </a:xfrm>
            <a:custGeom>
              <a:avLst/>
              <a:gdLst>
                <a:gd name="T0" fmla="*/ 0 w 186"/>
                <a:gd name="T1" fmla="*/ 288 h 370"/>
                <a:gd name="T2" fmla="*/ 7 w 186"/>
                <a:gd name="T3" fmla="*/ 276 h 370"/>
                <a:gd name="T4" fmla="*/ 12 w 186"/>
                <a:gd name="T5" fmla="*/ 253 h 370"/>
                <a:gd name="T6" fmla="*/ 30 w 186"/>
                <a:gd name="T7" fmla="*/ 243 h 370"/>
                <a:gd name="T8" fmla="*/ 25 w 186"/>
                <a:gd name="T9" fmla="*/ 223 h 370"/>
                <a:gd name="T10" fmla="*/ 15 w 186"/>
                <a:gd name="T11" fmla="*/ 203 h 370"/>
                <a:gd name="T12" fmla="*/ 12 w 186"/>
                <a:gd name="T13" fmla="*/ 184 h 370"/>
                <a:gd name="T14" fmla="*/ 7 w 186"/>
                <a:gd name="T15" fmla="*/ 151 h 370"/>
                <a:gd name="T16" fmla="*/ 12 w 186"/>
                <a:gd name="T17" fmla="*/ 139 h 370"/>
                <a:gd name="T18" fmla="*/ 30 w 186"/>
                <a:gd name="T19" fmla="*/ 141 h 370"/>
                <a:gd name="T20" fmla="*/ 37 w 186"/>
                <a:gd name="T21" fmla="*/ 136 h 370"/>
                <a:gd name="T22" fmla="*/ 27 w 186"/>
                <a:gd name="T23" fmla="*/ 126 h 370"/>
                <a:gd name="T24" fmla="*/ 35 w 186"/>
                <a:gd name="T25" fmla="*/ 111 h 370"/>
                <a:gd name="T26" fmla="*/ 37 w 186"/>
                <a:gd name="T27" fmla="*/ 87 h 370"/>
                <a:gd name="T28" fmla="*/ 47 w 186"/>
                <a:gd name="T29" fmla="*/ 84 h 370"/>
                <a:gd name="T30" fmla="*/ 52 w 186"/>
                <a:gd name="T31" fmla="*/ 69 h 370"/>
                <a:gd name="T32" fmla="*/ 62 w 186"/>
                <a:gd name="T33" fmla="*/ 69 h 370"/>
                <a:gd name="T34" fmla="*/ 67 w 186"/>
                <a:gd name="T35" fmla="*/ 52 h 370"/>
                <a:gd name="T36" fmla="*/ 74 w 186"/>
                <a:gd name="T37" fmla="*/ 47 h 370"/>
                <a:gd name="T38" fmla="*/ 77 w 186"/>
                <a:gd name="T39" fmla="*/ 32 h 370"/>
                <a:gd name="T40" fmla="*/ 87 w 186"/>
                <a:gd name="T41" fmla="*/ 34 h 370"/>
                <a:gd name="T42" fmla="*/ 97 w 186"/>
                <a:gd name="T43" fmla="*/ 29 h 370"/>
                <a:gd name="T44" fmla="*/ 107 w 186"/>
                <a:gd name="T45" fmla="*/ 20 h 370"/>
                <a:gd name="T46" fmla="*/ 119 w 186"/>
                <a:gd name="T47" fmla="*/ 20 h 370"/>
                <a:gd name="T48" fmla="*/ 136 w 186"/>
                <a:gd name="T49" fmla="*/ 20 h 370"/>
                <a:gd name="T50" fmla="*/ 144 w 186"/>
                <a:gd name="T51" fmla="*/ 7 h 370"/>
                <a:gd name="T52" fmla="*/ 154 w 186"/>
                <a:gd name="T53" fmla="*/ 0 h 370"/>
                <a:gd name="T54" fmla="*/ 169 w 186"/>
                <a:gd name="T55" fmla="*/ 15 h 370"/>
                <a:gd name="T56" fmla="*/ 184 w 186"/>
                <a:gd name="T57" fmla="*/ 27 h 370"/>
                <a:gd name="T58" fmla="*/ 184 w 186"/>
                <a:gd name="T59" fmla="*/ 39 h 370"/>
                <a:gd name="T60" fmla="*/ 186 w 186"/>
                <a:gd name="T61" fmla="*/ 77 h 370"/>
                <a:gd name="T62" fmla="*/ 174 w 186"/>
                <a:gd name="T63" fmla="*/ 84 h 370"/>
                <a:gd name="T64" fmla="*/ 161 w 186"/>
                <a:gd name="T65" fmla="*/ 97 h 370"/>
                <a:gd name="T66" fmla="*/ 154 w 186"/>
                <a:gd name="T67" fmla="*/ 116 h 370"/>
                <a:gd name="T68" fmla="*/ 156 w 186"/>
                <a:gd name="T69" fmla="*/ 131 h 370"/>
                <a:gd name="T70" fmla="*/ 139 w 186"/>
                <a:gd name="T71" fmla="*/ 144 h 370"/>
                <a:gd name="T72" fmla="*/ 129 w 186"/>
                <a:gd name="T73" fmla="*/ 156 h 370"/>
                <a:gd name="T74" fmla="*/ 104 w 186"/>
                <a:gd name="T75" fmla="*/ 161 h 370"/>
                <a:gd name="T76" fmla="*/ 94 w 186"/>
                <a:gd name="T77" fmla="*/ 181 h 370"/>
                <a:gd name="T78" fmla="*/ 94 w 186"/>
                <a:gd name="T79" fmla="*/ 216 h 370"/>
                <a:gd name="T80" fmla="*/ 107 w 186"/>
                <a:gd name="T81" fmla="*/ 233 h 370"/>
                <a:gd name="T82" fmla="*/ 114 w 186"/>
                <a:gd name="T83" fmla="*/ 246 h 370"/>
                <a:gd name="T84" fmla="*/ 84 w 186"/>
                <a:gd name="T85" fmla="*/ 261 h 370"/>
                <a:gd name="T86" fmla="*/ 99 w 186"/>
                <a:gd name="T87" fmla="*/ 261 h 370"/>
                <a:gd name="T88" fmla="*/ 107 w 186"/>
                <a:gd name="T89" fmla="*/ 268 h 370"/>
                <a:gd name="T90" fmla="*/ 112 w 186"/>
                <a:gd name="T91" fmla="*/ 281 h 370"/>
                <a:gd name="T92" fmla="*/ 99 w 186"/>
                <a:gd name="T93" fmla="*/ 288 h 370"/>
                <a:gd name="T94" fmla="*/ 87 w 186"/>
                <a:gd name="T95" fmla="*/ 300 h 370"/>
                <a:gd name="T96" fmla="*/ 87 w 186"/>
                <a:gd name="T97" fmla="*/ 325 h 370"/>
                <a:gd name="T98" fmla="*/ 74 w 186"/>
                <a:gd name="T99" fmla="*/ 335 h 370"/>
                <a:gd name="T100" fmla="*/ 69 w 186"/>
                <a:gd name="T101" fmla="*/ 348 h 370"/>
                <a:gd name="T102" fmla="*/ 54 w 186"/>
                <a:gd name="T103" fmla="*/ 358 h 370"/>
                <a:gd name="T104" fmla="*/ 47 w 186"/>
                <a:gd name="T105" fmla="*/ 370 h 370"/>
                <a:gd name="T106" fmla="*/ 27 w 186"/>
                <a:gd name="T107" fmla="*/ 363 h 370"/>
                <a:gd name="T108" fmla="*/ 30 w 186"/>
                <a:gd name="T109" fmla="*/ 338 h 370"/>
                <a:gd name="T110" fmla="*/ 20 w 186"/>
                <a:gd name="T111" fmla="*/ 335 h 370"/>
                <a:gd name="T112" fmla="*/ 15 w 186"/>
                <a:gd name="T113" fmla="*/ 320 h 370"/>
                <a:gd name="T114" fmla="*/ 7 w 186"/>
                <a:gd name="T115" fmla="*/ 303 h 370"/>
                <a:gd name="T116" fmla="*/ 0 w 186"/>
                <a:gd name="T117" fmla="*/ 288 h 3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86" h="370">
                  <a:moveTo>
                    <a:pt x="0" y="288"/>
                  </a:moveTo>
                  <a:lnTo>
                    <a:pt x="7" y="276"/>
                  </a:lnTo>
                  <a:lnTo>
                    <a:pt x="12" y="253"/>
                  </a:lnTo>
                  <a:lnTo>
                    <a:pt x="30" y="243"/>
                  </a:lnTo>
                  <a:lnTo>
                    <a:pt x="25" y="223"/>
                  </a:lnTo>
                  <a:lnTo>
                    <a:pt x="15" y="203"/>
                  </a:lnTo>
                  <a:lnTo>
                    <a:pt x="12" y="184"/>
                  </a:lnTo>
                  <a:lnTo>
                    <a:pt x="7" y="151"/>
                  </a:lnTo>
                  <a:lnTo>
                    <a:pt x="12" y="139"/>
                  </a:lnTo>
                  <a:lnTo>
                    <a:pt x="30" y="141"/>
                  </a:lnTo>
                  <a:lnTo>
                    <a:pt x="37" y="136"/>
                  </a:lnTo>
                  <a:lnTo>
                    <a:pt x="27" y="126"/>
                  </a:lnTo>
                  <a:lnTo>
                    <a:pt x="35" y="111"/>
                  </a:lnTo>
                  <a:lnTo>
                    <a:pt x="37" y="87"/>
                  </a:lnTo>
                  <a:lnTo>
                    <a:pt x="47" y="84"/>
                  </a:lnTo>
                  <a:lnTo>
                    <a:pt x="52" y="69"/>
                  </a:lnTo>
                  <a:lnTo>
                    <a:pt x="62" y="69"/>
                  </a:lnTo>
                  <a:lnTo>
                    <a:pt x="67" y="52"/>
                  </a:lnTo>
                  <a:lnTo>
                    <a:pt x="74" y="47"/>
                  </a:lnTo>
                  <a:lnTo>
                    <a:pt x="77" y="32"/>
                  </a:lnTo>
                  <a:lnTo>
                    <a:pt x="87" y="34"/>
                  </a:lnTo>
                  <a:lnTo>
                    <a:pt x="97" y="29"/>
                  </a:lnTo>
                  <a:lnTo>
                    <a:pt x="107" y="20"/>
                  </a:lnTo>
                  <a:lnTo>
                    <a:pt x="119" y="20"/>
                  </a:lnTo>
                  <a:lnTo>
                    <a:pt x="136" y="20"/>
                  </a:lnTo>
                  <a:lnTo>
                    <a:pt x="144" y="7"/>
                  </a:lnTo>
                  <a:lnTo>
                    <a:pt x="154" y="0"/>
                  </a:lnTo>
                  <a:lnTo>
                    <a:pt x="169" y="15"/>
                  </a:lnTo>
                  <a:lnTo>
                    <a:pt x="184" y="27"/>
                  </a:lnTo>
                  <a:lnTo>
                    <a:pt x="184" y="39"/>
                  </a:lnTo>
                  <a:lnTo>
                    <a:pt x="186" y="77"/>
                  </a:lnTo>
                  <a:lnTo>
                    <a:pt x="174" y="84"/>
                  </a:lnTo>
                  <a:lnTo>
                    <a:pt x="161" y="97"/>
                  </a:lnTo>
                  <a:lnTo>
                    <a:pt x="154" y="116"/>
                  </a:lnTo>
                  <a:lnTo>
                    <a:pt x="156" y="131"/>
                  </a:lnTo>
                  <a:lnTo>
                    <a:pt x="139" y="144"/>
                  </a:lnTo>
                  <a:lnTo>
                    <a:pt x="129" y="156"/>
                  </a:lnTo>
                  <a:lnTo>
                    <a:pt x="104" y="161"/>
                  </a:lnTo>
                  <a:lnTo>
                    <a:pt x="94" y="181"/>
                  </a:lnTo>
                  <a:lnTo>
                    <a:pt x="94" y="216"/>
                  </a:lnTo>
                  <a:lnTo>
                    <a:pt x="107" y="233"/>
                  </a:lnTo>
                  <a:lnTo>
                    <a:pt x="114" y="246"/>
                  </a:lnTo>
                  <a:lnTo>
                    <a:pt x="84" y="261"/>
                  </a:lnTo>
                  <a:lnTo>
                    <a:pt x="99" y="261"/>
                  </a:lnTo>
                  <a:lnTo>
                    <a:pt x="107" y="268"/>
                  </a:lnTo>
                  <a:lnTo>
                    <a:pt x="112" y="281"/>
                  </a:lnTo>
                  <a:lnTo>
                    <a:pt x="99" y="288"/>
                  </a:lnTo>
                  <a:lnTo>
                    <a:pt x="87" y="300"/>
                  </a:lnTo>
                  <a:lnTo>
                    <a:pt x="87" y="325"/>
                  </a:lnTo>
                  <a:lnTo>
                    <a:pt x="74" y="335"/>
                  </a:lnTo>
                  <a:lnTo>
                    <a:pt x="69" y="348"/>
                  </a:lnTo>
                  <a:lnTo>
                    <a:pt x="54" y="358"/>
                  </a:lnTo>
                  <a:lnTo>
                    <a:pt x="47" y="370"/>
                  </a:lnTo>
                  <a:lnTo>
                    <a:pt x="27" y="363"/>
                  </a:lnTo>
                  <a:lnTo>
                    <a:pt x="30" y="338"/>
                  </a:lnTo>
                  <a:lnTo>
                    <a:pt x="20" y="335"/>
                  </a:lnTo>
                  <a:lnTo>
                    <a:pt x="15" y="320"/>
                  </a:lnTo>
                  <a:lnTo>
                    <a:pt x="7" y="303"/>
                  </a:lnTo>
                  <a:lnTo>
                    <a:pt x="0" y="2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4" name="Freeform 293"/>
            <p:cNvSpPr>
              <a:spLocks/>
            </p:cNvSpPr>
            <p:nvPr/>
          </p:nvSpPr>
          <p:spPr bwMode="auto">
            <a:xfrm>
              <a:off x="4748228" y="2895678"/>
              <a:ext cx="207250" cy="146802"/>
            </a:xfrm>
            <a:custGeom>
              <a:avLst/>
              <a:gdLst>
                <a:gd name="T0" fmla="*/ 50 w 144"/>
                <a:gd name="T1" fmla="*/ 82 h 102"/>
                <a:gd name="T2" fmla="*/ 40 w 144"/>
                <a:gd name="T3" fmla="*/ 74 h 102"/>
                <a:gd name="T4" fmla="*/ 22 w 144"/>
                <a:gd name="T5" fmla="*/ 65 h 102"/>
                <a:gd name="T6" fmla="*/ 5 w 144"/>
                <a:gd name="T7" fmla="*/ 52 h 102"/>
                <a:gd name="T8" fmla="*/ 0 w 144"/>
                <a:gd name="T9" fmla="*/ 37 h 102"/>
                <a:gd name="T10" fmla="*/ 17 w 144"/>
                <a:gd name="T11" fmla="*/ 32 h 102"/>
                <a:gd name="T12" fmla="*/ 30 w 144"/>
                <a:gd name="T13" fmla="*/ 12 h 102"/>
                <a:gd name="T14" fmla="*/ 37 w 144"/>
                <a:gd name="T15" fmla="*/ 0 h 102"/>
                <a:gd name="T16" fmla="*/ 62 w 144"/>
                <a:gd name="T17" fmla="*/ 0 h 102"/>
                <a:gd name="T18" fmla="*/ 72 w 144"/>
                <a:gd name="T19" fmla="*/ 7 h 102"/>
                <a:gd name="T20" fmla="*/ 97 w 144"/>
                <a:gd name="T21" fmla="*/ 7 h 102"/>
                <a:gd name="T22" fmla="*/ 107 w 144"/>
                <a:gd name="T23" fmla="*/ 5 h 102"/>
                <a:gd name="T24" fmla="*/ 132 w 144"/>
                <a:gd name="T25" fmla="*/ 27 h 102"/>
                <a:gd name="T26" fmla="*/ 134 w 144"/>
                <a:gd name="T27" fmla="*/ 50 h 102"/>
                <a:gd name="T28" fmla="*/ 144 w 144"/>
                <a:gd name="T29" fmla="*/ 72 h 102"/>
                <a:gd name="T30" fmla="*/ 142 w 144"/>
                <a:gd name="T31" fmla="*/ 84 h 102"/>
                <a:gd name="T32" fmla="*/ 127 w 144"/>
                <a:gd name="T33" fmla="*/ 94 h 102"/>
                <a:gd name="T34" fmla="*/ 112 w 144"/>
                <a:gd name="T35" fmla="*/ 97 h 102"/>
                <a:gd name="T36" fmla="*/ 87 w 144"/>
                <a:gd name="T37" fmla="*/ 102 h 102"/>
                <a:gd name="T38" fmla="*/ 79 w 144"/>
                <a:gd name="T39" fmla="*/ 87 h 102"/>
                <a:gd name="T40" fmla="*/ 60 w 144"/>
                <a:gd name="T41" fmla="*/ 79 h 102"/>
                <a:gd name="T42" fmla="*/ 55 w 144"/>
                <a:gd name="T43" fmla="*/ 87 h 102"/>
                <a:gd name="T44" fmla="*/ 50 w 144"/>
                <a:gd name="T45" fmla="*/ 82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44" h="102">
                  <a:moveTo>
                    <a:pt x="50" y="82"/>
                  </a:moveTo>
                  <a:lnTo>
                    <a:pt x="40" y="74"/>
                  </a:lnTo>
                  <a:lnTo>
                    <a:pt x="22" y="65"/>
                  </a:lnTo>
                  <a:lnTo>
                    <a:pt x="5" y="52"/>
                  </a:lnTo>
                  <a:lnTo>
                    <a:pt x="0" y="37"/>
                  </a:lnTo>
                  <a:lnTo>
                    <a:pt x="17" y="32"/>
                  </a:lnTo>
                  <a:lnTo>
                    <a:pt x="30" y="12"/>
                  </a:lnTo>
                  <a:lnTo>
                    <a:pt x="37" y="0"/>
                  </a:lnTo>
                  <a:lnTo>
                    <a:pt x="62" y="0"/>
                  </a:lnTo>
                  <a:lnTo>
                    <a:pt x="72" y="7"/>
                  </a:lnTo>
                  <a:lnTo>
                    <a:pt x="97" y="7"/>
                  </a:lnTo>
                  <a:lnTo>
                    <a:pt x="107" y="5"/>
                  </a:lnTo>
                  <a:lnTo>
                    <a:pt x="132" y="27"/>
                  </a:lnTo>
                  <a:lnTo>
                    <a:pt x="134" y="50"/>
                  </a:lnTo>
                  <a:lnTo>
                    <a:pt x="144" y="72"/>
                  </a:lnTo>
                  <a:lnTo>
                    <a:pt x="142" y="84"/>
                  </a:lnTo>
                  <a:lnTo>
                    <a:pt x="127" y="94"/>
                  </a:lnTo>
                  <a:lnTo>
                    <a:pt x="112" y="97"/>
                  </a:lnTo>
                  <a:lnTo>
                    <a:pt x="87" y="102"/>
                  </a:lnTo>
                  <a:lnTo>
                    <a:pt x="79" y="87"/>
                  </a:lnTo>
                  <a:lnTo>
                    <a:pt x="60" y="79"/>
                  </a:lnTo>
                  <a:lnTo>
                    <a:pt x="55" y="87"/>
                  </a:lnTo>
                  <a:lnTo>
                    <a:pt x="50" y="8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5" name="Freeform 294"/>
            <p:cNvSpPr>
              <a:spLocks/>
            </p:cNvSpPr>
            <p:nvPr/>
          </p:nvSpPr>
          <p:spPr bwMode="auto">
            <a:xfrm>
              <a:off x="4880638" y="3100050"/>
              <a:ext cx="53252" cy="34542"/>
            </a:xfrm>
            <a:custGeom>
              <a:avLst/>
              <a:gdLst>
                <a:gd name="T0" fmla="*/ 7 w 37"/>
                <a:gd name="T1" fmla="*/ 24 h 24"/>
                <a:gd name="T2" fmla="*/ 25 w 37"/>
                <a:gd name="T3" fmla="*/ 24 h 24"/>
                <a:gd name="T4" fmla="*/ 37 w 37"/>
                <a:gd name="T5" fmla="*/ 15 h 24"/>
                <a:gd name="T6" fmla="*/ 17 w 37"/>
                <a:gd name="T7" fmla="*/ 0 h 24"/>
                <a:gd name="T8" fmla="*/ 0 w 37"/>
                <a:gd name="T9" fmla="*/ 2 h 24"/>
                <a:gd name="T10" fmla="*/ 0 w 37"/>
                <a:gd name="T11" fmla="*/ 19 h 24"/>
                <a:gd name="T12" fmla="*/ 7 w 37"/>
                <a:gd name="T13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7" h="24">
                  <a:moveTo>
                    <a:pt x="7" y="24"/>
                  </a:moveTo>
                  <a:lnTo>
                    <a:pt x="25" y="24"/>
                  </a:lnTo>
                  <a:lnTo>
                    <a:pt x="37" y="15"/>
                  </a:lnTo>
                  <a:lnTo>
                    <a:pt x="17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7" y="2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6" name="Freeform 295"/>
            <p:cNvSpPr>
              <a:spLocks/>
            </p:cNvSpPr>
            <p:nvPr/>
          </p:nvSpPr>
          <p:spPr bwMode="auto">
            <a:xfrm>
              <a:off x="4909423" y="3081339"/>
              <a:ext cx="467752" cy="207250"/>
            </a:xfrm>
            <a:custGeom>
              <a:avLst/>
              <a:gdLst>
                <a:gd name="T0" fmla="*/ 164 w 325"/>
                <a:gd name="T1" fmla="*/ 137 h 144"/>
                <a:gd name="T2" fmla="*/ 179 w 325"/>
                <a:gd name="T3" fmla="*/ 134 h 144"/>
                <a:gd name="T4" fmla="*/ 209 w 325"/>
                <a:gd name="T5" fmla="*/ 129 h 144"/>
                <a:gd name="T6" fmla="*/ 226 w 325"/>
                <a:gd name="T7" fmla="*/ 129 h 144"/>
                <a:gd name="T8" fmla="*/ 251 w 325"/>
                <a:gd name="T9" fmla="*/ 124 h 144"/>
                <a:gd name="T10" fmla="*/ 256 w 325"/>
                <a:gd name="T11" fmla="*/ 144 h 144"/>
                <a:gd name="T12" fmla="*/ 268 w 325"/>
                <a:gd name="T13" fmla="*/ 134 h 144"/>
                <a:gd name="T14" fmla="*/ 281 w 325"/>
                <a:gd name="T15" fmla="*/ 122 h 144"/>
                <a:gd name="T16" fmla="*/ 296 w 325"/>
                <a:gd name="T17" fmla="*/ 117 h 144"/>
                <a:gd name="T18" fmla="*/ 303 w 325"/>
                <a:gd name="T19" fmla="*/ 129 h 144"/>
                <a:gd name="T20" fmla="*/ 325 w 325"/>
                <a:gd name="T21" fmla="*/ 132 h 144"/>
                <a:gd name="T22" fmla="*/ 320 w 325"/>
                <a:gd name="T23" fmla="*/ 110 h 144"/>
                <a:gd name="T24" fmla="*/ 311 w 325"/>
                <a:gd name="T25" fmla="*/ 85 h 144"/>
                <a:gd name="T26" fmla="*/ 303 w 325"/>
                <a:gd name="T27" fmla="*/ 62 h 144"/>
                <a:gd name="T28" fmla="*/ 311 w 325"/>
                <a:gd name="T29" fmla="*/ 55 h 144"/>
                <a:gd name="T30" fmla="*/ 296 w 325"/>
                <a:gd name="T31" fmla="*/ 40 h 144"/>
                <a:gd name="T32" fmla="*/ 281 w 325"/>
                <a:gd name="T33" fmla="*/ 15 h 144"/>
                <a:gd name="T34" fmla="*/ 258 w 325"/>
                <a:gd name="T35" fmla="*/ 18 h 144"/>
                <a:gd name="T36" fmla="*/ 248 w 325"/>
                <a:gd name="T37" fmla="*/ 30 h 144"/>
                <a:gd name="T38" fmla="*/ 214 w 325"/>
                <a:gd name="T39" fmla="*/ 32 h 144"/>
                <a:gd name="T40" fmla="*/ 196 w 325"/>
                <a:gd name="T41" fmla="*/ 32 h 144"/>
                <a:gd name="T42" fmla="*/ 181 w 325"/>
                <a:gd name="T43" fmla="*/ 25 h 144"/>
                <a:gd name="T44" fmla="*/ 166 w 325"/>
                <a:gd name="T45" fmla="*/ 25 h 144"/>
                <a:gd name="T46" fmla="*/ 154 w 325"/>
                <a:gd name="T47" fmla="*/ 10 h 144"/>
                <a:gd name="T48" fmla="*/ 137 w 325"/>
                <a:gd name="T49" fmla="*/ 0 h 144"/>
                <a:gd name="T50" fmla="*/ 119 w 325"/>
                <a:gd name="T51" fmla="*/ 10 h 144"/>
                <a:gd name="T52" fmla="*/ 97 w 325"/>
                <a:gd name="T53" fmla="*/ 13 h 144"/>
                <a:gd name="T54" fmla="*/ 79 w 325"/>
                <a:gd name="T55" fmla="*/ 18 h 144"/>
                <a:gd name="T56" fmla="*/ 54 w 325"/>
                <a:gd name="T57" fmla="*/ 20 h 144"/>
                <a:gd name="T58" fmla="*/ 42 w 325"/>
                <a:gd name="T59" fmla="*/ 20 h 144"/>
                <a:gd name="T60" fmla="*/ 22 w 325"/>
                <a:gd name="T61" fmla="*/ 28 h 144"/>
                <a:gd name="T62" fmla="*/ 35 w 325"/>
                <a:gd name="T63" fmla="*/ 32 h 144"/>
                <a:gd name="T64" fmla="*/ 22 w 325"/>
                <a:gd name="T65" fmla="*/ 40 h 144"/>
                <a:gd name="T66" fmla="*/ 17 w 325"/>
                <a:gd name="T67" fmla="*/ 50 h 144"/>
                <a:gd name="T68" fmla="*/ 5 w 325"/>
                <a:gd name="T69" fmla="*/ 60 h 144"/>
                <a:gd name="T70" fmla="*/ 2 w 325"/>
                <a:gd name="T71" fmla="*/ 70 h 144"/>
                <a:gd name="T72" fmla="*/ 0 w 325"/>
                <a:gd name="T73" fmla="*/ 77 h 144"/>
                <a:gd name="T74" fmla="*/ 7 w 325"/>
                <a:gd name="T75" fmla="*/ 80 h 144"/>
                <a:gd name="T76" fmla="*/ 7 w 325"/>
                <a:gd name="T77" fmla="*/ 92 h 144"/>
                <a:gd name="T78" fmla="*/ 15 w 325"/>
                <a:gd name="T79" fmla="*/ 97 h 144"/>
                <a:gd name="T80" fmla="*/ 12 w 325"/>
                <a:gd name="T81" fmla="*/ 110 h 144"/>
                <a:gd name="T82" fmla="*/ 20 w 325"/>
                <a:gd name="T83" fmla="*/ 117 h 144"/>
                <a:gd name="T84" fmla="*/ 27 w 325"/>
                <a:gd name="T85" fmla="*/ 117 h 144"/>
                <a:gd name="T86" fmla="*/ 30 w 325"/>
                <a:gd name="T87" fmla="*/ 124 h 144"/>
                <a:gd name="T88" fmla="*/ 45 w 325"/>
                <a:gd name="T89" fmla="*/ 129 h 144"/>
                <a:gd name="T90" fmla="*/ 54 w 325"/>
                <a:gd name="T91" fmla="*/ 142 h 144"/>
                <a:gd name="T92" fmla="*/ 67 w 325"/>
                <a:gd name="T93" fmla="*/ 137 h 144"/>
                <a:gd name="T94" fmla="*/ 74 w 325"/>
                <a:gd name="T95" fmla="*/ 132 h 144"/>
                <a:gd name="T96" fmla="*/ 82 w 325"/>
                <a:gd name="T97" fmla="*/ 124 h 144"/>
                <a:gd name="T98" fmla="*/ 104 w 325"/>
                <a:gd name="T99" fmla="*/ 137 h 144"/>
                <a:gd name="T100" fmla="*/ 124 w 325"/>
                <a:gd name="T101" fmla="*/ 139 h 144"/>
                <a:gd name="T102" fmla="*/ 149 w 325"/>
                <a:gd name="T103" fmla="*/ 137 h 144"/>
                <a:gd name="T104" fmla="*/ 159 w 325"/>
                <a:gd name="T105" fmla="*/ 137 h 144"/>
                <a:gd name="T106" fmla="*/ 164 w 325"/>
                <a:gd name="T107" fmla="*/ 137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25" h="144">
                  <a:moveTo>
                    <a:pt x="164" y="137"/>
                  </a:moveTo>
                  <a:lnTo>
                    <a:pt x="179" y="134"/>
                  </a:lnTo>
                  <a:lnTo>
                    <a:pt x="209" y="129"/>
                  </a:lnTo>
                  <a:lnTo>
                    <a:pt x="226" y="129"/>
                  </a:lnTo>
                  <a:lnTo>
                    <a:pt x="251" y="124"/>
                  </a:lnTo>
                  <a:lnTo>
                    <a:pt x="256" y="144"/>
                  </a:lnTo>
                  <a:lnTo>
                    <a:pt x="268" y="134"/>
                  </a:lnTo>
                  <a:lnTo>
                    <a:pt x="281" y="122"/>
                  </a:lnTo>
                  <a:lnTo>
                    <a:pt x="296" y="117"/>
                  </a:lnTo>
                  <a:lnTo>
                    <a:pt x="303" y="129"/>
                  </a:lnTo>
                  <a:lnTo>
                    <a:pt x="325" y="132"/>
                  </a:lnTo>
                  <a:lnTo>
                    <a:pt x="320" y="110"/>
                  </a:lnTo>
                  <a:lnTo>
                    <a:pt x="311" y="85"/>
                  </a:lnTo>
                  <a:lnTo>
                    <a:pt x="303" y="62"/>
                  </a:lnTo>
                  <a:lnTo>
                    <a:pt x="311" y="55"/>
                  </a:lnTo>
                  <a:lnTo>
                    <a:pt x="296" y="40"/>
                  </a:lnTo>
                  <a:lnTo>
                    <a:pt x="281" y="15"/>
                  </a:lnTo>
                  <a:lnTo>
                    <a:pt x="258" y="18"/>
                  </a:lnTo>
                  <a:lnTo>
                    <a:pt x="248" y="30"/>
                  </a:lnTo>
                  <a:lnTo>
                    <a:pt x="214" y="32"/>
                  </a:lnTo>
                  <a:lnTo>
                    <a:pt x="196" y="32"/>
                  </a:lnTo>
                  <a:lnTo>
                    <a:pt x="181" y="25"/>
                  </a:lnTo>
                  <a:lnTo>
                    <a:pt x="166" y="25"/>
                  </a:lnTo>
                  <a:lnTo>
                    <a:pt x="154" y="10"/>
                  </a:lnTo>
                  <a:lnTo>
                    <a:pt x="137" y="0"/>
                  </a:lnTo>
                  <a:lnTo>
                    <a:pt x="119" y="10"/>
                  </a:lnTo>
                  <a:lnTo>
                    <a:pt x="97" y="13"/>
                  </a:lnTo>
                  <a:lnTo>
                    <a:pt x="79" y="18"/>
                  </a:lnTo>
                  <a:lnTo>
                    <a:pt x="54" y="20"/>
                  </a:lnTo>
                  <a:lnTo>
                    <a:pt x="42" y="20"/>
                  </a:lnTo>
                  <a:lnTo>
                    <a:pt x="22" y="28"/>
                  </a:lnTo>
                  <a:lnTo>
                    <a:pt x="35" y="32"/>
                  </a:lnTo>
                  <a:lnTo>
                    <a:pt x="22" y="40"/>
                  </a:lnTo>
                  <a:lnTo>
                    <a:pt x="17" y="50"/>
                  </a:lnTo>
                  <a:lnTo>
                    <a:pt x="5" y="60"/>
                  </a:lnTo>
                  <a:lnTo>
                    <a:pt x="2" y="70"/>
                  </a:lnTo>
                  <a:lnTo>
                    <a:pt x="0" y="77"/>
                  </a:lnTo>
                  <a:lnTo>
                    <a:pt x="7" y="80"/>
                  </a:lnTo>
                  <a:lnTo>
                    <a:pt x="7" y="92"/>
                  </a:lnTo>
                  <a:lnTo>
                    <a:pt x="15" y="97"/>
                  </a:lnTo>
                  <a:lnTo>
                    <a:pt x="12" y="110"/>
                  </a:lnTo>
                  <a:lnTo>
                    <a:pt x="20" y="117"/>
                  </a:lnTo>
                  <a:lnTo>
                    <a:pt x="27" y="117"/>
                  </a:lnTo>
                  <a:lnTo>
                    <a:pt x="30" y="124"/>
                  </a:lnTo>
                  <a:lnTo>
                    <a:pt x="45" y="129"/>
                  </a:lnTo>
                  <a:lnTo>
                    <a:pt x="54" y="142"/>
                  </a:lnTo>
                  <a:lnTo>
                    <a:pt x="67" y="137"/>
                  </a:lnTo>
                  <a:lnTo>
                    <a:pt x="74" y="132"/>
                  </a:lnTo>
                  <a:lnTo>
                    <a:pt x="82" y="124"/>
                  </a:lnTo>
                  <a:lnTo>
                    <a:pt x="104" y="137"/>
                  </a:lnTo>
                  <a:lnTo>
                    <a:pt x="124" y="139"/>
                  </a:lnTo>
                  <a:lnTo>
                    <a:pt x="149" y="137"/>
                  </a:lnTo>
                  <a:lnTo>
                    <a:pt x="159" y="137"/>
                  </a:lnTo>
                  <a:lnTo>
                    <a:pt x="164" y="1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7" name="Freeform 296"/>
            <p:cNvSpPr>
              <a:spLocks/>
            </p:cNvSpPr>
            <p:nvPr/>
          </p:nvSpPr>
          <p:spPr bwMode="auto">
            <a:xfrm>
              <a:off x="4401373" y="2799249"/>
              <a:ext cx="35980" cy="31663"/>
            </a:xfrm>
            <a:custGeom>
              <a:avLst/>
              <a:gdLst>
                <a:gd name="T0" fmla="*/ 25 w 25"/>
                <a:gd name="T1" fmla="*/ 20 h 22"/>
                <a:gd name="T2" fmla="*/ 0 w 25"/>
                <a:gd name="T3" fmla="*/ 22 h 22"/>
                <a:gd name="T4" fmla="*/ 2 w 25"/>
                <a:gd name="T5" fmla="*/ 12 h 22"/>
                <a:gd name="T6" fmla="*/ 12 w 25"/>
                <a:gd name="T7" fmla="*/ 0 h 22"/>
                <a:gd name="T8" fmla="*/ 10 w 25"/>
                <a:gd name="T9" fmla="*/ 12 h 22"/>
                <a:gd name="T10" fmla="*/ 25 w 25"/>
                <a:gd name="T11" fmla="*/ 2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5" h="22">
                  <a:moveTo>
                    <a:pt x="25" y="20"/>
                  </a:moveTo>
                  <a:lnTo>
                    <a:pt x="0" y="22"/>
                  </a:lnTo>
                  <a:lnTo>
                    <a:pt x="2" y="12"/>
                  </a:lnTo>
                  <a:lnTo>
                    <a:pt x="12" y="0"/>
                  </a:lnTo>
                  <a:lnTo>
                    <a:pt x="10" y="12"/>
                  </a:lnTo>
                  <a:lnTo>
                    <a:pt x="25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8" name="Freeform 297"/>
            <p:cNvSpPr>
              <a:spLocks/>
            </p:cNvSpPr>
            <p:nvPr/>
          </p:nvSpPr>
          <p:spPr bwMode="auto">
            <a:xfrm>
              <a:off x="1252326" y="2823717"/>
              <a:ext cx="60448" cy="64765"/>
            </a:xfrm>
            <a:custGeom>
              <a:avLst/>
              <a:gdLst>
                <a:gd name="T0" fmla="*/ 0 w 42"/>
                <a:gd name="T1" fmla="*/ 10 h 45"/>
                <a:gd name="T2" fmla="*/ 10 w 42"/>
                <a:gd name="T3" fmla="*/ 0 h 45"/>
                <a:gd name="T4" fmla="*/ 35 w 42"/>
                <a:gd name="T5" fmla="*/ 23 h 45"/>
                <a:gd name="T6" fmla="*/ 42 w 42"/>
                <a:gd name="T7" fmla="*/ 37 h 45"/>
                <a:gd name="T8" fmla="*/ 25 w 42"/>
                <a:gd name="T9" fmla="*/ 45 h 45"/>
                <a:gd name="T10" fmla="*/ 8 w 42"/>
                <a:gd name="T11" fmla="*/ 25 h 45"/>
                <a:gd name="T12" fmla="*/ 0 w 42"/>
                <a:gd name="T13" fmla="*/ 10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" h="45">
                  <a:moveTo>
                    <a:pt x="0" y="10"/>
                  </a:moveTo>
                  <a:lnTo>
                    <a:pt x="10" y="0"/>
                  </a:lnTo>
                  <a:lnTo>
                    <a:pt x="35" y="23"/>
                  </a:lnTo>
                  <a:lnTo>
                    <a:pt x="42" y="37"/>
                  </a:lnTo>
                  <a:lnTo>
                    <a:pt x="25" y="45"/>
                  </a:lnTo>
                  <a:lnTo>
                    <a:pt x="8" y="25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9" name="Freeform 298"/>
            <p:cNvSpPr>
              <a:spLocks/>
            </p:cNvSpPr>
            <p:nvPr/>
          </p:nvSpPr>
          <p:spPr bwMode="auto">
            <a:xfrm>
              <a:off x="4841779" y="3252609"/>
              <a:ext cx="63326" cy="18710"/>
            </a:xfrm>
            <a:custGeom>
              <a:avLst/>
              <a:gdLst>
                <a:gd name="T0" fmla="*/ 22 w 44"/>
                <a:gd name="T1" fmla="*/ 13 h 13"/>
                <a:gd name="T2" fmla="*/ 12 w 44"/>
                <a:gd name="T3" fmla="*/ 10 h 13"/>
                <a:gd name="T4" fmla="*/ 2 w 44"/>
                <a:gd name="T5" fmla="*/ 8 h 13"/>
                <a:gd name="T6" fmla="*/ 0 w 44"/>
                <a:gd name="T7" fmla="*/ 8 h 13"/>
                <a:gd name="T8" fmla="*/ 2 w 44"/>
                <a:gd name="T9" fmla="*/ 5 h 13"/>
                <a:gd name="T10" fmla="*/ 7 w 44"/>
                <a:gd name="T11" fmla="*/ 5 h 13"/>
                <a:gd name="T12" fmla="*/ 19 w 44"/>
                <a:gd name="T13" fmla="*/ 3 h 13"/>
                <a:gd name="T14" fmla="*/ 29 w 44"/>
                <a:gd name="T15" fmla="*/ 3 h 13"/>
                <a:gd name="T16" fmla="*/ 37 w 44"/>
                <a:gd name="T17" fmla="*/ 0 h 13"/>
                <a:gd name="T18" fmla="*/ 39 w 44"/>
                <a:gd name="T19" fmla="*/ 0 h 13"/>
                <a:gd name="T20" fmla="*/ 42 w 44"/>
                <a:gd name="T21" fmla="*/ 3 h 13"/>
                <a:gd name="T22" fmla="*/ 44 w 44"/>
                <a:gd name="T23" fmla="*/ 8 h 13"/>
                <a:gd name="T24" fmla="*/ 42 w 44"/>
                <a:gd name="T25" fmla="*/ 10 h 13"/>
                <a:gd name="T26" fmla="*/ 37 w 44"/>
                <a:gd name="T27" fmla="*/ 13 h 13"/>
                <a:gd name="T28" fmla="*/ 24 w 44"/>
                <a:gd name="T29" fmla="*/ 13 h 13"/>
                <a:gd name="T30" fmla="*/ 22 w 44"/>
                <a:gd name="T3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4" h="13">
                  <a:moveTo>
                    <a:pt x="22" y="13"/>
                  </a:moveTo>
                  <a:lnTo>
                    <a:pt x="12" y="10"/>
                  </a:lnTo>
                  <a:lnTo>
                    <a:pt x="2" y="8"/>
                  </a:lnTo>
                  <a:lnTo>
                    <a:pt x="0" y="8"/>
                  </a:lnTo>
                  <a:lnTo>
                    <a:pt x="2" y="5"/>
                  </a:lnTo>
                  <a:lnTo>
                    <a:pt x="7" y="5"/>
                  </a:lnTo>
                  <a:lnTo>
                    <a:pt x="19" y="3"/>
                  </a:lnTo>
                  <a:lnTo>
                    <a:pt x="29" y="3"/>
                  </a:lnTo>
                  <a:lnTo>
                    <a:pt x="37" y="0"/>
                  </a:lnTo>
                  <a:lnTo>
                    <a:pt x="39" y="0"/>
                  </a:lnTo>
                  <a:lnTo>
                    <a:pt x="42" y="3"/>
                  </a:lnTo>
                  <a:lnTo>
                    <a:pt x="44" y="8"/>
                  </a:lnTo>
                  <a:lnTo>
                    <a:pt x="42" y="10"/>
                  </a:lnTo>
                  <a:lnTo>
                    <a:pt x="37" y="13"/>
                  </a:lnTo>
                  <a:lnTo>
                    <a:pt x="24" y="13"/>
                  </a:lnTo>
                  <a:lnTo>
                    <a:pt x="22" y="13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0" name="Freeform 300"/>
            <p:cNvSpPr>
              <a:spLocks/>
            </p:cNvSpPr>
            <p:nvPr/>
          </p:nvSpPr>
          <p:spPr bwMode="auto">
            <a:xfrm>
              <a:off x="4905105" y="1675207"/>
              <a:ext cx="3688760" cy="1388862"/>
            </a:xfrm>
            <a:custGeom>
              <a:avLst/>
              <a:gdLst>
                <a:gd name="T0" fmla="*/ 435 w 2563"/>
                <a:gd name="T1" fmla="*/ 704 h 965"/>
                <a:gd name="T2" fmla="*/ 599 w 2563"/>
                <a:gd name="T3" fmla="*/ 756 h 965"/>
                <a:gd name="T4" fmla="*/ 706 w 2563"/>
                <a:gd name="T5" fmla="*/ 701 h 965"/>
                <a:gd name="T6" fmla="*/ 883 w 2563"/>
                <a:gd name="T7" fmla="*/ 726 h 965"/>
                <a:gd name="T8" fmla="*/ 1044 w 2563"/>
                <a:gd name="T9" fmla="*/ 826 h 965"/>
                <a:gd name="T10" fmla="*/ 1171 w 2563"/>
                <a:gd name="T11" fmla="*/ 798 h 965"/>
                <a:gd name="T12" fmla="*/ 1291 w 2563"/>
                <a:gd name="T13" fmla="*/ 781 h 965"/>
                <a:gd name="T14" fmla="*/ 1462 w 2563"/>
                <a:gd name="T15" fmla="*/ 786 h 965"/>
                <a:gd name="T16" fmla="*/ 1547 w 2563"/>
                <a:gd name="T17" fmla="*/ 714 h 965"/>
                <a:gd name="T18" fmla="*/ 1733 w 2563"/>
                <a:gd name="T19" fmla="*/ 823 h 965"/>
                <a:gd name="T20" fmla="*/ 1798 w 2563"/>
                <a:gd name="T21" fmla="*/ 918 h 965"/>
                <a:gd name="T22" fmla="*/ 1885 w 2563"/>
                <a:gd name="T23" fmla="*/ 863 h 965"/>
                <a:gd name="T24" fmla="*/ 1823 w 2563"/>
                <a:gd name="T25" fmla="*/ 706 h 965"/>
                <a:gd name="T26" fmla="*/ 1890 w 2563"/>
                <a:gd name="T27" fmla="*/ 557 h 965"/>
                <a:gd name="T28" fmla="*/ 2069 w 2563"/>
                <a:gd name="T29" fmla="*/ 505 h 965"/>
                <a:gd name="T30" fmla="*/ 2180 w 2563"/>
                <a:gd name="T31" fmla="*/ 520 h 965"/>
                <a:gd name="T32" fmla="*/ 2153 w 2563"/>
                <a:gd name="T33" fmla="*/ 746 h 965"/>
                <a:gd name="T34" fmla="*/ 2230 w 2563"/>
                <a:gd name="T35" fmla="*/ 629 h 965"/>
                <a:gd name="T36" fmla="*/ 2210 w 2563"/>
                <a:gd name="T37" fmla="*/ 542 h 965"/>
                <a:gd name="T38" fmla="*/ 2330 w 2563"/>
                <a:gd name="T39" fmla="*/ 500 h 965"/>
                <a:gd name="T40" fmla="*/ 2372 w 2563"/>
                <a:gd name="T41" fmla="*/ 410 h 965"/>
                <a:gd name="T42" fmla="*/ 2466 w 2563"/>
                <a:gd name="T43" fmla="*/ 388 h 965"/>
                <a:gd name="T44" fmla="*/ 2546 w 2563"/>
                <a:gd name="T45" fmla="*/ 378 h 965"/>
                <a:gd name="T46" fmla="*/ 2456 w 2563"/>
                <a:gd name="T47" fmla="*/ 321 h 965"/>
                <a:gd name="T48" fmla="*/ 2295 w 2563"/>
                <a:gd name="T49" fmla="*/ 249 h 965"/>
                <a:gd name="T50" fmla="*/ 2118 w 2563"/>
                <a:gd name="T51" fmla="*/ 246 h 965"/>
                <a:gd name="T52" fmla="*/ 1932 w 2563"/>
                <a:gd name="T53" fmla="*/ 222 h 965"/>
                <a:gd name="T54" fmla="*/ 1733 w 2563"/>
                <a:gd name="T55" fmla="*/ 169 h 965"/>
                <a:gd name="T56" fmla="*/ 1614 w 2563"/>
                <a:gd name="T57" fmla="*/ 204 h 965"/>
                <a:gd name="T58" fmla="*/ 1517 w 2563"/>
                <a:gd name="T59" fmla="*/ 169 h 965"/>
                <a:gd name="T60" fmla="*/ 1256 w 2563"/>
                <a:gd name="T61" fmla="*/ 135 h 965"/>
                <a:gd name="T62" fmla="*/ 1258 w 2563"/>
                <a:gd name="T63" fmla="*/ 65 h 965"/>
                <a:gd name="T64" fmla="*/ 1097 w 2563"/>
                <a:gd name="T65" fmla="*/ 0 h 965"/>
                <a:gd name="T66" fmla="*/ 990 w 2563"/>
                <a:gd name="T67" fmla="*/ 67 h 965"/>
                <a:gd name="T68" fmla="*/ 848 w 2563"/>
                <a:gd name="T69" fmla="*/ 95 h 965"/>
                <a:gd name="T70" fmla="*/ 788 w 2563"/>
                <a:gd name="T71" fmla="*/ 177 h 965"/>
                <a:gd name="T72" fmla="*/ 746 w 2563"/>
                <a:gd name="T73" fmla="*/ 179 h 965"/>
                <a:gd name="T74" fmla="*/ 681 w 2563"/>
                <a:gd name="T75" fmla="*/ 169 h 965"/>
                <a:gd name="T76" fmla="*/ 726 w 2563"/>
                <a:gd name="T77" fmla="*/ 261 h 965"/>
                <a:gd name="T78" fmla="*/ 771 w 2563"/>
                <a:gd name="T79" fmla="*/ 316 h 965"/>
                <a:gd name="T80" fmla="*/ 674 w 2563"/>
                <a:gd name="T81" fmla="*/ 361 h 965"/>
                <a:gd name="T82" fmla="*/ 681 w 2563"/>
                <a:gd name="T83" fmla="*/ 276 h 965"/>
                <a:gd name="T84" fmla="*/ 612 w 2563"/>
                <a:gd name="T85" fmla="*/ 137 h 965"/>
                <a:gd name="T86" fmla="*/ 619 w 2563"/>
                <a:gd name="T87" fmla="*/ 296 h 965"/>
                <a:gd name="T88" fmla="*/ 490 w 2563"/>
                <a:gd name="T89" fmla="*/ 294 h 965"/>
                <a:gd name="T90" fmla="*/ 373 w 2563"/>
                <a:gd name="T91" fmla="*/ 291 h 965"/>
                <a:gd name="T92" fmla="*/ 229 w 2563"/>
                <a:gd name="T93" fmla="*/ 296 h 965"/>
                <a:gd name="T94" fmla="*/ 182 w 2563"/>
                <a:gd name="T95" fmla="*/ 376 h 965"/>
                <a:gd name="T96" fmla="*/ 137 w 2563"/>
                <a:gd name="T97" fmla="*/ 413 h 965"/>
                <a:gd name="T98" fmla="*/ 90 w 2563"/>
                <a:gd name="T99" fmla="*/ 348 h 965"/>
                <a:gd name="T100" fmla="*/ 82 w 2563"/>
                <a:gd name="T101" fmla="*/ 266 h 965"/>
                <a:gd name="T102" fmla="*/ 33 w 2563"/>
                <a:gd name="T103" fmla="*/ 410 h 965"/>
                <a:gd name="T104" fmla="*/ 10 w 2563"/>
                <a:gd name="T105" fmla="*/ 547 h 965"/>
                <a:gd name="T106" fmla="*/ 130 w 2563"/>
                <a:gd name="T107" fmla="*/ 719 h 965"/>
                <a:gd name="T108" fmla="*/ 192 w 2563"/>
                <a:gd name="T109" fmla="*/ 922 h 965"/>
                <a:gd name="T110" fmla="*/ 341 w 2563"/>
                <a:gd name="T111" fmla="*/ 927 h 9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563" h="965">
                  <a:moveTo>
                    <a:pt x="373" y="888"/>
                  </a:moveTo>
                  <a:lnTo>
                    <a:pt x="388" y="873"/>
                  </a:lnTo>
                  <a:lnTo>
                    <a:pt x="396" y="843"/>
                  </a:lnTo>
                  <a:lnTo>
                    <a:pt x="413" y="823"/>
                  </a:lnTo>
                  <a:lnTo>
                    <a:pt x="410" y="801"/>
                  </a:lnTo>
                  <a:lnTo>
                    <a:pt x="388" y="788"/>
                  </a:lnTo>
                  <a:lnTo>
                    <a:pt x="381" y="766"/>
                  </a:lnTo>
                  <a:lnTo>
                    <a:pt x="435" y="704"/>
                  </a:lnTo>
                  <a:lnTo>
                    <a:pt x="455" y="726"/>
                  </a:lnTo>
                  <a:lnTo>
                    <a:pt x="463" y="711"/>
                  </a:lnTo>
                  <a:lnTo>
                    <a:pt x="485" y="704"/>
                  </a:lnTo>
                  <a:lnTo>
                    <a:pt x="505" y="709"/>
                  </a:lnTo>
                  <a:lnTo>
                    <a:pt x="540" y="711"/>
                  </a:lnTo>
                  <a:lnTo>
                    <a:pt x="585" y="739"/>
                  </a:lnTo>
                  <a:lnTo>
                    <a:pt x="582" y="751"/>
                  </a:lnTo>
                  <a:lnTo>
                    <a:pt x="599" y="756"/>
                  </a:lnTo>
                  <a:lnTo>
                    <a:pt x="622" y="753"/>
                  </a:lnTo>
                  <a:lnTo>
                    <a:pt x="654" y="773"/>
                  </a:lnTo>
                  <a:lnTo>
                    <a:pt x="672" y="778"/>
                  </a:lnTo>
                  <a:lnTo>
                    <a:pt x="681" y="768"/>
                  </a:lnTo>
                  <a:lnTo>
                    <a:pt x="672" y="746"/>
                  </a:lnTo>
                  <a:lnTo>
                    <a:pt x="691" y="736"/>
                  </a:lnTo>
                  <a:lnTo>
                    <a:pt x="711" y="726"/>
                  </a:lnTo>
                  <a:lnTo>
                    <a:pt x="706" y="701"/>
                  </a:lnTo>
                  <a:lnTo>
                    <a:pt x="719" y="699"/>
                  </a:lnTo>
                  <a:lnTo>
                    <a:pt x="744" y="704"/>
                  </a:lnTo>
                  <a:lnTo>
                    <a:pt x="786" y="709"/>
                  </a:lnTo>
                  <a:lnTo>
                    <a:pt x="813" y="701"/>
                  </a:lnTo>
                  <a:lnTo>
                    <a:pt x="846" y="696"/>
                  </a:lnTo>
                  <a:lnTo>
                    <a:pt x="863" y="709"/>
                  </a:lnTo>
                  <a:lnTo>
                    <a:pt x="863" y="724"/>
                  </a:lnTo>
                  <a:lnTo>
                    <a:pt x="883" y="726"/>
                  </a:lnTo>
                  <a:lnTo>
                    <a:pt x="910" y="716"/>
                  </a:lnTo>
                  <a:lnTo>
                    <a:pt x="935" y="716"/>
                  </a:lnTo>
                  <a:lnTo>
                    <a:pt x="960" y="766"/>
                  </a:lnTo>
                  <a:lnTo>
                    <a:pt x="977" y="766"/>
                  </a:lnTo>
                  <a:lnTo>
                    <a:pt x="987" y="781"/>
                  </a:lnTo>
                  <a:lnTo>
                    <a:pt x="1017" y="791"/>
                  </a:lnTo>
                  <a:lnTo>
                    <a:pt x="1032" y="835"/>
                  </a:lnTo>
                  <a:lnTo>
                    <a:pt x="1044" y="826"/>
                  </a:lnTo>
                  <a:lnTo>
                    <a:pt x="1067" y="821"/>
                  </a:lnTo>
                  <a:lnTo>
                    <a:pt x="1119" y="816"/>
                  </a:lnTo>
                  <a:lnTo>
                    <a:pt x="1124" y="823"/>
                  </a:lnTo>
                  <a:lnTo>
                    <a:pt x="1144" y="826"/>
                  </a:lnTo>
                  <a:lnTo>
                    <a:pt x="1151" y="833"/>
                  </a:lnTo>
                  <a:lnTo>
                    <a:pt x="1186" y="828"/>
                  </a:lnTo>
                  <a:lnTo>
                    <a:pt x="1179" y="808"/>
                  </a:lnTo>
                  <a:lnTo>
                    <a:pt x="1171" y="798"/>
                  </a:lnTo>
                  <a:lnTo>
                    <a:pt x="1186" y="798"/>
                  </a:lnTo>
                  <a:lnTo>
                    <a:pt x="1186" y="768"/>
                  </a:lnTo>
                  <a:lnTo>
                    <a:pt x="1186" y="736"/>
                  </a:lnTo>
                  <a:lnTo>
                    <a:pt x="1218" y="748"/>
                  </a:lnTo>
                  <a:lnTo>
                    <a:pt x="1241" y="748"/>
                  </a:lnTo>
                  <a:lnTo>
                    <a:pt x="1256" y="766"/>
                  </a:lnTo>
                  <a:lnTo>
                    <a:pt x="1263" y="781"/>
                  </a:lnTo>
                  <a:lnTo>
                    <a:pt x="1291" y="781"/>
                  </a:lnTo>
                  <a:lnTo>
                    <a:pt x="1328" y="783"/>
                  </a:lnTo>
                  <a:lnTo>
                    <a:pt x="1350" y="796"/>
                  </a:lnTo>
                  <a:lnTo>
                    <a:pt x="1368" y="801"/>
                  </a:lnTo>
                  <a:lnTo>
                    <a:pt x="1373" y="816"/>
                  </a:lnTo>
                  <a:lnTo>
                    <a:pt x="1417" y="808"/>
                  </a:lnTo>
                  <a:lnTo>
                    <a:pt x="1425" y="796"/>
                  </a:lnTo>
                  <a:lnTo>
                    <a:pt x="1442" y="806"/>
                  </a:lnTo>
                  <a:lnTo>
                    <a:pt x="1462" y="786"/>
                  </a:lnTo>
                  <a:lnTo>
                    <a:pt x="1479" y="786"/>
                  </a:lnTo>
                  <a:lnTo>
                    <a:pt x="1494" y="793"/>
                  </a:lnTo>
                  <a:lnTo>
                    <a:pt x="1509" y="808"/>
                  </a:lnTo>
                  <a:lnTo>
                    <a:pt x="1532" y="808"/>
                  </a:lnTo>
                  <a:lnTo>
                    <a:pt x="1537" y="773"/>
                  </a:lnTo>
                  <a:lnTo>
                    <a:pt x="1549" y="761"/>
                  </a:lnTo>
                  <a:lnTo>
                    <a:pt x="1537" y="731"/>
                  </a:lnTo>
                  <a:lnTo>
                    <a:pt x="1547" y="714"/>
                  </a:lnTo>
                  <a:lnTo>
                    <a:pt x="1624" y="714"/>
                  </a:lnTo>
                  <a:lnTo>
                    <a:pt x="1641" y="734"/>
                  </a:lnTo>
                  <a:lnTo>
                    <a:pt x="1658" y="748"/>
                  </a:lnTo>
                  <a:lnTo>
                    <a:pt x="1671" y="766"/>
                  </a:lnTo>
                  <a:lnTo>
                    <a:pt x="1673" y="786"/>
                  </a:lnTo>
                  <a:lnTo>
                    <a:pt x="1688" y="803"/>
                  </a:lnTo>
                  <a:lnTo>
                    <a:pt x="1718" y="811"/>
                  </a:lnTo>
                  <a:lnTo>
                    <a:pt x="1733" y="823"/>
                  </a:lnTo>
                  <a:lnTo>
                    <a:pt x="1748" y="833"/>
                  </a:lnTo>
                  <a:lnTo>
                    <a:pt x="1755" y="843"/>
                  </a:lnTo>
                  <a:lnTo>
                    <a:pt x="1773" y="845"/>
                  </a:lnTo>
                  <a:lnTo>
                    <a:pt x="1803" y="838"/>
                  </a:lnTo>
                  <a:lnTo>
                    <a:pt x="1810" y="848"/>
                  </a:lnTo>
                  <a:lnTo>
                    <a:pt x="1813" y="863"/>
                  </a:lnTo>
                  <a:lnTo>
                    <a:pt x="1800" y="873"/>
                  </a:lnTo>
                  <a:lnTo>
                    <a:pt x="1798" y="918"/>
                  </a:lnTo>
                  <a:lnTo>
                    <a:pt x="1783" y="915"/>
                  </a:lnTo>
                  <a:lnTo>
                    <a:pt x="1773" y="932"/>
                  </a:lnTo>
                  <a:lnTo>
                    <a:pt x="1775" y="952"/>
                  </a:lnTo>
                  <a:lnTo>
                    <a:pt x="1790" y="957"/>
                  </a:lnTo>
                  <a:lnTo>
                    <a:pt x="1813" y="965"/>
                  </a:lnTo>
                  <a:lnTo>
                    <a:pt x="1842" y="942"/>
                  </a:lnTo>
                  <a:lnTo>
                    <a:pt x="1865" y="905"/>
                  </a:lnTo>
                  <a:lnTo>
                    <a:pt x="1885" y="863"/>
                  </a:lnTo>
                  <a:lnTo>
                    <a:pt x="1900" y="823"/>
                  </a:lnTo>
                  <a:lnTo>
                    <a:pt x="1890" y="781"/>
                  </a:lnTo>
                  <a:lnTo>
                    <a:pt x="1897" y="771"/>
                  </a:lnTo>
                  <a:lnTo>
                    <a:pt x="1892" y="724"/>
                  </a:lnTo>
                  <a:lnTo>
                    <a:pt x="1872" y="699"/>
                  </a:lnTo>
                  <a:lnTo>
                    <a:pt x="1842" y="689"/>
                  </a:lnTo>
                  <a:lnTo>
                    <a:pt x="1835" y="706"/>
                  </a:lnTo>
                  <a:lnTo>
                    <a:pt x="1823" y="706"/>
                  </a:lnTo>
                  <a:lnTo>
                    <a:pt x="1820" y="691"/>
                  </a:lnTo>
                  <a:lnTo>
                    <a:pt x="1790" y="676"/>
                  </a:lnTo>
                  <a:lnTo>
                    <a:pt x="1788" y="661"/>
                  </a:lnTo>
                  <a:lnTo>
                    <a:pt x="1803" y="644"/>
                  </a:lnTo>
                  <a:lnTo>
                    <a:pt x="1823" y="614"/>
                  </a:lnTo>
                  <a:lnTo>
                    <a:pt x="1835" y="589"/>
                  </a:lnTo>
                  <a:lnTo>
                    <a:pt x="1847" y="567"/>
                  </a:lnTo>
                  <a:lnTo>
                    <a:pt x="1890" y="557"/>
                  </a:lnTo>
                  <a:lnTo>
                    <a:pt x="1924" y="557"/>
                  </a:lnTo>
                  <a:lnTo>
                    <a:pt x="1969" y="560"/>
                  </a:lnTo>
                  <a:lnTo>
                    <a:pt x="1979" y="542"/>
                  </a:lnTo>
                  <a:lnTo>
                    <a:pt x="2014" y="550"/>
                  </a:lnTo>
                  <a:lnTo>
                    <a:pt x="2014" y="562"/>
                  </a:lnTo>
                  <a:lnTo>
                    <a:pt x="2059" y="555"/>
                  </a:lnTo>
                  <a:lnTo>
                    <a:pt x="2061" y="532"/>
                  </a:lnTo>
                  <a:lnTo>
                    <a:pt x="2069" y="505"/>
                  </a:lnTo>
                  <a:lnTo>
                    <a:pt x="2079" y="487"/>
                  </a:lnTo>
                  <a:lnTo>
                    <a:pt x="2126" y="487"/>
                  </a:lnTo>
                  <a:lnTo>
                    <a:pt x="2141" y="505"/>
                  </a:lnTo>
                  <a:lnTo>
                    <a:pt x="2151" y="510"/>
                  </a:lnTo>
                  <a:lnTo>
                    <a:pt x="2166" y="483"/>
                  </a:lnTo>
                  <a:lnTo>
                    <a:pt x="2178" y="478"/>
                  </a:lnTo>
                  <a:lnTo>
                    <a:pt x="2190" y="500"/>
                  </a:lnTo>
                  <a:lnTo>
                    <a:pt x="2180" y="520"/>
                  </a:lnTo>
                  <a:lnTo>
                    <a:pt x="2156" y="540"/>
                  </a:lnTo>
                  <a:lnTo>
                    <a:pt x="2133" y="572"/>
                  </a:lnTo>
                  <a:lnTo>
                    <a:pt x="2116" y="597"/>
                  </a:lnTo>
                  <a:lnTo>
                    <a:pt x="2113" y="632"/>
                  </a:lnTo>
                  <a:lnTo>
                    <a:pt x="2118" y="669"/>
                  </a:lnTo>
                  <a:lnTo>
                    <a:pt x="2133" y="696"/>
                  </a:lnTo>
                  <a:lnTo>
                    <a:pt x="2141" y="726"/>
                  </a:lnTo>
                  <a:lnTo>
                    <a:pt x="2153" y="746"/>
                  </a:lnTo>
                  <a:lnTo>
                    <a:pt x="2168" y="753"/>
                  </a:lnTo>
                  <a:lnTo>
                    <a:pt x="2185" y="726"/>
                  </a:lnTo>
                  <a:lnTo>
                    <a:pt x="2203" y="694"/>
                  </a:lnTo>
                  <a:lnTo>
                    <a:pt x="2203" y="674"/>
                  </a:lnTo>
                  <a:lnTo>
                    <a:pt x="2220" y="674"/>
                  </a:lnTo>
                  <a:lnTo>
                    <a:pt x="2218" y="649"/>
                  </a:lnTo>
                  <a:lnTo>
                    <a:pt x="2220" y="629"/>
                  </a:lnTo>
                  <a:lnTo>
                    <a:pt x="2230" y="629"/>
                  </a:lnTo>
                  <a:lnTo>
                    <a:pt x="2223" y="614"/>
                  </a:lnTo>
                  <a:lnTo>
                    <a:pt x="2203" y="592"/>
                  </a:lnTo>
                  <a:lnTo>
                    <a:pt x="2198" y="592"/>
                  </a:lnTo>
                  <a:lnTo>
                    <a:pt x="2195" y="587"/>
                  </a:lnTo>
                  <a:lnTo>
                    <a:pt x="2193" y="584"/>
                  </a:lnTo>
                  <a:lnTo>
                    <a:pt x="2195" y="567"/>
                  </a:lnTo>
                  <a:lnTo>
                    <a:pt x="2198" y="557"/>
                  </a:lnTo>
                  <a:lnTo>
                    <a:pt x="2210" y="542"/>
                  </a:lnTo>
                  <a:lnTo>
                    <a:pt x="2238" y="527"/>
                  </a:lnTo>
                  <a:lnTo>
                    <a:pt x="2253" y="517"/>
                  </a:lnTo>
                  <a:lnTo>
                    <a:pt x="2275" y="512"/>
                  </a:lnTo>
                  <a:lnTo>
                    <a:pt x="2290" y="517"/>
                  </a:lnTo>
                  <a:lnTo>
                    <a:pt x="2302" y="532"/>
                  </a:lnTo>
                  <a:lnTo>
                    <a:pt x="2312" y="542"/>
                  </a:lnTo>
                  <a:lnTo>
                    <a:pt x="2322" y="510"/>
                  </a:lnTo>
                  <a:lnTo>
                    <a:pt x="2330" y="500"/>
                  </a:lnTo>
                  <a:lnTo>
                    <a:pt x="2335" y="483"/>
                  </a:lnTo>
                  <a:lnTo>
                    <a:pt x="2359" y="483"/>
                  </a:lnTo>
                  <a:lnTo>
                    <a:pt x="2382" y="468"/>
                  </a:lnTo>
                  <a:lnTo>
                    <a:pt x="2394" y="465"/>
                  </a:lnTo>
                  <a:lnTo>
                    <a:pt x="2422" y="475"/>
                  </a:lnTo>
                  <a:lnTo>
                    <a:pt x="2427" y="460"/>
                  </a:lnTo>
                  <a:lnTo>
                    <a:pt x="2404" y="433"/>
                  </a:lnTo>
                  <a:lnTo>
                    <a:pt x="2372" y="410"/>
                  </a:lnTo>
                  <a:lnTo>
                    <a:pt x="2384" y="400"/>
                  </a:lnTo>
                  <a:lnTo>
                    <a:pt x="2407" y="386"/>
                  </a:lnTo>
                  <a:lnTo>
                    <a:pt x="2399" y="373"/>
                  </a:lnTo>
                  <a:lnTo>
                    <a:pt x="2399" y="353"/>
                  </a:lnTo>
                  <a:lnTo>
                    <a:pt x="2419" y="348"/>
                  </a:lnTo>
                  <a:lnTo>
                    <a:pt x="2427" y="368"/>
                  </a:lnTo>
                  <a:lnTo>
                    <a:pt x="2432" y="386"/>
                  </a:lnTo>
                  <a:lnTo>
                    <a:pt x="2466" y="388"/>
                  </a:lnTo>
                  <a:lnTo>
                    <a:pt x="2479" y="400"/>
                  </a:lnTo>
                  <a:lnTo>
                    <a:pt x="2504" y="403"/>
                  </a:lnTo>
                  <a:lnTo>
                    <a:pt x="2516" y="420"/>
                  </a:lnTo>
                  <a:lnTo>
                    <a:pt x="2526" y="425"/>
                  </a:lnTo>
                  <a:lnTo>
                    <a:pt x="2543" y="410"/>
                  </a:lnTo>
                  <a:lnTo>
                    <a:pt x="2526" y="393"/>
                  </a:lnTo>
                  <a:lnTo>
                    <a:pt x="2534" y="378"/>
                  </a:lnTo>
                  <a:lnTo>
                    <a:pt x="2546" y="378"/>
                  </a:lnTo>
                  <a:lnTo>
                    <a:pt x="2558" y="371"/>
                  </a:lnTo>
                  <a:lnTo>
                    <a:pt x="2563" y="348"/>
                  </a:lnTo>
                  <a:lnTo>
                    <a:pt x="2529" y="348"/>
                  </a:lnTo>
                  <a:lnTo>
                    <a:pt x="2509" y="336"/>
                  </a:lnTo>
                  <a:lnTo>
                    <a:pt x="2481" y="338"/>
                  </a:lnTo>
                  <a:lnTo>
                    <a:pt x="2474" y="351"/>
                  </a:lnTo>
                  <a:lnTo>
                    <a:pt x="2464" y="331"/>
                  </a:lnTo>
                  <a:lnTo>
                    <a:pt x="2456" y="321"/>
                  </a:lnTo>
                  <a:lnTo>
                    <a:pt x="2429" y="316"/>
                  </a:lnTo>
                  <a:lnTo>
                    <a:pt x="2427" y="299"/>
                  </a:lnTo>
                  <a:lnTo>
                    <a:pt x="2392" y="299"/>
                  </a:lnTo>
                  <a:lnTo>
                    <a:pt x="2374" y="281"/>
                  </a:lnTo>
                  <a:lnTo>
                    <a:pt x="2352" y="269"/>
                  </a:lnTo>
                  <a:lnTo>
                    <a:pt x="2330" y="266"/>
                  </a:lnTo>
                  <a:lnTo>
                    <a:pt x="2305" y="256"/>
                  </a:lnTo>
                  <a:lnTo>
                    <a:pt x="2295" y="249"/>
                  </a:lnTo>
                  <a:lnTo>
                    <a:pt x="2270" y="241"/>
                  </a:lnTo>
                  <a:lnTo>
                    <a:pt x="2238" y="241"/>
                  </a:lnTo>
                  <a:lnTo>
                    <a:pt x="2198" y="236"/>
                  </a:lnTo>
                  <a:lnTo>
                    <a:pt x="2193" y="261"/>
                  </a:lnTo>
                  <a:lnTo>
                    <a:pt x="2173" y="264"/>
                  </a:lnTo>
                  <a:lnTo>
                    <a:pt x="2163" y="251"/>
                  </a:lnTo>
                  <a:lnTo>
                    <a:pt x="2143" y="256"/>
                  </a:lnTo>
                  <a:lnTo>
                    <a:pt x="2118" y="246"/>
                  </a:lnTo>
                  <a:lnTo>
                    <a:pt x="2074" y="251"/>
                  </a:lnTo>
                  <a:lnTo>
                    <a:pt x="2064" y="266"/>
                  </a:lnTo>
                  <a:lnTo>
                    <a:pt x="2049" y="261"/>
                  </a:lnTo>
                  <a:lnTo>
                    <a:pt x="2029" y="246"/>
                  </a:lnTo>
                  <a:lnTo>
                    <a:pt x="2009" y="224"/>
                  </a:lnTo>
                  <a:lnTo>
                    <a:pt x="1962" y="214"/>
                  </a:lnTo>
                  <a:lnTo>
                    <a:pt x="1944" y="219"/>
                  </a:lnTo>
                  <a:lnTo>
                    <a:pt x="1932" y="222"/>
                  </a:lnTo>
                  <a:lnTo>
                    <a:pt x="1905" y="219"/>
                  </a:lnTo>
                  <a:lnTo>
                    <a:pt x="1872" y="202"/>
                  </a:lnTo>
                  <a:lnTo>
                    <a:pt x="1850" y="189"/>
                  </a:lnTo>
                  <a:lnTo>
                    <a:pt x="1845" y="182"/>
                  </a:lnTo>
                  <a:lnTo>
                    <a:pt x="1793" y="182"/>
                  </a:lnTo>
                  <a:lnTo>
                    <a:pt x="1778" y="187"/>
                  </a:lnTo>
                  <a:lnTo>
                    <a:pt x="1763" y="169"/>
                  </a:lnTo>
                  <a:lnTo>
                    <a:pt x="1733" y="169"/>
                  </a:lnTo>
                  <a:lnTo>
                    <a:pt x="1721" y="152"/>
                  </a:lnTo>
                  <a:lnTo>
                    <a:pt x="1703" y="162"/>
                  </a:lnTo>
                  <a:lnTo>
                    <a:pt x="1688" y="174"/>
                  </a:lnTo>
                  <a:lnTo>
                    <a:pt x="1698" y="199"/>
                  </a:lnTo>
                  <a:lnTo>
                    <a:pt x="1676" y="202"/>
                  </a:lnTo>
                  <a:lnTo>
                    <a:pt x="1648" y="199"/>
                  </a:lnTo>
                  <a:lnTo>
                    <a:pt x="1626" y="197"/>
                  </a:lnTo>
                  <a:lnTo>
                    <a:pt x="1614" y="204"/>
                  </a:lnTo>
                  <a:lnTo>
                    <a:pt x="1594" y="194"/>
                  </a:lnTo>
                  <a:lnTo>
                    <a:pt x="1581" y="182"/>
                  </a:lnTo>
                  <a:lnTo>
                    <a:pt x="1579" y="202"/>
                  </a:lnTo>
                  <a:lnTo>
                    <a:pt x="1552" y="207"/>
                  </a:lnTo>
                  <a:lnTo>
                    <a:pt x="1517" y="194"/>
                  </a:lnTo>
                  <a:lnTo>
                    <a:pt x="1494" y="184"/>
                  </a:lnTo>
                  <a:lnTo>
                    <a:pt x="1502" y="174"/>
                  </a:lnTo>
                  <a:lnTo>
                    <a:pt x="1517" y="169"/>
                  </a:lnTo>
                  <a:lnTo>
                    <a:pt x="1504" y="144"/>
                  </a:lnTo>
                  <a:lnTo>
                    <a:pt x="1474" y="135"/>
                  </a:lnTo>
                  <a:lnTo>
                    <a:pt x="1437" y="137"/>
                  </a:lnTo>
                  <a:lnTo>
                    <a:pt x="1425" y="167"/>
                  </a:lnTo>
                  <a:lnTo>
                    <a:pt x="1395" y="154"/>
                  </a:lnTo>
                  <a:lnTo>
                    <a:pt x="1368" y="142"/>
                  </a:lnTo>
                  <a:lnTo>
                    <a:pt x="1328" y="135"/>
                  </a:lnTo>
                  <a:lnTo>
                    <a:pt x="1256" y="135"/>
                  </a:lnTo>
                  <a:lnTo>
                    <a:pt x="1228" y="135"/>
                  </a:lnTo>
                  <a:lnTo>
                    <a:pt x="1204" y="144"/>
                  </a:lnTo>
                  <a:lnTo>
                    <a:pt x="1166" y="157"/>
                  </a:lnTo>
                  <a:lnTo>
                    <a:pt x="1184" y="135"/>
                  </a:lnTo>
                  <a:lnTo>
                    <a:pt x="1221" y="117"/>
                  </a:lnTo>
                  <a:lnTo>
                    <a:pt x="1236" y="110"/>
                  </a:lnTo>
                  <a:lnTo>
                    <a:pt x="1256" y="90"/>
                  </a:lnTo>
                  <a:lnTo>
                    <a:pt x="1258" y="65"/>
                  </a:lnTo>
                  <a:lnTo>
                    <a:pt x="1233" y="52"/>
                  </a:lnTo>
                  <a:lnTo>
                    <a:pt x="1223" y="38"/>
                  </a:lnTo>
                  <a:lnTo>
                    <a:pt x="1164" y="33"/>
                  </a:lnTo>
                  <a:lnTo>
                    <a:pt x="1154" y="45"/>
                  </a:lnTo>
                  <a:lnTo>
                    <a:pt x="1134" y="35"/>
                  </a:lnTo>
                  <a:lnTo>
                    <a:pt x="1126" y="20"/>
                  </a:lnTo>
                  <a:lnTo>
                    <a:pt x="1109" y="10"/>
                  </a:lnTo>
                  <a:lnTo>
                    <a:pt x="1097" y="0"/>
                  </a:lnTo>
                  <a:lnTo>
                    <a:pt x="1067" y="13"/>
                  </a:lnTo>
                  <a:lnTo>
                    <a:pt x="1062" y="38"/>
                  </a:lnTo>
                  <a:lnTo>
                    <a:pt x="1054" y="45"/>
                  </a:lnTo>
                  <a:lnTo>
                    <a:pt x="1069" y="50"/>
                  </a:lnTo>
                  <a:lnTo>
                    <a:pt x="1049" y="62"/>
                  </a:lnTo>
                  <a:lnTo>
                    <a:pt x="1020" y="55"/>
                  </a:lnTo>
                  <a:lnTo>
                    <a:pt x="1000" y="57"/>
                  </a:lnTo>
                  <a:lnTo>
                    <a:pt x="990" y="67"/>
                  </a:lnTo>
                  <a:lnTo>
                    <a:pt x="977" y="52"/>
                  </a:lnTo>
                  <a:lnTo>
                    <a:pt x="960" y="60"/>
                  </a:lnTo>
                  <a:lnTo>
                    <a:pt x="945" y="55"/>
                  </a:lnTo>
                  <a:lnTo>
                    <a:pt x="945" y="70"/>
                  </a:lnTo>
                  <a:lnTo>
                    <a:pt x="913" y="72"/>
                  </a:lnTo>
                  <a:lnTo>
                    <a:pt x="885" y="75"/>
                  </a:lnTo>
                  <a:lnTo>
                    <a:pt x="868" y="87"/>
                  </a:lnTo>
                  <a:lnTo>
                    <a:pt x="848" y="95"/>
                  </a:lnTo>
                  <a:lnTo>
                    <a:pt x="848" y="110"/>
                  </a:lnTo>
                  <a:lnTo>
                    <a:pt x="863" y="112"/>
                  </a:lnTo>
                  <a:lnTo>
                    <a:pt x="868" y="135"/>
                  </a:lnTo>
                  <a:lnTo>
                    <a:pt x="841" y="130"/>
                  </a:lnTo>
                  <a:lnTo>
                    <a:pt x="803" y="132"/>
                  </a:lnTo>
                  <a:lnTo>
                    <a:pt x="786" y="139"/>
                  </a:lnTo>
                  <a:lnTo>
                    <a:pt x="781" y="159"/>
                  </a:lnTo>
                  <a:lnTo>
                    <a:pt x="788" y="177"/>
                  </a:lnTo>
                  <a:lnTo>
                    <a:pt x="803" y="177"/>
                  </a:lnTo>
                  <a:lnTo>
                    <a:pt x="818" y="194"/>
                  </a:lnTo>
                  <a:lnTo>
                    <a:pt x="828" y="214"/>
                  </a:lnTo>
                  <a:lnTo>
                    <a:pt x="826" y="229"/>
                  </a:lnTo>
                  <a:lnTo>
                    <a:pt x="801" y="202"/>
                  </a:lnTo>
                  <a:lnTo>
                    <a:pt x="773" y="194"/>
                  </a:lnTo>
                  <a:lnTo>
                    <a:pt x="761" y="177"/>
                  </a:lnTo>
                  <a:lnTo>
                    <a:pt x="746" y="179"/>
                  </a:lnTo>
                  <a:lnTo>
                    <a:pt x="739" y="199"/>
                  </a:lnTo>
                  <a:lnTo>
                    <a:pt x="746" y="212"/>
                  </a:lnTo>
                  <a:lnTo>
                    <a:pt x="749" y="222"/>
                  </a:lnTo>
                  <a:lnTo>
                    <a:pt x="726" y="214"/>
                  </a:lnTo>
                  <a:lnTo>
                    <a:pt x="704" y="194"/>
                  </a:lnTo>
                  <a:lnTo>
                    <a:pt x="701" y="172"/>
                  </a:lnTo>
                  <a:lnTo>
                    <a:pt x="691" y="159"/>
                  </a:lnTo>
                  <a:lnTo>
                    <a:pt x="681" y="169"/>
                  </a:lnTo>
                  <a:lnTo>
                    <a:pt x="684" y="189"/>
                  </a:lnTo>
                  <a:lnTo>
                    <a:pt x="681" y="202"/>
                  </a:lnTo>
                  <a:lnTo>
                    <a:pt x="684" y="214"/>
                  </a:lnTo>
                  <a:lnTo>
                    <a:pt x="694" y="217"/>
                  </a:lnTo>
                  <a:lnTo>
                    <a:pt x="696" y="251"/>
                  </a:lnTo>
                  <a:lnTo>
                    <a:pt x="701" y="266"/>
                  </a:lnTo>
                  <a:lnTo>
                    <a:pt x="724" y="271"/>
                  </a:lnTo>
                  <a:lnTo>
                    <a:pt x="726" y="261"/>
                  </a:lnTo>
                  <a:lnTo>
                    <a:pt x="744" y="266"/>
                  </a:lnTo>
                  <a:lnTo>
                    <a:pt x="754" y="271"/>
                  </a:lnTo>
                  <a:lnTo>
                    <a:pt x="761" y="284"/>
                  </a:lnTo>
                  <a:lnTo>
                    <a:pt x="766" y="299"/>
                  </a:lnTo>
                  <a:lnTo>
                    <a:pt x="776" y="309"/>
                  </a:lnTo>
                  <a:lnTo>
                    <a:pt x="786" y="313"/>
                  </a:lnTo>
                  <a:lnTo>
                    <a:pt x="786" y="326"/>
                  </a:lnTo>
                  <a:lnTo>
                    <a:pt x="771" y="316"/>
                  </a:lnTo>
                  <a:lnTo>
                    <a:pt x="759" y="301"/>
                  </a:lnTo>
                  <a:lnTo>
                    <a:pt x="741" y="289"/>
                  </a:lnTo>
                  <a:lnTo>
                    <a:pt x="721" y="289"/>
                  </a:lnTo>
                  <a:lnTo>
                    <a:pt x="719" y="294"/>
                  </a:lnTo>
                  <a:lnTo>
                    <a:pt x="716" y="309"/>
                  </a:lnTo>
                  <a:lnTo>
                    <a:pt x="706" y="328"/>
                  </a:lnTo>
                  <a:lnTo>
                    <a:pt x="694" y="351"/>
                  </a:lnTo>
                  <a:lnTo>
                    <a:pt x="674" y="361"/>
                  </a:lnTo>
                  <a:lnTo>
                    <a:pt x="644" y="351"/>
                  </a:lnTo>
                  <a:lnTo>
                    <a:pt x="649" y="338"/>
                  </a:lnTo>
                  <a:lnTo>
                    <a:pt x="669" y="333"/>
                  </a:lnTo>
                  <a:lnTo>
                    <a:pt x="684" y="323"/>
                  </a:lnTo>
                  <a:lnTo>
                    <a:pt x="689" y="316"/>
                  </a:lnTo>
                  <a:lnTo>
                    <a:pt x="691" y="304"/>
                  </a:lnTo>
                  <a:lnTo>
                    <a:pt x="686" y="289"/>
                  </a:lnTo>
                  <a:lnTo>
                    <a:pt x="681" y="276"/>
                  </a:lnTo>
                  <a:lnTo>
                    <a:pt x="676" y="259"/>
                  </a:lnTo>
                  <a:lnTo>
                    <a:pt x="676" y="246"/>
                  </a:lnTo>
                  <a:lnTo>
                    <a:pt x="669" y="229"/>
                  </a:lnTo>
                  <a:lnTo>
                    <a:pt x="664" y="207"/>
                  </a:lnTo>
                  <a:lnTo>
                    <a:pt x="657" y="177"/>
                  </a:lnTo>
                  <a:lnTo>
                    <a:pt x="652" y="152"/>
                  </a:lnTo>
                  <a:lnTo>
                    <a:pt x="637" y="135"/>
                  </a:lnTo>
                  <a:lnTo>
                    <a:pt x="612" y="137"/>
                  </a:lnTo>
                  <a:lnTo>
                    <a:pt x="599" y="167"/>
                  </a:lnTo>
                  <a:lnTo>
                    <a:pt x="597" y="199"/>
                  </a:lnTo>
                  <a:lnTo>
                    <a:pt x="575" y="212"/>
                  </a:lnTo>
                  <a:lnTo>
                    <a:pt x="577" y="229"/>
                  </a:lnTo>
                  <a:lnTo>
                    <a:pt x="589" y="249"/>
                  </a:lnTo>
                  <a:lnTo>
                    <a:pt x="604" y="269"/>
                  </a:lnTo>
                  <a:lnTo>
                    <a:pt x="614" y="284"/>
                  </a:lnTo>
                  <a:lnTo>
                    <a:pt x="619" y="296"/>
                  </a:lnTo>
                  <a:lnTo>
                    <a:pt x="602" y="301"/>
                  </a:lnTo>
                  <a:lnTo>
                    <a:pt x="585" y="279"/>
                  </a:lnTo>
                  <a:lnTo>
                    <a:pt x="555" y="261"/>
                  </a:lnTo>
                  <a:lnTo>
                    <a:pt x="520" y="254"/>
                  </a:lnTo>
                  <a:lnTo>
                    <a:pt x="490" y="251"/>
                  </a:lnTo>
                  <a:lnTo>
                    <a:pt x="483" y="264"/>
                  </a:lnTo>
                  <a:lnTo>
                    <a:pt x="493" y="271"/>
                  </a:lnTo>
                  <a:lnTo>
                    <a:pt x="490" y="294"/>
                  </a:lnTo>
                  <a:lnTo>
                    <a:pt x="475" y="299"/>
                  </a:lnTo>
                  <a:lnTo>
                    <a:pt x="473" y="279"/>
                  </a:lnTo>
                  <a:lnTo>
                    <a:pt x="458" y="276"/>
                  </a:lnTo>
                  <a:lnTo>
                    <a:pt x="448" y="291"/>
                  </a:lnTo>
                  <a:lnTo>
                    <a:pt x="410" y="291"/>
                  </a:lnTo>
                  <a:lnTo>
                    <a:pt x="396" y="309"/>
                  </a:lnTo>
                  <a:lnTo>
                    <a:pt x="386" y="289"/>
                  </a:lnTo>
                  <a:lnTo>
                    <a:pt x="373" y="291"/>
                  </a:lnTo>
                  <a:lnTo>
                    <a:pt x="353" y="301"/>
                  </a:lnTo>
                  <a:lnTo>
                    <a:pt x="333" y="309"/>
                  </a:lnTo>
                  <a:lnTo>
                    <a:pt x="309" y="331"/>
                  </a:lnTo>
                  <a:lnTo>
                    <a:pt x="284" y="343"/>
                  </a:lnTo>
                  <a:lnTo>
                    <a:pt x="274" y="326"/>
                  </a:lnTo>
                  <a:lnTo>
                    <a:pt x="274" y="311"/>
                  </a:lnTo>
                  <a:lnTo>
                    <a:pt x="256" y="294"/>
                  </a:lnTo>
                  <a:lnTo>
                    <a:pt x="229" y="296"/>
                  </a:lnTo>
                  <a:lnTo>
                    <a:pt x="236" y="311"/>
                  </a:lnTo>
                  <a:lnTo>
                    <a:pt x="241" y="331"/>
                  </a:lnTo>
                  <a:lnTo>
                    <a:pt x="249" y="348"/>
                  </a:lnTo>
                  <a:lnTo>
                    <a:pt x="251" y="368"/>
                  </a:lnTo>
                  <a:lnTo>
                    <a:pt x="231" y="361"/>
                  </a:lnTo>
                  <a:lnTo>
                    <a:pt x="214" y="356"/>
                  </a:lnTo>
                  <a:lnTo>
                    <a:pt x="204" y="368"/>
                  </a:lnTo>
                  <a:lnTo>
                    <a:pt x="182" y="376"/>
                  </a:lnTo>
                  <a:lnTo>
                    <a:pt x="179" y="391"/>
                  </a:lnTo>
                  <a:lnTo>
                    <a:pt x="192" y="398"/>
                  </a:lnTo>
                  <a:lnTo>
                    <a:pt x="187" y="418"/>
                  </a:lnTo>
                  <a:lnTo>
                    <a:pt x="169" y="418"/>
                  </a:lnTo>
                  <a:lnTo>
                    <a:pt x="169" y="398"/>
                  </a:lnTo>
                  <a:lnTo>
                    <a:pt x="152" y="391"/>
                  </a:lnTo>
                  <a:lnTo>
                    <a:pt x="135" y="398"/>
                  </a:lnTo>
                  <a:lnTo>
                    <a:pt x="137" y="413"/>
                  </a:lnTo>
                  <a:lnTo>
                    <a:pt x="149" y="418"/>
                  </a:lnTo>
                  <a:lnTo>
                    <a:pt x="152" y="425"/>
                  </a:lnTo>
                  <a:lnTo>
                    <a:pt x="144" y="435"/>
                  </a:lnTo>
                  <a:lnTo>
                    <a:pt x="125" y="420"/>
                  </a:lnTo>
                  <a:lnTo>
                    <a:pt x="112" y="403"/>
                  </a:lnTo>
                  <a:lnTo>
                    <a:pt x="102" y="386"/>
                  </a:lnTo>
                  <a:lnTo>
                    <a:pt x="97" y="358"/>
                  </a:lnTo>
                  <a:lnTo>
                    <a:pt x="90" y="348"/>
                  </a:lnTo>
                  <a:lnTo>
                    <a:pt x="110" y="353"/>
                  </a:lnTo>
                  <a:lnTo>
                    <a:pt x="142" y="363"/>
                  </a:lnTo>
                  <a:lnTo>
                    <a:pt x="169" y="356"/>
                  </a:lnTo>
                  <a:lnTo>
                    <a:pt x="182" y="343"/>
                  </a:lnTo>
                  <a:lnTo>
                    <a:pt x="189" y="328"/>
                  </a:lnTo>
                  <a:lnTo>
                    <a:pt x="159" y="306"/>
                  </a:lnTo>
                  <a:lnTo>
                    <a:pt x="122" y="289"/>
                  </a:lnTo>
                  <a:lnTo>
                    <a:pt x="82" y="266"/>
                  </a:lnTo>
                  <a:lnTo>
                    <a:pt x="65" y="259"/>
                  </a:lnTo>
                  <a:lnTo>
                    <a:pt x="45" y="271"/>
                  </a:lnTo>
                  <a:lnTo>
                    <a:pt x="25" y="294"/>
                  </a:lnTo>
                  <a:lnTo>
                    <a:pt x="18" y="311"/>
                  </a:lnTo>
                  <a:lnTo>
                    <a:pt x="18" y="331"/>
                  </a:lnTo>
                  <a:lnTo>
                    <a:pt x="23" y="356"/>
                  </a:lnTo>
                  <a:lnTo>
                    <a:pt x="25" y="386"/>
                  </a:lnTo>
                  <a:lnTo>
                    <a:pt x="33" y="410"/>
                  </a:lnTo>
                  <a:lnTo>
                    <a:pt x="40" y="438"/>
                  </a:lnTo>
                  <a:lnTo>
                    <a:pt x="50" y="448"/>
                  </a:lnTo>
                  <a:lnTo>
                    <a:pt x="62" y="458"/>
                  </a:lnTo>
                  <a:lnTo>
                    <a:pt x="50" y="470"/>
                  </a:lnTo>
                  <a:lnTo>
                    <a:pt x="30" y="490"/>
                  </a:lnTo>
                  <a:lnTo>
                    <a:pt x="15" y="510"/>
                  </a:lnTo>
                  <a:lnTo>
                    <a:pt x="8" y="527"/>
                  </a:lnTo>
                  <a:lnTo>
                    <a:pt x="10" y="547"/>
                  </a:lnTo>
                  <a:lnTo>
                    <a:pt x="0" y="552"/>
                  </a:lnTo>
                  <a:lnTo>
                    <a:pt x="20" y="579"/>
                  </a:lnTo>
                  <a:lnTo>
                    <a:pt x="48" y="604"/>
                  </a:lnTo>
                  <a:lnTo>
                    <a:pt x="95" y="624"/>
                  </a:lnTo>
                  <a:lnTo>
                    <a:pt x="100" y="686"/>
                  </a:lnTo>
                  <a:lnTo>
                    <a:pt x="92" y="696"/>
                  </a:lnTo>
                  <a:lnTo>
                    <a:pt x="82" y="721"/>
                  </a:lnTo>
                  <a:lnTo>
                    <a:pt x="130" y="719"/>
                  </a:lnTo>
                  <a:lnTo>
                    <a:pt x="140" y="744"/>
                  </a:lnTo>
                  <a:lnTo>
                    <a:pt x="212" y="803"/>
                  </a:lnTo>
                  <a:lnTo>
                    <a:pt x="199" y="858"/>
                  </a:lnTo>
                  <a:lnTo>
                    <a:pt x="209" y="865"/>
                  </a:lnTo>
                  <a:lnTo>
                    <a:pt x="189" y="883"/>
                  </a:lnTo>
                  <a:lnTo>
                    <a:pt x="174" y="898"/>
                  </a:lnTo>
                  <a:lnTo>
                    <a:pt x="169" y="910"/>
                  </a:lnTo>
                  <a:lnTo>
                    <a:pt x="192" y="922"/>
                  </a:lnTo>
                  <a:lnTo>
                    <a:pt x="207" y="937"/>
                  </a:lnTo>
                  <a:lnTo>
                    <a:pt x="244" y="915"/>
                  </a:lnTo>
                  <a:lnTo>
                    <a:pt x="266" y="927"/>
                  </a:lnTo>
                  <a:lnTo>
                    <a:pt x="281" y="927"/>
                  </a:lnTo>
                  <a:lnTo>
                    <a:pt x="296" y="942"/>
                  </a:lnTo>
                  <a:lnTo>
                    <a:pt x="314" y="962"/>
                  </a:lnTo>
                  <a:lnTo>
                    <a:pt x="348" y="952"/>
                  </a:lnTo>
                  <a:lnTo>
                    <a:pt x="341" y="927"/>
                  </a:lnTo>
                  <a:lnTo>
                    <a:pt x="348" y="910"/>
                  </a:lnTo>
                  <a:lnTo>
                    <a:pt x="373" y="888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1" name="Freeform 301"/>
            <p:cNvSpPr>
              <a:spLocks/>
            </p:cNvSpPr>
            <p:nvPr/>
          </p:nvSpPr>
          <p:spPr bwMode="auto">
            <a:xfrm>
              <a:off x="5424669" y="3478568"/>
              <a:ext cx="35981" cy="46056"/>
            </a:xfrm>
            <a:custGeom>
              <a:avLst/>
              <a:gdLst>
                <a:gd name="T0" fmla="*/ 0 w 25"/>
                <a:gd name="T1" fmla="*/ 30 h 32"/>
                <a:gd name="T2" fmla="*/ 2 w 25"/>
                <a:gd name="T3" fmla="*/ 3 h 32"/>
                <a:gd name="T4" fmla="*/ 12 w 25"/>
                <a:gd name="T5" fmla="*/ 0 h 32"/>
                <a:gd name="T6" fmla="*/ 25 w 25"/>
                <a:gd name="T7" fmla="*/ 32 h 32"/>
                <a:gd name="T8" fmla="*/ 0 w 25"/>
                <a:gd name="T9" fmla="*/ 3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32">
                  <a:moveTo>
                    <a:pt x="0" y="30"/>
                  </a:moveTo>
                  <a:lnTo>
                    <a:pt x="2" y="3"/>
                  </a:lnTo>
                  <a:lnTo>
                    <a:pt x="12" y="0"/>
                  </a:lnTo>
                  <a:lnTo>
                    <a:pt x="25" y="32"/>
                  </a:lnTo>
                  <a:lnTo>
                    <a:pt x="0" y="3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2" name="Freeform 302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0 w 59"/>
                <a:gd name="T1" fmla="*/ 3 h 72"/>
                <a:gd name="T2" fmla="*/ 22 w 59"/>
                <a:gd name="T3" fmla="*/ 0 h 72"/>
                <a:gd name="T4" fmla="*/ 37 w 59"/>
                <a:gd name="T5" fmla="*/ 10 h 72"/>
                <a:gd name="T6" fmla="*/ 59 w 59"/>
                <a:gd name="T7" fmla="*/ 43 h 72"/>
                <a:gd name="T8" fmla="*/ 57 w 59"/>
                <a:gd name="T9" fmla="*/ 58 h 72"/>
                <a:gd name="T10" fmla="*/ 50 w 59"/>
                <a:gd name="T11" fmla="*/ 72 h 72"/>
                <a:gd name="T12" fmla="*/ 42 w 59"/>
                <a:gd name="T13" fmla="*/ 60 h 72"/>
                <a:gd name="T14" fmla="*/ 37 w 59"/>
                <a:gd name="T15" fmla="*/ 70 h 72"/>
                <a:gd name="T16" fmla="*/ 27 w 59"/>
                <a:gd name="T17" fmla="*/ 48 h 72"/>
                <a:gd name="T18" fmla="*/ 25 w 59"/>
                <a:gd name="T19" fmla="*/ 25 h 72"/>
                <a:gd name="T20" fmla="*/ 0 w 59"/>
                <a:gd name="T21" fmla="*/ 3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0" y="3"/>
                  </a:moveTo>
                  <a:lnTo>
                    <a:pt x="22" y="0"/>
                  </a:lnTo>
                  <a:lnTo>
                    <a:pt x="37" y="10"/>
                  </a:lnTo>
                  <a:lnTo>
                    <a:pt x="59" y="43"/>
                  </a:lnTo>
                  <a:lnTo>
                    <a:pt x="57" y="58"/>
                  </a:lnTo>
                  <a:lnTo>
                    <a:pt x="50" y="72"/>
                  </a:lnTo>
                  <a:lnTo>
                    <a:pt x="42" y="60"/>
                  </a:lnTo>
                  <a:lnTo>
                    <a:pt x="37" y="70"/>
                  </a:lnTo>
                  <a:lnTo>
                    <a:pt x="27" y="48"/>
                  </a:lnTo>
                  <a:lnTo>
                    <a:pt x="25" y="25"/>
                  </a:lnTo>
                  <a:lnTo>
                    <a:pt x="0" y="3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3" name="Freeform 303"/>
            <p:cNvSpPr>
              <a:spLocks/>
            </p:cNvSpPr>
            <p:nvPr/>
          </p:nvSpPr>
          <p:spPr bwMode="auto">
            <a:xfrm>
              <a:off x="4543857" y="2773343"/>
              <a:ext cx="182783" cy="103625"/>
            </a:xfrm>
            <a:custGeom>
              <a:avLst/>
              <a:gdLst>
                <a:gd name="T0" fmla="*/ 0 w 127"/>
                <a:gd name="T1" fmla="*/ 20 h 72"/>
                <a:gd name="T2" fmla="*/ 47 w 127"/>
                <a:gd name="T3" fmla="*/ 0 h 72"/>
                <a:gd name="T4" fmla="*/ 65 w 127"/>
                <a:gd name="T5" fmla="*/ 13 h 72"/>
                <a:gd name="T6" fmla="*/ 107 w 127"/>
                <a:gd name="T7" fmla="*/ 25 h 72"/>
                <a:gd name="T8" fmla="*/ 127 w 127"/>
                <a:gd name="T9" fmla="*/ 38 h 72"/>
                <a:gd name="T10" fmla="*/ 92 w 127"/>
                <a:gd name="T11" fmla="*/ 60 h 72"/>
                <a:gd name="T12" fmla="*/ 82 w 127"/>
                <a:gd name="T13" fmla="*/ 72 h 72"/>
                <a:gd name="T14" fmla="*/ 70 w 127"/>
                <a:gd name="T15" fmla="*/ 65 h 72"/>
                <a:gd name="T16" fmla="*/ 72 w 127"/>
                <a:gd name="T17" fmla="*/ 55 h 72"/>
                <a:gd name="T18" fmla="*/ 57 w 127"/>
                <a:gd name="T19" fmla="*/ 53 h 72"/>
                <a:gd name="T20" fmla="*/ 52 w 127"/>
                <a:gd name="T21" fmla="*/ 63 h 72"/>
                <a:gd name="T22" fmla="*/ 40 w 127"/>
                <a:gd name="T23" fmla="*/ 65 h 72"/>
                <a:gd name="T24" fmla="*/ 28 w 127"/>
                <a:gd name="T25" fmla="*/ 53 h 72"/>
                <a:gd name="T26" fmla="*/ 0 w 127"/>
                <a:gd name="T27" fmla="*/ 2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7" h="72">
                  <a:moveTo>
                    <a:pt x="0" y="20"/>
                  </a:moveTo>
                  <a:lnTo>
                    <a:pt x="47" y="0"/>
                  </a:lnTo>
                  <a:lnTo>
                    <a:pt x="65" y="13"/>
                  </a:lnTo>
                  <a:lnTo>
                    <a:pt x="107" y="25"/>
                  </a:lnTo>
                  <a:lnTo>
                    <a:pt x="127" y="38"/>
                  </a:lnTo>
                  <a:lnTo>
                    <a:pt x="92" y="60"/>
                  </a:lnTo>
                  <a:lnTo>
                    <a:pt x="82" y="72"/>
                  </a:lnTo>
                  <a:lnTo>
                    <a:pt x="70" y="65"/>
                  </a:lnTo>
                  <a:lnTo>
                    <a:pt x="72" y="55"/>
                  </a:lnTo>
                  <a:lnTo>
                    <a:pt x="57" y="53"/>
                  </a:lnTo>
                  <a:lnTo>
                    <a:pt x="52" y="63"/>
                  </a:lnTo>
                  <a:lnTo>
                    <a:pt x="40" y="65"/>
                  </a:lnTo>
                  <a:lnTo>
                    <a:pt x="28" y="53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4" name="Freeform 304"/>
            <p:cNvSpPr>
              <a:spLocks/>
            </p:cNvSpPr>
            <p:nvPr/>
          </p:nvSpPr>
          <p:spPr bwMode="auto">
            <a:xfrm>
              <a:off x="4661874" y="2820838"/>
              <a:ext cx="146802" cy="74840"/>
            </a:xfrm>
            <a:custGeom>
              <a:avLst/>
              <a:gdLst>
                <a:gd name="T0" fmla="*/ 45 w 102"/>
                <a:gd name="T1" fmla="*/ 5 h 52"/>
                <a:gd name="T2" fmla="*/ 102 w 102"/>
                <a:gd name="T3" fmla="*/ 0 h 52"/>
                <a:gd name="T4" fmla="*/ 97 w 102"/>
                <a:gd name="T5" fmla="*/ 52 h 52"/>
                <a:gd name="T6" fmla="*/ 82 w 102"/>
                <a:gd name="T7" fmla="*/ 39 h 52"/>
                <a:gd name="T8" fmla="*/ 75 w 102"/>
                <a:gd name="T9" fmla="*/ 37 h 52"/>
                <a:gd name="T10" fmla="*/ 45 w 102"/>
                <a:gd name="T11" fmla="*/ 42 h 52"/>
                <a:gd name="T12" fmla="*/ 25 w 102"/>
                <a:gd name="T13" fmla="*/ 42 h 52"/>
                <a:gd name="T14" fmla="*/ 0 w 102"/>
                <a:gd name="T15" fmla="*/ 39 h 52"/>
                <a:gd name="T16" fmla="*/ 10 w 102"/>
                <a:gd name="T17" fmla="*/ 27 h 52"/>
                <a:gd name="T18" fmla="*/ 45 w 102"/>
                <a:gd name="T19" fmla="*/ 5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02" h="52">
                  <a:moveTo>
                    <a:pt x="45" y="5"/>
                  </a:moveTo>
                  <a:lnTo>
                    <a:pt x="102" y="0"/>
                  </a:lnTo>
                  <a:lnTo>
                    <a:pt x="97" y="52"/>
                  </a:lnTo>
                  <a:lnTo>
                    <a:pt x="82" y="39"/>
                  </a:lnTo>
                  <a:lnTo>
                    <a:pt x="75" y="37"/>
                  </a:lnTo>
                  <a:lnTo>
                    <a:pt x="45" y="42"/>
                  </a:lnTo>
                  <a:lnTo>
                    <a:pt x="25" y="42"/>
                  </a:lnTo>
                  <a:lnTo>
                    <a:pt x="0" y="39"/>
                  </a:lnTo>
                  <a:lnTo>
                    <a:pt x="10" y="27"/>
                  </a:lnTo>
                  <a:lnTo>
                    <a:pt x="45" y="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5" name="Freeform 305"/>
            <p:cNvSpPr>
              <a:spLocks/>
            </p:cNvSpPr>
            <p:nvPr/>
          </p:nvSpPr>
          <p:spPr bwMode="auto">
            <a:xfrm>
              <a:off x="5123869" y="3406606"/>
              <a:ext cx="536834" cy="512368"/>
            </a:xfrm>
            <a:custGeom>
              <a:avLst/>
              <a:gdLst>
                <a:gd name="T0" fmla="*/ 196 w 373"/>
                <a:gd name="T1" fmla="*/ 90 h 356"/>
                <a:gd name="T2" fmla="*/ 209 w 373"/>
                <a:gd name="T3" fmla="*/ 80 h 356"/>
                <a:gd name="T4" fmla="*/ 234 w 373"/>
                <a:gd name="T5" fmla="*/ 82 h 356"/>
                <a:gd name="T6" fmla="*/ 254 w 373"/>
                <a:gd name="T7" fmla="*/ 102 h 356"/>
                <a:gd name="T8" fmla="*/ 278 w 373"/>
                <a:gd name="T9" fmla="*/ 127 h 356"/>
                <a:gd name="T10" fmla="*/ 281 w 373"/>
                <a:gd name="T11" fmla="*/ 150 h 356"/>
                <a:gd name="T12" fmla="*/ 291 w 373"/>
                <a:gd name="T13" fmla="*/ 159 h 356"/>
                <a:gd name="T14" fmla="*/ 303 w 373"/>
                <a:gd name="T15" fmla="*/ 199 h 356"/>
                <a:gd name="T16" fmla="*/ 358 w 373"/>
                <a:gd name="T17" fmla="*/ 202 h 356"/>
                <a:gd name="T18" fmla="*/ 373 w 373"/>
                <a:gd name="T19" fmla="*/ 224 h 356"/>
                <a:gd name="T20" fmla="*/ 360 w 373"/>
                <a:gd name="T21" fmla="*/ 274 h 356"/>
                <a:gd name="T22" fmla="*/ 311 w 373"/>
                <a:gd name="T23" fmla="*/ 284 h 356"/>
                <a:gd name="T24" fmla="*/ 258 w 373"/>
                <a:gd name="T25" fmla="*/ 294 h 356"/>
                <a:gd name="T26" fmla="*/ 244 w 373"/>
                <a:gd name="T27" fmla="*/ 311 h 356"/>
                <a:gd name="T28" fmla="*/ 236 w 373"/>
                <a:gd name="T29" fmla="*/ 338 h 356"/>
                <a:gd name="T30" fmla="*/ 214 w 373"/>
                <a:gd name="T31" fmla="*/ 356 h 356"/>
                <a:gd name="T32" fmla="*/ 214 w 373"/>
                <a:gd name="T33" fmla="*/ 341 h 356"/>
                <a:gd name="T34" fmla="*/ 214 w 373"/>
                <a:gd name="T35" fmla="*/ 329 h 356"/>
                <a:gd name="T36" fmla="*/ 206 w 373"/>
                <a:gd name="T37" fmla="*/ 326 h 356"/>
                <a:gd name="T38" fmla="*/ 184 w 373"/>
                <a:gd name="T39" fmla="*/ 324 h 356"/>
                <a:gd name="T40" fmla="*/ 164 w 373"/>
                <a:gd name="T41" fmla="*/ 326 h 356"/>
                <a:gd name="T42" fmla="*/ 149 w 373"/>
                <a:gd name="T43" fmla="*/ 333 h 356"/>
                <a:gd name="T44" fmla="*/ 132 w 373"/>
                <a:gd name="T45" fmla="*/ 311 h 356"/>
                <a:gd name="T46" fmla="*/ 124 w 373"/>
                <a:gd name="T47" fmla="*/ 289 h 356"/>
                <a:gd name="T48" fmla="*/ 112 w 373"/>
                <a:gd name="T49" fmla="*/ 271 h 356"/>
                <a:gd name="T50" fmla="*/ 89 w 373"/>
                <a:gd name="T51" fmla="*/ 242 h 356"/>
                <a:gd name="T52" fmla="*/ 79 w 373"/>
                <a:gd name="T53" fmla="*/ 224 h 356"/>
                <a:gd name="T54" fmla="*/ 67 w 373"/>
                <a:gd name="T55" fmla="*/ 184 h 356"/>
                <a:gd name="T56" fmla="*/ 47 w 373"/>
                <a:gd name="T57" fmla="*/ 152 h 356"/>
                <a:gd name="T58" fmla="*/ 22 w 373"/>
                <a:gd name="T59" fmla="*/ 130 h 356"/>
                <a:gd name="T60" fmla="*/ 20 w 373"/>
                <a:gd name="T61" fmla="*/ 102 h 356"/>
                <a:gd name="T62" fmla="*/ 5 w 373"/>
                <a:gd name="T63" fmla="*/ 92 h 356"/>
                <a:gd name="T64" fmla="*/ 0 w 373"/>
                <a:gd name="T65" fmla="*/ 72 h 356"/>
                <a:gd name="T66" fmla="*/ 22 w 373"/>
                <a:gd name="T67" fmla="*/ 72 h 356"/>
                <a:gd name="T68" fmla="*/ 37 w 373"/>
                <a:gd name="T69" fmla="*/ 58 h 356"/>
                <a:gd name="T70" fmla="*/ 55 w 373"/>
                <a:gd name="T71" fmla="*/ 45 h 356"/>
                <a:gd name="T72" fmla="*/ 55 w 373"/>
                <a:gd name="T73" fmla="*/ 20 h 356"/>
                <a:gd name="T74" fmla="*/ 72 w 373"/>
                <a:gd name="T75" fmla="*/ 3 h 356"/>
                <a:gd name="T76" fmla="*/ 79 w 373"/>
                <a:gd name="T77" fmla="*/ 0 h 356"/>
                <a:gd name="T78" fmla="*/ 92 w 373"/>
                <a:gd name="T79" fmla="*/ 10 h 356"/>
                <a:gd name="T80" fmla="*/ 104 w 373"/>
                <a:gd name="T81" fmla="*/ 20 h 356"/>
                <a:gd name="T82" fmla="*/ 124 w 373"/>
                <a:gd name="T83" fmla="*/ 18 h 356"/>
                <a:gd name="T84" fmla="*/ 137 w 373"/>
                <a:gd name="T85" fmla="*/ 38 h 356"/>
                <a:gd name="T86" fmla="*/ 149 w 373"/>
                <a:gd name="T87" fmla="*/ 43 h 356"/>
                <a:gd name="T88" fmla="*/ 167 w 373"/>
                <a:gd name="T89" fmla="*/ 70 h 356"/>
                <a:gd name="T90" fmla="*/ 196 w 373"/>
                <a:gd name="T91" fmla="*/ 90 h 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373" h="356">
                  <a:moveTo>
                    <a:pt x="196" y="90"/>
                  </a:moveTo>
                  <a:lnTo>
                    <a:pt x="209" y="80"/>
                  </a:lnTo>
                  <a:lnTo>
                    <a:pt x="234" y="82"/>
                  </a:lnTo>
                  <a:lnTo>
                    <a:pt x="254" y="102"/>
                  </a:lnTo>
                  <a:lnTo>
                    <a:pt x="278" y="127"/>
                  </a:lnTo>
                  <a:lnTo>
                    <a:pt x="281" y="150"/>
                  </a:lnTo>
                  <a:lnTo>
                    <a:pt x="291" y="159"/>
                  </a:lnTo>
                  <a:lnTo>
                    <a:pt x="303" y="199"/>
                  </a:lnTo>
                  <a:lnTo>
                    <a:pt x="358" y="202"/>
                  </a:lnTo>
                  <a:lnTo>
                    <a:pt x="373" y="224"/>
                  </a:lnTo>
                  <a:lnTo>
                    <a:pt x="360" y="274"/>
                  </a:lnTo>
                  <a:lnTo>
                    <a:pt x="311" y="284"/>
                  </a:lnTo>
                  <a:lnTo>
                    <a:pt x="258" y="294"/>
                  </a:lnTo>
                  <a:lnTo>
                    <a:pt x="244" y="311"/>
                  </a:lnTo>
                  <a:lnTo>
                    <a:pt x="236" y="338"/>
                  </a:lnTo>
                  <a:lnTo>
                    <a:pt x="214" y="356"/>
                  </a:lnTo>
                  <a:lnTo>
                    <a:pt x="214" y="341"/>
                  </a:lnTo>
                  <a:lnTo>
                    <a:pt x="214" y="329"/>
                  </a:lnTo>
                  <a:lnTo>
                    <a:pt x="206" y="326"/>
                  </a:lnTo>
                  <a:lnTo>
                    <a:pt x="184" y="324"/>
                  </a:lnTo>
                  <a:lnTo>
                    <a:pt x="164" y="326"/>
                  </a:lnTo>
                  <a:lnTo>
                    <a:pt x="149" y="333"/>
                  </a:lnTo>
                  <a:lnTo>
                    <a:pt x="132" y="311"/>
                  </a:lnTo>
                  <a:lnTo>
                    <a:pt x="124" y="289"/>
                  </a:lnTo>
                  <a:lnTo>
                    <a:pt x="112" y="271"/>
                  </a:lnTo>
                  <a:lnTo>
                    <a:pt x="89" y="242"/>
                  </a:lnTo>
                  <a:lnTo>
                    <a:pt x="79" y="224"/>
                  </a:lnTo>
                  <a:lnTo>
                    <a:pt x="67" y="184"/>
                  </a:lnTo>
                  <a:lnTo>
                    <a:pt x="47" y="152"/>
                  </a:lnTo>
                  <a:lnTo>
                    <a:pt x="22" y="130"/>
                  </a:lnTo>
                  <a:lnTo>
                    <a:pt x="20" y="102"/>
                  </a:lnTo>
                  <a:lnTo>
                    <a:pt x="5" y="92"/>
                  </a:lnTo>
                  <a:lnTo>
                    <a:pt x="0" y="72"/>
                  </a:lnTo>
                  <a:lnTo>
                    <a:pt x="22" y="72"/>
                  </a:lnTo>
                  <a:lnTo>
                    <a:pt x="37" y="58"/>
                  </a:lnTo>
                  <a:lnTo>
                    <a:pt x="55" y="45"/>
                  </a:lnTo>
                  <a:lnTo>
                    <a:pt x="55" y="20"/>
                  </a:lnTo>
                  <a:lnTo>
                    <a:pt x="72" y="3"/>
                  </a:lnTo>
                  <a:lnTo>
                    <a:pt x="79" y="0"/>
                  </a:lnTo>
                  <a:lnTo>
                    <a:pt x="92" y="10"/>
                  </a:lnTo>
                  <a:lnTo>
                    <a:pt x="104" y="20"/>
                  </a:lnTo>
                  <a:lnTo>
                    <a:pt x="124" y="18"/>
                  </a:lnTo>
                  <a:lnTo>
                    <a:pt x="137" y="38"/>
                  </a:lnTo>
                  <a:lnTo>
                    <a:pt x="149" y="43"/>
                  </a:lnTo>
                  <a:lnTo>
                    <a:pt x="167" y="70"/>
                  </a:lnTo>
                  <a:lnTo>
                    <a:pt x="196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6" name="Freeform 306"/>
            <p:cNvSpPr>
              <a:spLocks/>
            </p:cNvSpPr>
            <p:nvPr/>
          </p:nvSpPr>
          <p:spPr bwMode="auto">
            <a:xfrm>
              <a:off x="4902227" y="2898557"/>
              <a:ext cx="84914" cy="103625"/>
            </a:xfrm>
            <a:custGeom>
              <a:avLst/>
              <a:gdLst>
                <a:gd name="T0" fmla="*/ 37 w 59"/>
                <a:gd name="T1" fmla="*/ 10 h 72"/>
                <a:gd name="T2" fmla="*/ 22 w 59"/>
                <a:gd name="T3" fmla="*/ 0 h 72"/>
                <a:gd name="T4" fmla="*/ 0 w 59"/>
                <a:gd name="T5" fmla="*/ 3 h 72"/>
                <a:gd name="T6" fmla="*/ 25 w 59"/>
                <a:gd name="T7" fmla="*/ 25 h 72"/>
                <a:gd name="T8" fmla="*/ 27 w 59"/>
                <a:gd name="T9" fmla="*/ 48 h 72"/>
                <a:gd name="T10" fmla="*/ 37 w 59"/>
                <a:gd name="T11" fmla="*/ 70 h 72"/>
                <a:gd name="T12" fmla="*/ 42 w 59"/>
                <a:gd name="T13" fmla="*/ 60 h 72"/>
                <a:gd name="T14" fmla="*/ 50 w 59"/>
                <a:gd name="T15" fmla="*/ 72 h 72"/>
                <a:gd name="T16" fmla="*/ 57 w 59"/>
                <a:gd name="T17" fmla="*/ 58 h 72"/>
                <a:gd name="T18" fmla="*/ 59 w 59"/>
                <a:gd name="T19" fmla="*/ 43 h 72"/>
                <a:gd name="T20" fmla="*/ 37 w 59"/>
                <a:gd name="T21" fmla="*/ 1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72">
                  <a:moveTo>
                    <a:pt x="37" y="10"/>
                  </a:moveTo>
                  <a:lnTo>
                    <a:pt x="22" y="0"/>
                  </a:lnTo>
                  <a:lnTo>
                    <a:pt x="0" y="3"/>
                  </a:lnTo>
                  <a:lnTo>
                    <a:pt x="25" y="25"/>
                  </a:lnTo>
                  <a:lnTo>
                    <a:pt x="27" y="48"/>
                  </a:lnTo>
                  <a:lnTo>
                    <a:pt x="37" y="70"/>
                  </a:lnTo>
                  <a:lnTo>
                    <a:pt x="42" y="60"/>
                  </a:lnTo>
                  <a:lnTo>
                    <a:pt x="50" y="72"/>
                  </a:lnTo>
                  <a:lnTo>
                    <a:pt x="57" y="58"/>
                  </a:lnTo>
                  <a:lnTo>
                    <a:pt x="59" y="43"/>
                  </a:lnTo>
                  <a:lnTo>
                    <a:pt x="37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7" name="Freeform 307"/>
            <p:cNvSpPr>
              <a:spLocks/>
            </p:cNvSpPr>
            <p:nvPr/>
          </p:nvSpPr>
          <p:spPr bwMode="auto">
            <a:xfrm>
              <a:off x="4743911" y="2544505"/>
              <a:ext cx="172708" cy="151119"/>
            </a:xfrm>
            <a:custGeom>
              <a:avLst/>
              <a:gdLst>
                <a:gd name="T0" fmla="*/ 0 w 120"/>
                <a:gd name="T1" fmla="*/ 62 h 105"/>
                <a:gd name="T2" fmla="*/ 13 w 120"/>
                <a:gd name="T3" fmla="*/ 72 h 105"/>
                <a:gd name="T4" fmla="*/ 13 w 120"/>
                <a:gd name="T5" fmla="*/ 80 h 105"/>
                <a:gd name="T6" fmla="*/ 23 w 120"/>
                <a:gd name="T7" fmla="*/ 85 h 105"/>
                <a:gd name="T8" fmla="*/ 45 w 120"/>
                <a:gd name="T9" fmla="*/ 105 h 105"/>
                <a:gd name="T10" fmla="*/ 45 w 120"/>
                <a:gd name="T11" fmla="*/ 90 h 105"/>
                <a:gd name="T12" fmla="*/ 63 w 120"/>
                <a:gd name="T13" fmla="*/ 82 h 105"/>
                <a:gd name="T14" fmla="*/ 85 w 120"/>
                <a:gd name="T15" fmla="*/ 85 h 105"/>
                <a:gd name="T16" fmla="*/ 90 w 120"/>
                <a:gd name="T17" fmla="*/ 70 h 105"/>
                <a:gd name="T18" fmla="*/ 112 w 120"/>
                <a:gd name="T19" fmla="*/ 62 h 105"/>
                <a:gd name="T20" fmla="*/ 105 w 120"/>
                <a:gd name="T21" fmla="*/ 48 h 105"/>
                <a:gd name="T22" fmla="*/ 117 w 120"/>
                <a:gd name="T23" fmla="*/ 25 h 105"/>
                <a:gd name="T24" fmla="*/ 120 w 120"/>
                <a:gd name="T25" fmla="*/ 28 h 105"/>
                <a:gd name="T26" fmla="*/ 120 w 120"/>
                <a:gd name="T27" fmla="*/ 15 h 105"/>
                <a:gd name="T28" fmla="*/ 82 w 120"/>
                <a:gd name="T29" fmla="*/ 0 h 105"/>
                <a:gd name="T30" fmla="*/ 48 w 120"/>
                <a:gd name="T31" fmla="*/ 23 h 105"/>
                <a:gd name="T32" fmla="*/ 18 w 120"/>
                <a:gd name="T33" fmla="*/ 25 h 105"/>
                <a:gd name="T34" fmla="*/ 8 w 120"/>
                <a:gd name="T35" fmla="*/ 45 h 105"/>
                <a:gd name="T36" fmla="*/ 0 w 120"/>
                <a:gd name="T37" fmla="*/ 62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20" h="105">
                  <a:moveTo>
                    <a:pt x="0" y="62"/>
                  </a:moveTo>
                  <a:lnTo>
                    <a:pt x="13" y="72"/>
                  </a:lnTo>
                  <a:lnTo>
                    <a:pt x="13" y="80"/>
                  </a:lnTo>
                  <a:lnTo>
                    <a:pt x="23" y="85"/>
                  </a:lnTo>
                  <a:lnTo>
                    <a:pt x="45" y="105"/>
                  </a:lnTo>
                  <a:lnTo>
                    <a:pt x="45" y="90"/>
                  </a:lnTo>
                  <a:lnTo>
                    <a:pt x="63" y="82"/>
                  </a:lnTo>
                  <a:lnTo>
                    <a:pt x="85" y="85"/>
                  </a:lnTo>
                  <a:lnTo>
                    <a:pt x="90" y="70"/>
                  </a:lnTo>
                  <a:lnTo>
                    <a:pt x="112" y="62"/>
                  </a:lnTo>
                  <a:lnTo>
                    <a:pt x="105" y="48"/>
                  </a:lnTo>
                  <a:lnTo>
                    <a:pt x="117" y="25"/>
                  </a:lnTo>
                  <a:lnTo>
                    <a:pt x="120" y="28"/>
                  </a:lnTo>
                  <a:lnTo>
                    <a:pt x="120" y="15"/>
                  </a:lnTo>
                  <a:lnTo>
                    <a:pt x="82" y="0"/>
                  </a:lnTo>
                  <a:lnTo>
                    <a:pt x="48" y="23"/>
                  </a:lnTo>
                  <a:lnTo>
                    <a:pt x="18" y="25"/>
                  </a:lnTo>
                  <a:lnTo>
                    <a:pt x="8" y="45"/>
                  </a:lnTo>
                  <a:lnTo>
                    <a:pt x="0" y="62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8" name="Freeform 308"/>
            <p:cNvSpPr>
              <a:spLocks/>
            </p:cNvSpPr>
            <p:nvPr/>
          </p:nvSpPr>
          <p:spPr bwMode="auto">
            <a:xfrm>
              <a:off x="4765499" y="2488374"/>
              <a:ext cx="208690" cy="96429"/>
            </a:xfrm>
            <a:custGeom>
              <a:avLst/>
              <a:gdLst>
                <a:gd name="T0" fmla="*/ 105 w 145"/>
                <a:gd name="T1" fmla="*/ 67 h 67"/>
                <a:gd name="T2" fmla="*/ 105 w 145"/>
                <a:gd name="T3" fmla="*/ 54 h 67"/>
                <a:gd name="T4" fmla="*/ 67 w 145"/>
                <a:gd name="T5" fmla="*/ 39 h 67"/>
                <a:gd name="T6" fmla="*/ 33 w 145"/>
                <a:gd name="T7" fmla="*/ 62 h 67"/>
                <a:gd name="T8" fmla="*/ 3 w 145"/>
                <a:gd name="T9" fmla="*/ 64 h 67"/>
                <a:gd name="T10" fmla="*/ 0 w 145"/>
                <a:gd name="T11" fmla="*/ 32 h 67"/>
                <a:gd name="T12" fmla="*/ 13 w 145"/>
                <a:gd name="T13" fmla="*/ 19 h 67"/>
                <a:gd name="T14" fmla="*/ 28 w 145"/>
                <a:gd name="T15" fmla="*/ 39 h 67"/>
                <a:gd name="T16" fmla="*/ 45 w 145"/>
                <a:gd name="T17" fmla="*/ 39 h 67"/>
                <a:gd name="T18" fmla="*/ 50 w 145"/>
                <a:gd name="T19" fmla="*/ 22 h 67"/>
                <a:gd name="T20" fmla="*/ 38 w 145"/>
                <a:gd name="T21" fmla="*/ 17 h 67"/>
                <a:gd name="T22" fmla="*/ 30 w 145"/>
                <a:gd name="T23" fmla="*/ 2 h 67"/>
                <a:gd name="T24" fmla="*/ 65 w 145"/>
                <a:gd name="T25" fmla="*/ 0 h 67"/>
                <a:gd name="T26" fmla="*/ 82 w 145"/>
                <a:gd name="T27" fmla="*/ 14 h 67"/>
                <a:gd name="T28" fmla="*/ 117 w 145"/>
                <a:gd name="T29" fmla="*/ 14 h 67"/>
                <a:gd name="T30" fmla="*/ 145 w 145"/>
                <a:gd name="T31" fmla="*/ 39 h 67"/>
                <a:gd name="T32" fmla="*/ 130 w 145"/>
                <a:gd name="T33" fmla="*/ 49 h 67"/>
                <a:gd name="T34" fmla="*/ 115 w 145"/>
                <a:gd name="T35" fmla="*/ 42 h 67"/>
                <a:gd name="T36" fmla="*/ 105 w 145"/>
                <a:gd name="T37" fmla="*/ 6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5" h="67">
                  <a:moveTo>
                    <a:pt x="105" y="67"/>
                  </a:moveTo>
                  <a:lnTo>
                    <a:pt x="105" y="54"/>
                  </a:lnTo>
                  <a:lnTo>
                    <a:pt x="67" y="39"/>
                  </a:lnTo>
                  <a:lnTo>
                    <a:pt x="33" y="62"/>
                  </a:lnTo>
                  <a:lnTo>
                    <a:pt x="3" y="64"/>
                  </a:lnTo>
                  <a:lnTo>
                    <a:pt x="0" y="32"/>
                  </a:lnTo>
                  <a:lnTo>
                    <a:pt x="13" y="19"/>
                  </a:lnTo>
                  <a:lnTo>
                    <a:pt x="28" y="39"/>
                  </a:lnTo>
                  <a:lnTo>
                    <a:pt x="45" y="39"/>
                  </a:lnTo>
                  <a:lnTo>
                    <a:pt x="50" y="22"/>
                  </a:lnTo>
                  <a:lnTo>
                    <a:pt x="38" y="17"/>
                  </a:lnTo>
                  <a:lnTo>
                    <a:pt x="30" y="2"/>
                  </a:lnTo>
                  <a:lnTo>
                    <a:pt x="65" y="0"/>
                  </a:lnTo>
                  <a:lnTo>
                    <a:pt x="82" y="14"/>
                  </a:lnTo>
                  <a:lnTo>
                    <a:pt x="117" y="14"/>
                  </a:lnTo>
                  <a:lnTo>
                    <a:pt x="145" y="39"/>
                  </a:lnTo>
                  <a:lnTo>
                    <a:pt x="130" y="49"/>
                  </a:lnTo>
                  <a:lnTo>
                    <a:pt x="115" y="42"/>
                  </a:lnTo>
                  <a:lnTo>
                    <a:pt x="105" y="6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89" name="Freeform 309"/>
            <p:cNvSpPr>
              <a:spLocks/>
            </p:cNvSpPr>
            <p:nvPr/>
          </p:nvSpPr>
          <p:spPr bwMode="auto">
            <a:xfrm>
              <a:off x="4808676" y="2455272"/>
              <a:ext cx="125214" cy="53251"/>
            </a:xfrm>
            <a:custGeom>
              <a:avLst/>
              <a:gdLst>
                <a:gd name="T0" fmla="*/ 87 w 87"/>
                <a:gd name="T1" fmla="*/ 37 h 37"/>
                <a:gd name="T2" fmla="*/ 52 w 87"/>
                <a:gd name="T3" fmla="*/ 37 h 37"/>
                <a:gd name="T4" fmla="*/ 35 w 87"/>
                <a:gd name="T5" fmla="*/ 23 h 37"/>
                <a:gd name="T6" fmla="*/ 0 w 87"/>
                <a:gd name="T7" fmla="*/ 25 h 37"/>
                <a:gd name="T8" fmla="*/ 15 w 87"/>
                <a:gd name="T9" fmla="*/ 13 h 37"/>
                <a:gd name="T10" fmla="*/ 37 w 87"/>
                <a:gd name="T11" fmla="*/ 0 h 37"/>
                <a:gd name="T12" fmla="*/ 67 w 87"/>
                <a:gd name="T13" fmla="*/ 10 h 37"/>
                <a:gd name="T14" fmla="*/ 87 w 87"/>
                <a:gd name="T15" fmla="*/ 37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7" h="37">
                  <a:moveTo>
                    <a:pt x="87" y="37"/>
                  </a:moveTo>
                  <a:lnTo>
                    <a:pt x="52" y="37"/>
                  </a:lnTo>
                  <a:lnTo>
                    <a:pt x="35" y="23"/>
                  </a:lnTo>
                  <a:lnTo>
                    <a:pt x="0" y="25"/>
                  </a:lnTo>
                  <a:lnTo>
                    <a:pt x="15" y="13"/>
                  </a:lnTo>
                  <a:lnTo>
                    <a:pt x="37" y="0"/>
                  </a:lnTo>
                  <a:lnTo>
                    <a:pt x="67" y="10"/>
                  </a:lnTo>
                  <a:lnTo>
                    <a:pt x="87" y="37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0" name="Freeform 310"/>
            <p:cNvSpPr>
              <a:spLocks/>
            </p:cNvSpPr>
            <p:nvPr/>
          </p:nvSpPr>
          <p:spPr bwMode="auto">
            <a:xfrm>
              <a:off x="4801480" y="2710016"/>
              <a:ext cx="408743" cy="292165"/>
            </a:xfrm>
            <a:custGeom>
              <a:avLst/>
              <a:gdLst>
                <a:gd name="T0" fmla="*/ 70 w 284"/>
                <a:gd name="T1" fmla="*/ 134 h 203"/>
                <a:gd name="T2" fmla="*/ 92 w 284"/>
                <a:gd name="T3" fmla="*/ 131 h 203"/>
                <a:gd name="T4" fmla="*/ 107 w 284"/>
                <a:gd name="T5" fmla="*/ 141 h 203"/>
                <a:gd name="T6" fmla="*/ 129 w 284"/>
                <a:gd name="T7" fmla="*/ 174 h 203"/>
                <a:gd name="T8" fmla="*/ 127 w 284"/>
                <a:gd name="T9" fmla="*/ 189 h 203"/>
                <a:gd name="T10" fmla="*/ 120 w 284"/>
                <a:gd name="T11" fmla="*/ 203 h 203"/>
                <a:gd name="T12" fmla="*/ 134 w 284"/>
                <a:gd name="T13" fmla="*/ 189 h 203"/>
                <a:gd name="T14" fmla="*/ 144 w 284"/>
                <a:gd name="T15" fmla="*/ 149 h 203"/>
                <a:gd name="T16" fmla="*/ 162 w 284"/>
                <a:gd name="T17" fmla="*/ 146 h 203"/>
                <a:gd name="T18" fmla="*/ 169 w 284"/>
                <a:gd name="T19" fmla="*/ 169 h 203"/>
                <a:gd name="T20" fmla="*/ 214 w 284"/>
                <a:gd name="T21" fmla="*/ 166 h 203"/>
                <a:gd name="T22" fmla="*/ 224 w 284"/>
                <a:gd name="T23" fmla="*/ 151 h 203"/>
                <a:gd name="T24" fmla="*/ 239 w 284"/>
                <a:gd name="T25" fmla="*/ 154 h 203"/>
                <a:gd name="T26" fmla="*/ 271 w 284"/>
                <a:gd name="T27" fmla="*/ 139 h 203"/>
                <a:gd name="T28" fmla="*/ 284 w 284"/>
                <a:gd name="T29" fmla="*/ 84 h 203"/>
                <a:gd name="T30" fmla="*/ 212 w 284"/>
                <a:gd name="T31" fmla="*/ 25 h 203"/>
                <a:gd name="T32" fmla="*/ 202 w 284"/>
                <a:gd name="T33" fmla="*/ 0 h 203"/>
                <a:gd name="T34" fmla="*/ 154 w 284"/>
                <a:gd name="T35" fmla="*/ 2 h 203"/>
                <a:gd name="T36" fmla="*/ 144 w 284"/>
                <a:gd name="T37" fmla="*/ 22 h 203"/>
                <a:gd name="T38" fmla="*/ 18 w 284"/>
                <a:gd name="T39" fmla="*/ 34 h 203"/>
                <a:gd name="T40" fmla="*/ 20 w 284"/>
                <a:gd name="T41" fmla="*/ 67 h 203"/>
                <a:gd name="T42" fmla="*/ 5 w 284"/>
                <a:gd name="T43" fmla="*/ 77 h 203"/>
                <a:gd name="T44" fmla="*/ 0 w 284"/>
                <a:gd name="T45" fmla="*/ 129 h 203"/>
                <a:gd name="T46" fmla="*/ 25 w 284"/>
                <a:gd name="T47" fmla="*/ 129 h 203"/>
                <a:gd name="T48" fmla="*/ 35 w 284"/>
                <a:gd name="T49" fmla="*/ 136 h 203"/>
                <a:gd name="T50" fmla="*/ 60 w 284"/>
                <a:gd name="T51" fmla="*/ 136 h 203"/>
                <a:gd name="T52" fmla="*/ 67 w 284"/>
                <a:gd name="T53" fmla="*/ 134 h 203"/>
                <a:gd name="T54" fmla="*/ 70 w 284"/>
                <a:gd name="T55" fmla="*/ 134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84" h="203">
                  <a:moveTo>
                    <a:pt x="70" y="134"/>
                  </a:moveTo>
                  <a:lnTo>
                    <a:pt x="92" y="131"/>
                  </a:lnTo>
                  <a:lnTo>
                    <a:pt x="107" y="141"/>
                  </a:lnTo>
                  <a:lnTo>
                    <a:pt x="129" y="174"/>
                  </a:lnTo>
                  <a:lnTo>
                    <a:pt x="127" y="189"/>
                  </a:lnTo>
                  <a:lnTo>
                    <a:pt x="120" y="203"/>
                  </a:lnTo>
                  <a:lnTo>
                    <a:pt x="134" y="189"/>
                  </a:lnTo>
                  <a:lnTo>
                    <a:pt x="144" y="149"/>
                  </a:lnTo>
                  <a:lnTo>
                    <a:pt x="162" y="146"/>
                  </a:lnTo>
                  <a:lnTo>
                    <a:pt x="169" y="169"/>
                  </a:lnTo>
                  <a:lnTo>
                    <a:pt x="214" y="166"/>
                  </a:lnTo>
                  <a:lnTo>
                    <a:pt x="224" y="151"/>
                  </a:lnTo>
                  <a:lnTo>
                    <a:pt x="239" y="154"/>
                  </a:lnTo>
                  <a:lnTo>
                    <a:pt x="271" y="139"/>
                  </a:lnTo>
                  <a:lnTo>
                    <a:pt x="284" y="84"/>
                  </a:lnTo>
                  <a:lnTo>
                    <a:pt x="212" y="25"/>
                  </a:lnTo>
                  <a:lnTo>
                    <a:pt x="202" y="0"/>
                  </a:lnTo>
                  <a:lnTo>
                    <a:pt x="154" y="2"/>
                  </a:lnTo>
                  <a:lnTo>
                    <a:pt x="144" y="22"/>
                  </a:lnTo>
                  <a:lnTo>
                    <a:pt x="18" y="34"/>
                  </a:lnTo>
                  <a:lnTo>
                    <a:pt x="20" y="67"/>
                  </a:lnTo>
                  <a:lnTo>
                    <a:pt x="5" y="77"/>
                  </a:lnTo>
                  <a:lnTo>
                    <a:pt x="0" y="129"/>
                  </a:lnTo>
                  <a:lnTo>
                    <a:pt x="25" y="129"/>
                  </a:lnTo>
                  <a:lnTo>
                    <a:pt x="35" y="136"/>
                  </a:lnTo>
                  <a:lnTo>
                    <a:pt x="60" y="136"/>
                  </a:lnTo>
                  <a:lnTo>
                    <a:pt x="67" y="134"/>
                  </a:lnTo>
                  <a:lnTo>
                    <a:pt x="70" y="13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1" name="Freeform 312"/>
            <p:cNvSpPr>
              <a:spLocks/>
            </p:cNvSpPr>
            <p:nvPr/>
          </p:nvSpPr>
          <p:spPr bwMode="auto">
            <a:xfrm>
              <a:off x="4808676" y="2544505"/>
              <a:ext cx="240353" cy="214446"/>
            </a:xfrm>
            <a:custGeom>
              <a:avLst/>
              <a:gdLst>
                <a:gd name="T0" fmla="*/ 13 w 167"/>
                <a:gd name="T1" fmla="*/ 149 h 149"/>
                <a:gd name="T2" fmla="*/ 139 w 167"/>
                <a:gd name="T3" fmla="*/ 137 h 149"/>
                <a:gd name="T4" fmla="*/ 149 w 167"/>
                <a:gd name="T5" fmla="*/ 117 h 149"/>
                <a:gd name="T6" fmla="*/ 159 w 167"/>
                <a:gd name="T7" fmla="*/ 92 h 149"/>
                <a:gd name="T8" fmla="*/ 167 w 167"/>
                <a:gd name="T9" fmla="*/ 82 h 149"/>
                <a:gd name="T10" fmla="*/ 162 w 167"/>
                <a:gd name="T11" fmla="*/ 20 h 149"/>
                <a:gd name="T12" fmla="*/ 115 w 167"/>
                <a:gd name="T13" fmla="*/ 0 h 149"/>
                <a:gd name="T14" fmla="*/ 100 w 167"/>
                <a:gd name="T15" fmla="*/ 10 h 149"/>
                <a:gd name="T16" fmla="*/ 85 w 167"/>
                <a:gd name="T17" fmla="*/ 3 h 149"/>
                <a:gd name="T18" fmla="*/ 75 w 167"/>
                <a:gd name="T19" fmla="*/ 28 h 149"/>
                <a:gd name="T20" fmla="*/ 72 w 167"/>
                <a:gd name="T21" fmla="*/ 25 h 149"/>
                <a:gd name="T22" fmla="*/ 60 w 167"/>
                <a:gd name="T23" fmla="*/ 48 h 149"/>
                <a:gd name="T24" fmla="*/ 67 w 167"/>
                <a:gd name="T25" fmla="*/ 62 h 149"/>
                <a:gd name="T26" fmla="*/ 45 w 167"/>
                <a:gd name="T27" fmla="*/ 70 h 149"/>
                <a:gd name="T28" fmla="*/ 40 w 167"/>
                <a:gd name="T29" fmla="*/ 85 h 149"/>
                <a:gd name="T30" fmla="*/ 18 w 167"/>
                <a:gd name="T31" fmla="*/ 82 h 149"/>
                <a:gd name="T32" fmla="*/ 0 w 167"/>
                <a:gd name="T33" fmla="*/ 90 h 149"/>
                <a:gd name="T34" fmla="*/ 0 w 167"/>
                <a:gd name="T35" fmla="*/ 105 h 149"/>
                <a:gd name="T36" fmla="*/ 0 w 167"/>
                <a:gd name="T37" fmla="*/ 130 h 149"/>
                <a:gd name="T38" fmla="*/ 13 w 167"/>
                <a:gd name="T39" fmla="*/ 130 h 149"/>
                <a:gd name="T40" fmla="*/ 13 w 167"/>
                <a:gd name="T41" fmla="*/ 149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67" h="149">
                  <a:moveTo>
                    <a:pt x="13" y="149"/>
                  </a:moveTo>
                  <a:lnTo>
                    <a:pt x="139" y="137"/>
                  </a:lnTo>
                  <a:lnTo>
                    <a:pt x="149" y="117"/>
                  </a:lnTo>
                  <a:lnTo>
                    <a:pt x="159" y="92"/>
                  </a:lnTo>
                  <a:lnTo>
                    <a:pt x="167" y="82"/>
                  </a:lnTo>
                  <a:lnTo>
                    <a:pt x="162" y="20"/>
                  </a:lnTo>
                  <a:lnTo>
                    <a:pt x="115" y="0"/>
                  </a:lnTo>
                  <a:lnTo>
                    <a:pt x="100" y="10"/>
                  </a:lnTo>
                  <a:lnTo>
                    <a:pt x="85" y="3"/>
                  </a:lnTo>
                  <a:lnTo>
                    <a:pt x="75" y="28"/>
                  </a:lnTo>
                  <a:lnTo>
                    <a:pt x="72" y="25"/>
                  </a:lnTo>
                  <a:lnTo>
                    <a:pt x="60" y="48"/>
                  </a:lnTo>
                  <a:lnTo>
                    <a:pt x="67" y="62"/>
                  </a:lnTo>
                  <a:lnTo>
                    <a:pt x="45" y="70"/>
                  </a:lnTo>
                  <a:lnTo>
                    <a:pt x="40" y="85"/>
                  </a:lnTo>
                  <a:lnTo>
                    <a:pt x="18" y="82"/>
                  </a:lnTo>
                  <a:lnTo>
                    <a:pt x="0" y="90"/>
                  </a:lnTo>
                  <a:lnTo>
                    <a:pt x="0" y="105"/>
                  </a:lnTo>
                  <a:lnTo>
                    <a:pt x="0" y="130"/>
                  </a:lnTo>
                  <a:lnTo>
                    <a:pt x="13" y="130"/>
                  </a:lnTo>
                  <a:lnTo>
                    <a:pt x="13" y="149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2" name="Freeform 313"/>
            <p:cNvSpPr>
              <a:spLocks/>
            </p:cNvSpPr>
            <p:nvPr/>
          </p:nvSpPr>
          <p:spPr bwMode="auto">
            <a:xfrm>
              <a:off x="4733836" y="2633737"/>
              <a:ext cx="28785" cy="25906"/>
            </a:xfrm>
            <a:custGeom>
              <a:avLst/>
              <a:gdLst>
                <a:gd name="T0" fmla="*/ 0 w 20"/>
                <a:gd name="T1" fmla="*/ 10 h 18"/>
                <a:gd name="T2" fmla="*/ 20 w 20"/>
                <a:gd name="T3" fmla="*/ 18 h 18"/>
                <a:gd name="T4" fmla="*/ 20 w 20"/>
                <a:gd name="T5" fmla="*/ 10 h 18"/>
                <a:gd name="T6" fmla="*/ 7 w 20"/>
                <a:gd name="T7" fmla="*/ 0 h 18"/>
                <a:gd name="T8" fmla="*/ 0 w 20"/>
                <a:gd name="T9" fmla="*/ 1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0" h="18">
                  <a:moveTo>
                    <a:pt x="0" y="10"/>
                  </a:moveTo>
                  <a:lnTo>
                    <a:pt x="20" y="18"/>
                  </a:lnTo>
                  <a:lnTo>
                    <a:pt x="20" y="10"/>
                  </a:lnTo>
                  <a:lnTo>
                    <a:pt x="7" y="0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3" name="Freeform 314"/>
            <p:cNvSpPr>
              <a:spLocks/>
            </p:cNvSpPr>
            <p:nvPr/>
          </p:nvSpPr>
          <p:spPr bwMode="auto">
            <a:xfrm>
              <a:off x="4762621" y="3066947"/>
              <a:ext cx="53252" cy="60448"/>
            </a:xfrm>
            <a:custGeom>
              <a:avLst/>
              <a:gdLst>
                <a:gd name="T0" fmla="*/ 2 w 37"/>
                <a:gd name="T1" fmla="*/ 20 h 42"/>
                <a:gd name="T2" fmla="*/ 7 w 37"/>
                <a:gd name="T3" fmla="*/ 40 h 42"/>
                <a:gd name="T4" fmla="*/ 20 w 37"/>
                <a:gd name="T5" fmla="*/ 42 h 42"/>
                <a:gd name="T6" fmla="*/ 37 w 37"/>
                <a:gd name="T7" fmla="*/ 30 h 42"/>
                <a:gd name="T8" fmla="*/ 35 w 37"/>
                <a:gd name="T9" fmla="*/ 5 h 42"/>
                <a:gd name="T10" fmla="*/ 32 w 37"/>
                <a:gd name="T11" fmla="*/ 3 h 42"/>
                <a:gd name="T12" fmla="*/ 25 w 37"/>
                <a:gd name="T13" fmla="*/ 0 h 42"/>
                <a:gd name="T14" fmla="*/ 17 w 37"/>
                <a:gd name="T15" fmla="*/ 0 h 42"/>
                <a:gd name="T16" fmla="*/ 10 w 37"/>
                <a:gd name="T17" fmla="*/ 3 h 42"/>
                <a:gd name="T18" fmla="*/ 2 w 37"/>
                <a:gd name="T19" fmla="*/ 8 h 42"/>
                <a:gd name="T20" fmla="*/ 0 w 37"/>
                <a:gd name="T21" fmla="*/ 13 h 42"/>
                <a:gd name="T22" fmla="*/ 0 w 37"/>
                <a:gd name="T23" fmla="*/ 15 h 42"/>
                <a:gd name="T24" fmla="*/ 2 w 37"/>
                <a:gd name="T25" fmla="*/ 20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7" h="42">
                  <a:moveTo>
                    <a:pt x="2" y="20"/>
                  </a:moveTo>
                  <a:lnTo>
                    <a:pt x="7" y="40"/>
                  </a:lnTo>
                  <a:lnTo>
                    <a:pt x="20" y="42"/>
                  </a:lnTo>
                  <a:lnTo>
                    <a:pt x="37" y="30"/>
                  </a:lnTo>
                  <a:lnTo>
                    <a:pt x="35" y="5"/>
                  </a:lnTo>
                  <a:lnTo>
                    <a:pt x="32" y="3"/>
                  </a:lnTo>
                  <a:lnTo>
                    <a:pt x="25" y="0"/>
                  </a:lnTo>
                  <a:lnTo>
                    <a:pt x="17" y="0"/>
                  </a:lnTo>
                  <a:lnTo>
                    <a:pt x="10" y="3"/>
                  </a:lnTo>
                  <a:lnTo>
                    <a:pt x="2" y="8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2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4" name="Freeform 315"/>
            <p:cNvSpPr>
              <a:spLocks/>
            </p:cNvSpPr>
            <p:nvPr/>
          </p:nvSpPr>
          <p:spPr bwMode="auto">
            <a:xfrm>
              <a:off x="4748228" y="3049676"/>
              <a:ext cx="43177" cy="38860"/>
            </a:xfrm>
            <a:custGeom>
              <a:avLst/>
              <a:gdLst>
                <a:gd name="T0" fmla="*/ 10 w 30"/>
                <a:gd name="T1" fmla="*/ 25 h 27"/>
                <a:gd name="T2" fmla="*/ 12 w 30"/>
                <a:gd name="T3" fmla="*/ 20 h 27"/>
                <a:gd name="T4" fmla="*/ 20 w 30"/>
                <a:gd name="T5" fmla="*/ 15 h 27"/>
                <a:gd name="T6" fmla="*/ 25 w 30"/>
                <a:gd name="T7" fmla="*/ 12 h 27"/>
                <a:gd name="T8" fmla="*/ 30 w 30"/>
                <a:gd name="T9" fmla="*/ 12 h 27"/>
                <a:gd name="T10" fmla="*/ 25 w 30"/>
                <a:gd name="T11" fmla="*/ 7 h 27"/>
                <a:gd name="T12" fmla="*/ 20 w 30"/>
                <a:gd name="T13" fmla="*/ 2 h 27"/>
                <a:gd name="T14" fmla="*/ 17 w 30"/>
                <a:gd name="T15" fmla="*/ 0 h 27"/>
                <a:gd name="T16" fmla="*/ 15 w 30"/>
                <a:gd name="T17" fmla="*/ 0 h 27"/>
                <a:gd name="T18" fmla="*/ 5 w 30"/>
                <a:gd name="T19" fmla="*/ 5 h 27"/>
                <a:gd name="T20" fmla="*/ 2 w 30"/>
                <a:gd name="T21" fmla="*/ 7 h 27"/>
                <a:gd name="T22" fmla="*/ 0 w 30"/>
                <a:gd name="T23" fmla="*/ 12 h 27"/>
                <a:gd name="T24" fmla="*/ 5 w 30"/>
                <a:gd name="T25" fmla="*/ 20 h 27"/>
                <a:gd name="T26" fmla="*/ 10 w 30"/>
                <a:gd name="T27" fmla="*/ 27 h 27"/>
                <a:gd name="T28" fmla="*/ 10 w 30"/>
                <a:gd name="T29" fmla="*/ 2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" h="27">
                  <a:moveTo>
                    <a:pt x="10" y="25"/>
                  </a:moveTo>
                  <a:lnTo>
                    <a:pt x="12" y="20"/>
                  </a:lnTo>
                  <a:lnTo>
                    <a:pt x="20" y="15"/>
                  </a:lnTo>
                  <a:lnTo>
                    <a:pt x="25" y="12"/>
                  </a:lnTo>
                  <a:lnTo>
                    <a:pt x="30" y="12"/>
                  </a:lnTo>
                  <a:lnTo>
                    <a:pt x="25" y="7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5" y="0"/>
                  </a:lnTo>
                  <a:lnTo>
                    <a:pt x="5" y="5"/>
                  </a:lnTo>
                  <a:lnTo>
                    <a:pt x="2" y="7"/>
                  </a:lnTo>
                  <a:lnTo>
                    <a:pt x="0" y="12"/>
                  </a:lnTo>
                  <a:lnTo>
                    <a:pt x="5" y="20"/>
                  </a:lnTo>
                  <a:lnTo>
                    <a:pt x="10" y="27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5" name="Freeform 316"/>
            <p:cNvSpPr>
              <a:spLocks/>
            </p:cNvSpPr>
            <p:nvPr/>
          </p:nvSpPr>
          <p:spPr bwMode="auto">
            <a:xfrm>
              <a:off x="4726640" y="3074143"/>
              <a:ext cx="46056" cy="71962"/>
            </a:xfrm>
            <a:custGeom>
              <a:avLst/>
              <a:gdLst>
                <a:gd name="T0" fmla="*/ 25 w 32"/>
                <a:gd name="T1" fmla="*/ 10 h 50"/>
                <a:gd name="T2" fmla="*/ 17 w 32"/>
                <a:gd name="T3" fmla="*/ 0 h 50"/>
                <a:gd name="T4" fmla="*/ 7 w 32"/>
                <a:gd name="T5" fmla="*/ 3 h 50"/>
                <a:gd name="T6" fmla="*/ 10 w 32"/>
                <a:gd name="T7" fmla="*/ 18 h 50"/>
                <a:gd name="T8" fmla="*/ 0 w 32"/>
                <a:gd name="T9" fmla="*/ 37 h 50"/>
                <a:gd name="T10" fmla="*/ 7 w 32"/>
                <a:gd name="T11" fmla="*/ 42 h 50"/>
                <a:gd name="T12" fmla="*/ 15 w 32"/>
                <a:gd name="T13" fmla="*/ 50 h 50"/>
                <a:gd name="T14" fmla="*/ 32 w 32"/>
                <a:gd name="T15" fmla="*/ 35 h 50"/>
                <a:gd name="T16" fmla="*/ 27 w 32"/>
                <a:gd name="T17" fmla="*/ 15 h 50"/>
                <a:gd name="T18" fmla="*/ 25 w 32"/>
                <a:gd name="T19" fmla="*/ 1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2" h="50">
                  <a:moveTo>
                    <a:pt x="25" y="10"/>
                  </a:moveTo>
                  <a:lnTo>
                    <a:pt x="17" y="0"/>
                  </a:lnTo>
                  <a:lnTo>
                    <a:pt x="7" y="3"/>
                  </a:lnTo>
                  <a:lnTo>
                    <a:pt x="10" y="18"/>
                  </a:lnTo>
                  <a:lnTo>
                    <a:pt x="0" y="37"/>
                  </a:lnTo>
                  <a:lnTo>
                    <a:pt x="7" y="42"/>
                  </a:lnTo>
                  <a:lnTo>
                    <a:pt x="15" y="50"/>
                  </a:lnTo>
                  <a:lnTo>
                    <a:pt x="32" y="35"/>
                  </a:lnTo>
                  <a:lnTo>
                    <a:pt x="27" y="15"/>
                  </a:lnTo>
                  <a:lnTo>
                    <a:pt x="25" y="1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6" name="Freeform 317"/>
            <p:cNvSpPr>
              <a:spLocks/>
            </p:cNvSpPr>
            <p:nvPr/>
          </p:nvSpPr>
          <p:spPr bwMode="auto">
            <a:xfrm>
              <a:off x="4726640" y="3059751"/>
              <a:ext cx="24467" cy="35980"/>
            </a:xfrm>
            <a:custGeom>
              <a:avLst/>
              <a:gdLst>
                <a:gd name="T0" fmla="*/ 10 w 17"/>
                <a:gd name="T1" fmla="*/ 25 h 25"/>
                <a:gd name="T2" fmla="*/ 7 w 17"/>
                <a:gd name="T3" fmla="*/ 13 h 25"/>
                <a:gd name="T4" fmla="*/ 17 w 17"/>
                <a:gd name="T5" fmla="*/ 10 h 25"/>
                <a:gd name="T6" fmla="*/ 15 w 17"/>
                <a:gd name="T7" fmla="*/ 5 h 25"/>
                <a:gd name="T8" fmla="*/ 12 w 17"/>
                <a:gd name="T9" fmla="*/ 3 h 25"/>
                <a:gd name="T10" fmla="*/ 7 w 17"/>
                <a:gd name="T11" fmla="*/ 3 h 25"/>
                <a:gd name="T12" fmla="*/ 2 w 17"/>
                <a:gd name="T13" fmla="*/ 0 h 25"/>
                <a:gd name="T14" fmla="*/ 0 w 17"/>
                <a:gd name="T15" fmla="*/ 10 h 25"/>
                <a:gd name="T16" fmla="*/ 0 w 17"/>
                <a:gd name="T17" fmla="*/ 25 h 25"/>
                <a:gd name="T18" fmla="*/ 5 w 17"/>
                <a:gd name="T19" fmla="*/ 25 h 25"/>
                <a:gd name="T20" fmla="*/ 7 w 17"/>
                <a:gd name="T21" fmla="*/ 25 h 25"/>
                <a:gd name="T22" fmla="*/ 10 w 17"/>
                <a:gd name="T2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7" h="25">
                  <a:moveTo>
                    <a:pt x="10" y="25"/>
                  </a:moveTo>
                  <a:lnTo>
                    <a:pt x="7" y="13"/>
                  </a:lnTo>
                  <a:lnTo>
                    <a:pt x="17" y="10"/>
                  </a:lnTo>
                  <a:lnTo>
                    <a:pt x="15" y="5"/>
                  </a:lnTo>
                  <a:lnTo>
                    <a:pt x="12" y="3"/>
                  </a:lnTo>
                  <a:lnTo>
                    <a:pt x="7" y="3"/>
                  </a:lnTo>
                  <a:lnTo>
                    <a:pt x="2" y="0"/>
                  </a:lnTo>
                  <a:lnTo>
                    <a:pt x="0" y="10"/>
                  </a:lnTo>
                  <a:lnTo>
                    <a:pt x="0" y="25"/>
                  </a:lnTo>
                  <a:lnTo>
                    <a:pt x="5" y="25"/>
                  </a:lnTo>
                  <a:lnTo>
                    <a:pt x="7" y="25"/>
                  </a:lnTo>
                  <a:lnTo>
                    <a:pt x="10" y="25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7" name="Freeform 319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48 w 65"/>
                <a:gd name="T83" fmla="*/ 44 h 62"/>
                <a:gd name="T84" fmla="*/ 50 w 65"/>
                <a:gd name="T85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48" y="44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8" name="Freeform 320"/>
            <p:cNvSpPr>
              <a:spLocks/>
            </p:cNvSpPr>
            <p:nvPr/>
          </p:nvSpPr>
          <p:spPr bwMode="auto">
            <a:xfrm>
              <a:off x="4633089" y="2974836"/>
              <a:ext cx="93551" cy="89233"/>
            </a:xfrm>
            <a:custGeom>
              <a:avLst/>
              <a:gdLst>
                <a:gd name="T0" fmla="*/ 50 w 65"/>
                <a:gd name="T1" fmla="*/ 44 h 62"/>
                <a:gd name="T2" fmla="*/ 58 w 65"/>
                <a:gd name="T3" fmla="*/ 39 h 62"/>
                <a:gd name="T4" fmla="*/ 65 w 65"/>
                <a:gd name="T5" fmla="*/ 39 h 62"/>
                <a:gd name="T6" fmla="*/ 65 w 65"/>
                <a:gd name="T7" fmla="*/ 37 h 62"/>
                <a:gd name="T8" fmla="*/ 63 w 65"/>
                <a:gd name="T9" fmla="*/ 29 h 62"/>
                <a:gd name="T10" fmla="*/ 63 w 65"/>
                <a:gd name="T11" fmla="*/ 19 h 62"/>
                <a:gd name="T12" fmla="*/ 63 w 65"/>
                <a:gd name="T13" fmla="*/ 17 h 62"/>
                <a:gd name="T14" fmla="*/ 60 w 65"/>
                <a:gd name="T15" fmla="*/ 12 h 62"/>
                <a:gd name="T16" fmla="*/ 60 w 65"/>
                <a:gd name="T17" fmla="*/ 10 h 62"/>
                <a:gd name="T18" fmla="*/ 55 w 65"/>
                <a:gd name="T19" fmla="*/ 7 h 62"/>
                <a:gd name="T20" fmla="*/ 50 w 65"/>
                <a:gd name="T21" fmla="*/ 7 h 62"/>
                <a:gd name="T22" fmla="*/ 45 w 65"/>
                <a:gd name="T23" fmla="*/ 2 h 62"/>
                <a:gd name="T24" fmla="*/ 38 w 65"/>
                <a:gd name="T25" fmla="*/ 2 h 62"/>
                <a:gd name="T26" fmla="*/ 30 w 65"/>
                <a:gd name="T27" fmla="*/ 0 h 62"/>
                <a:gd name="T28" fmla="*/ 20 w 65"/>
                <a:gd name="T29" fmla="*/ 0 h 62"/>
                <a:gd name="T30" fmla="*/ 18 w 65"/>
                <a:gd name="T31" fmla="*/ 2 h 62"/>
                <a:gd name="T32" fmla="*/ 10 w 65"/>
                <a:gd name="T33" fmla="*/ 7 h 62"/>
                <a:gd name="T34" fmla="*/ 8 w 65"/>
                <a:gd name="T35" fmla="*/ 7 h 62"/>
                <a:gd name="T36" fmla="*/ 5 w 65"/>
                <a:gd name="T37" fmla="*/ 5 h 62"/>
                <a:gd name="T38" fmla="*/ 5 w 65"/>
                <a:gd name="T39" fmla="*/ 2 h 62"/>
                <a:gd name="T40" fmla="*/ 3 w 65"/>
                <a:gd name="T41" fmla="*/ 2 h 62"/>
                <a:gd name="T42" fmla="*/ 0 w 65"/>
                <a:gd name="T43" fmla="*/ 5 h 62"/>
                <a:gd name="T44" fmla="*/ 5 w 65"/>
                <a:gd name="T45" fmla="*/ 15 h 62"/>
                <a:gd name="T46" fmla="*/ 10 w 65"/>
                <a:gd name="T47" fmla="*/ 17 h 62"/>
                <a:gd name="T48" fmla="*/ 10 w 65"/>
                <a:gd name="T49" fmla="*/ 22 h 62"/>
                <a:gd name="T50" fmla="*/ 10 w 65"/>
                <a:gd name="T51" fmla="*/ 24 h 62"/>
                <a:gd name="T52" fmla="*/ 15 w 65"/>
                <a:gd name="T53" fmla="*/ 27 h 62"/>
                <a:gd name="T54" fmla="*/ 23 w 65"/>
                <a:gd name="T55" fmla="*/ 34 h 62"/>
                <a:gd name="T56" fmla="*/ 28 w 65"/>
                <a:gd name="T57" fmla="*/ 37 h 62"/>
                <a:gd name="T58" fmla="*/ 30 w 65"/>
                <a:gd name="T59" fmla="*/ 39 h 62"/>
                <a:gd name="T60" fmla="*/ 30 w 65"/>
                <a:gd name="T61" fmla="*/ 44 h 62"/>
                <a:gd name="T62" fmla="*/ 33 w 65"/>
                <a:gd name="T63" fmla="*/ 47 h 62"/>
                <a:gd name="T64" fmla="*/ 35 w 65"/>
                <a:gd name="T65" fmla="*/ 49 h 62"/>
                <a:gd name="T66" fmla="*/ 38 w 65"/>
                <a:gd name="T67" fmla="*/ 54 h 62"/>
                <a:gd name="T68" fmla="*/ 38 w 65"/>
                <a:gd name="T69" fmla="*/ 57 h 62"/>
                <a:gd name="T70" fmla="*/ 40 w 65"/>
                <a:gd name="T71" fmla="*/ 57 h 62"/>
                <a:gd name="T72" fmla="*/ 43 w 65"/>
                <a:gd name="T73" fmla="*/ 57 h 62"/>
                <a:gd name="T74" fmla="*/ 45 w 65"/>
                <a:gd name="T75" fmla="*/ 57 h 62"/>
                <a:gd name="T76" fmla="*/ 48 w 65"/>
                <a:gd name="T77" fmla="*/ 62 h 62"/>
                <a:gd name="T78" fmla="*/ 48 w 65"/>
                <a:gd name="T79" fmla="*/ 54 h 62"/>
                <a:gd name="T80" fmla="*/ 48 w 65"/>
                <a:gd name="T81" fmla="*/ 49 h 62"/>
                <a:gd name="T82" fmla="*/ 50 w 65"/>
                <a:gd name="T83" fmla="*/ 44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65" h="62">
                  <a:moveTo>
                    <a:pt x="50" y="44"/>
                  </a:moveTo>
                  <a:lnTo>
                    <a:pt x="58" y="39"/>
                  </a:lnTo>
                  <a:lnTo>
                    <a:pt x="65" y="39"/>
                  </a:lnTo>
                  <a:lnTo>
                    <a:pt x="65" y="37"/>
                  </a:lnTo>
                  <a:lnTo>
                    <a:pt x="63" y="29"/>
                  </a:lnTo>
                  <a:lnTo>
                    <a:pt x="63" y="19"/>
                  </a:lnTo>
                  <a:lnTo>
                    <a:pt x="63" y="17"/>
                  </a:lnTo>
                  <a:lnTo>
                    <a:pt x="60" y="12"/>
                  </a:lnTo>
                  <a:lnTo>
                    <a:pt x="60" y="10"/>
                  </a:lnTo>
                  <a:lnTo>
                    <a:pt x="55" y="7"/>
                  </a:lnTo>
                  <a:lnTo>
                    <a:pt x="50" y="7"/>
                  </a:lnTo>
                  <a:lnTo>
                    <a:pt x="45" y="2"/>
                  </a:lnTo>
                  <a:lnTo>
                    <a:pt x="38" y="2"/>
                  </a:lnTo>
                  <a:lnTo>
                    <a:pt x="30" y="0"/>
                  </a:lnTo>
                  <a:lnTo>
                    <a:pt x="20" y="0"/>
                  </a:lnTo>
                  <a:lnTo>
                    <a:pt x="18" y="2"/>
                  </a:lnTo>
                  <a:lnTo>
                    <a:pt x="10" y="7"/>
                  </a:lnTo>
                  <a:lnTo>
                    <a:pt x="8" y="7"/>
                  </a:lnTo>
                  <a:lnTo>
                    <a:pt x="5" y="5"/>
                  </a:lnTo>
                  <a:lnTo>
                    <a:pt x="5" y="2"/>
                  </a:lnTo>
                  <a:lnTo>
                    <a:pt x="3" y="2"/>
                  </a:lnTo>
                  <a:lnTo>
                    <a:pt x="0" y="5"/>
                  </a:lnTo>
                  <a:lnTo>
                    <a:pt x="5" y="15"/>
                  </a:lnTo>
                  <a:lnTo>
                    <a:pt x="10" y="17"/>
                  </a:lnTo>
                  <a:lnTo>
                    <a:pt x="10" y="22"/>
                  </a:lnTo>
                  <a:lnTo>
                    <a:pt x="10" y="24"/>
                  </a:lnTo>
                  <a:lnTo>
                    <a:pt x="15" y="27"/>
                  </a:lnTo>
                  <a:lnTo>
                    <a:pt x="23" y="34"/>
                  </a:lnTo>
                  <a:lnTo>
                    <a:pt x="28" y="37"/>
                  </a:lnTo>
                  <a:lnTo>
                    <a:pt x="30" y="39"/>
                  </a:lnTo>
                  <a:lnTo>
                    <a:pt x="30" y="44"/>
                  </a:lnTo>
                  <a:lnTo>
                    <a:pt x="33" y="47"/>
                  </a:lnTo>
                  <a:lnTo>
                    <a:pt x="35" y="49"/>
                  </a:lnTo>
                  <a:lnTo>
                    <a:pt x="38" y="54"/>
                  </a:lnTo>
                  <a:lnTo>
                    <a:pt x="38" y="57"/>
                  </a:lnTo>
                  <a:lnTo>
                    <a:pt x="40" y="57"/>
                  </a:lnTo>
                  <a:lnTo>
                    <a:pt x="43" y="57"/>
                  </a:lnTo>
                  <a:lnTo>
                    <a:pt x="45" y="57"/>
                  </a:lnTo>
                  <a:lnTo>
                    <a:pt x="48" y="62"/>
                  </a:lnTo>
                  <a:lnTo>
                    <a:pt x="48" y="54"/>
                  </a:lnTo>
                  <a:lnTo>
                    <a:pt x="48" y="49"/>
                  </a:lnTo>
                  <a:lnTo>
                    <a:pt x="50" y="4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99" name="Freeform 321"/>
            <p:cNvSpPr>
              <a:spLocks/>
            </p:cNvSpPr>
            <p:nvPr/>
          </p:nvSpPr>
          <p:spPr bwMode="auto">
            <a:xfrm>
              <a:off x="4579838" y="2934537"/>
              <a:ext cx="143924" cy="151120"/>
            </a:xfrm>
            <a:custGeom>
              <a:avLst/>
              <a:gdLst>
                <a:gd name="T0" fmla="*/ 85 w 100"/>
                <a:gd name="T1" fmla="*/ 90 h 105"/>
                <a:gd name="T2" fmla="*/ 82 w 100"/>
                <a:gd name="T3" fmla="*/ 85 h 105"/>
                <a:gd name="T4" fmla="*/ 80 w 100"/>
                <a:gd name="T5" fmla="*/ 85 h 105"/>
                <a:gd name="T6" fmla="*/ 77 w 100"/>
                <a:gd name="T7" fmla="*/ 85 h 105"/>
                <a:gd name="T8" fmla="*/ 75 w 100"/>
                <a:gd name="T9" fmla="*/ 85 h 105"/>
                <a:gd name="T10" fmla="*/ 75 w 100"/>
                <a:gd name="T11" fmla="*/ 82 h 105"/>
                <a:gd name="T12" fmla="*/ 72 w 100"/>
                <a:gd name="T13" fmla="*/ 77 h 105"/>
                <a:gd name="T14" fmla="*/ 70 w 100"/>
                <a:gd name="T15" fmla="*/ 75 h 105"/>
                <a:gd name="T16" fmla="*/ 67 w 100"/>
                <a:gd name="T17" fmla="*/ 72 h 105"/>
                <a:gd name="T18" fmla="*/ 67 w 100"/>
                <a:gd name="T19" fmla="*/ 67 h 105"/>
                <a:gd name="T20" fmla="*/ 65 w 100"/>
                <a:gd name="T21" fmla="*/ 65 h 105"/>
                <a:gd name="T22" fmla="*/ 60 w 100"/>
                <a:gd name="T23" fmla="*/ 62 h 105"/>
                <a:gd name="T24" fmla="*/ 52 w 100"/>
                <a:gd name="T25" fmla="*/ 55 h 105"/>
                <a:gd name="T26" fmla="*/ 47 w 100"/>
                <a:gd name="T27" fmla="*/ 52 h 105"/>
                <a:gd name="T28" fmla="*/ 47 w 100"/>
                <a:gd name="T29" fmla="*/ 50 h 105"/>
                <a:gd name="T30" fmla="*/ 47 w 100"/>
                <a:gd name="T31" fmla="*/ 45 h 105"/>
                <a:gd name="T32" fmla="*/ 42 w 100"/>
                <a:gd name="T33" fmla="*/ 43 h 105"/>
                <a:gd name="T34" fmla="*/ 37 w 100"/>
                <a:gd name="T35" fmla="*/ 33 h 105"/>
                <a:gd name="T36" fmla="*/ 40 w 100"/>
                <a:gd name="T37" fmla="*/ 30 h 105"/>
                <a:gd name="T38" fmla="*/ 42 w 100"/>
                <a:gd name="T39" fmla="*/ 30 h 105"/>
                <a:gd name="T40" fmla="*/ 42 w 100"/>
                <a:gd name="T41" fmla="*/ 33 h 105"/>
                <a:gd name="T42" fmla="*/ 45 w 100"/>
                <a:gd name="T43" fmla="*/ 35 h 105"/>
                <a:gd name="T44" fmla="*/ 47 w 100"/>
                <a:gd name="T45" fmla="*/ 35 h 105"/>
                <a:gd name="T46" fmla="*/ 55 w 100"/>
                <a:gd name="T47" fmla="*/ 30 h 105"/>
                <a:gd name="T48" fmla="*/ 57 w 100"/>
                <a:gd name="T49" fmla="*/ 28 h 105"/>
                <a:gd name="T50" fmla="*/ 67 w 100"/>
                <a:gd name="T51" fmla="*/ 28 h 105"/>
                <a:gd name="T52" fmla="*/ 75 w 100"/>
                <a:gd name="T53" fmla="*/ 30 h 105"/>
                <a:gd name="T54" fmla="*/ 82 w 100"/>
                <a:gd name="T55" fmla="*/ 30 h 105"/>
                <a:gd name="T56" fmla="*/ 87 w 100"/>
                <a:gd name="T57" fmla="*/ 35 h 105"/>
                <a:gd name="T58" fmla="*/ 92 w 100"/>
                <a:gd name="T59" fmla="*/ 35 h 105"/>
                <a:gd name="T60" fmla="*/ 95 w 100"/>
                <a:gd name="T61" fmla="*/ 38 h 105"/>
                <a:gd name="T62" fmla="*/ 97 w 100"/>
                <a:gd name="T63" fmla="*/ 40 h 105"/>
                <a:gd name="T64" fmla="*/ 97 w 100"/>
                <a:gd name="T65" fmla="*/ 38 h 105"/>
                <a:gd name="T66" fmla="*/ 97 w 100"/>
                <a:gd name="T67" fmla="*/ 33 h 105"/>
                <a:gd name="T68" fmla="*/ 95 w 100"/>
                <a:gd name="T69" fmla="*/ 30 h 105"/>
                <a:gd name="T70" fmla="*/ 100 w 100"/>
                <a:gd name="T71" fmla="*/ 28 h 105"/>
                <a:gd name="T72" fmla="*/ 100 w 100"/>
                <a:gd name="T73" fmla="*/ 25 h 105"/>
                <a:gd name="T74" fmla="*/ 97 w 100"/>
                <a:gd name="T75" fmla="*/ 25 h 105"/>
                <a:gd name="T76" fmla="*/ 95 w 100"/>
                <a:gd name="T77" fmla="*/ 23 h 105"/>
                <a:gd name="T78" fmla="*/ 95 w 100"/>
                <a:gd name="T79" fmla="*/ 20 h 105"/>
                <a:gd name="T80" fmla="*/ 95 w 100"/>
                <a:gd name="T81" fmla="*/ 15 h 105"/>
                <a:gd name="T82" fmla="*/ 92 w 100"/>
                <a:gd name="T83" fmla="*/ 18 h 105"/>
                <a:gd name="T84" fmla="*/ 72 w 100"/>
                <a:gd name="T85" fmla="*/ 13 h 105"/>
                <a:gd name="T86" fmla="*/ 52 w 100"/>
                <a:gd name="T87" fmla="*/ 3 h 105"/>
                <a:gd name="T88" fmla="*/ 45 w 100"/>
                <a:gd name="T89" fmla="*/ 0 h 105"/>
                <a:gd name="T90" fmla="*/ 27 w 100"/>
                <a:gd name="T91" fmla="*/ 8 h 105"/>
                <a:gd name="T92" fmla="*/ 0 w 100"/>
                <a:gd name="T93" fmla="*/ 0 h 105"/>
                <a:gd name="T94" fmla="*/ 3 w 100"/>
                <a:gd name="T95" fmla="*/ 15 h 105"/>
                <a:gd name="T96" fmla="*/ 15 w 100"/>
                <a:gd name="T97" fmla="*/ 23 h 105"/>
                <a:gd name="T98" fmla="*/ 20 w 100"/>
                <a:gd name="T99" fmla="*/ 28 h 105"/>
                <a:gd name="T100" fmla="*/ 25 w 100"/>
                <a:gd name="T101" fmla="*/ 47 h 105"/>
                <a:gd name="T102" fmla="*/ 40 w 100"/>
                <a:gd name="T103" fmla="*/ 57 h 105"/>
                <a:gd name="T104" fmla="*/ 40 w 100"/>
                <a:gd name="T105" fmla="*/ 70 h 105"/>
                <a:gd name="T106" fmla="*/ 60 w 100"/>
                <a:gd name="T107" fmla="*/ 77 h 105"/>
                <a:gd name="T108" fmla="*/ 72 w 100"/>
                <a:gd name="T109" fmla="*/ 85 h 105"/>
                <a:gd name="T110" fmla="*/ 82 w 100"/>
                <a:gd name="T111" fmla="*/ 100 h 105"/>
                <a:gd name="T112" fmla="*/ 87 w 100"/>
                <a:gd name="T113" fmla="*/ 105 h 105"/>
                <a:gd name="T114" fmla="*/ 90 w 100"/>
                <a:gd name="T115" fmla="*/ 102 h 105"/>
                <a:gd name="T116" fmla="*/ 85 w 100"/>
                <a:gd name="T117" fmla="*/ 9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0" h="105">
                  <a:moveTo>
                    <a:pt x="85" y="90"/>
                  </a:moveTo>
                  <a:lnTo>
                    <a:pt x="82" y="85"/>
                  </a:lnTo>
                  <a:lnTo>
                    <a:pt x="80" y="85"/>
                  </a:lnTo>
                  <a:lnTo>
                    <a:pt x="77" y="85"/>
                  </a:lnTo>
                  <a:lnTo>
                    <a:pt x="75" y="85"/>
                  </a:lnTo>
                  <a:lnTo>
                    <a:pt x="75" y="82"/>
                  </a:lnTo>
                  <a:lnTo>
                    <a:pt x="72" y="77"/>
                  </a:lnTo>
                  <a:lnTo>
                    <a:pt x="70" y="75"/>
                  </a:lnTo>
                  <a:lnTo>
                    <a:pt x="67" y="72"/>
                  </a:lnTo>
                  <a:lnTo>
                    <a:pt x="67" y="67"/>
                  </a:lnTo>
                  <a:lnTo>
                    <a:pt x="65" y="65"/>
                  </a:lnTo>
                  <a:lnTo>
                    <a:pt x="60" y="62"/>
                  </a:lnTo>
                  <a:lnTo>
                    <a:pt x="52" y="55"/>
                  </a:lnTo>
                  <a:lnTo>
                    <a:pt x="47" y="52"/>
                  </a:lnTo>
                  <a:lnTo>
                    <a:pt x="47" y="50"/>
                  </a:lnTo>
                  <a:lnTo>
                    <a:pt x="47" y="45"/>
                  </a:lnTo>
                  <a:lnTo>
                    <a:pt x="42" y="43"/>
                  </a:lnTo>
                  <a:lnTo>
                    <a:pt x="37" y="33"/>
                  </a:lnTo>
                  <a:lnTo>
                    <a:pt x="40" y="30"/>
                  </a:lnTo>
                  <a:lnTo>
                    <a:pt x="42" y="30"/>
                  </a:lnTo>
                  <a:lnTo>
                    <a:pt x="42" y="33"/>
                  </a:lnTo>
                  <a:lnTo>
                    <a:pt x="45" y="35"/>
                  </a:lnTo>
                  <a:lnTo>
                    <a:pt x="47" y="35"/>
                  </a:lnTo>
                  <a:lnTo>
                    <a:pt x="55" y="30"/>
                  </a:lnTo>
                  <a:lnTo>
                    <a:pt x="57" y="28"/>
                  </a:lnTo>
                  <a:lnTo>
                    <a:pt x="67" y="28"/>
                  </a:lnTo>
                  <a:lnTo>
                    <a:pt x="75" y="30"/>
                  </a:lnTo>
                  <a:lnTo>
                    <a:pt x="82" y="30"/>
                  </a:lnTo>
                  <a:lnTo>
                    <a:pt x="87" y="35"/>
                  </a:lnTo>
                  <a:lnTo>
                    <a:pt x="92" y="35"/>
                  </a:lnTo>
                  <a:lnTo>
                    <a:pt x="95" y="38"/>
                  </a:lnTo>
                  <a:lnTo>
                    <a:pt x="97" y="40"/>
                  </a:lnTo>
                  <a:lnTo>
                    <a:pt x="97" y="38"/>
                  </a:lnTo>
                  <a:lnTo>
                    <a:pt x="97" y="33"/>
                  </a:lnTo>
                  <a:lnTo>
                    <a:pt x="95" y="30"/>
                  </a:lnTo>
                  <a:lnTo>
                    <a:pt x="100" y="28"/>
                  </a:lnTo>
                  <a:lnTo>
                    <a:pt x="100" y="25"/>
                  </a:lnTo>
                  <a:lnTo>
                    <a:pt x="97" y="25"/>
                  </a:lnTo>
                  <a:lnTo>
                    <a:pt x="95" y="23"/>
                  </a:lnTo>
                  <a:lnTo>
                    <a:pt x="95" y="20"/>
                  </a:lnTo>
                  <a:lnTo>
                    <a:pt x="95" y="15"/>
                  </a:lnTo>
                  <a:lnTo>
                    <a:pt x="92" y="18"/>
                  </a:lnTo>
                  <a:lnTo>
                    <a:pt x="72" y="13"/>
                  </a:lnTo>
                  <a:lnTo>
                    <a:pt x="52" y="3"/>
                  </a:lnTo>
                  <a:lnTo>
                    <a:pt x="45" y="0"/>
                  </a:lnTo>
                  <a:lnTo>
                    <a:pt x="27" y="8"/>
                  </a:lnTo>
                  <a:lnTo>
                    <a:pt x="0" y="0"/>
                  </a:lnTo>
                  <a:lnTo>
                    <a:pt x="3" y="15"/>
                  </a:lnTo>
                  <a:lnTo>
                    <a:pt x="15" y="23"/>
                  </a:lnTo>
                  <a:lnTo>
                    <a:pt x="20" y="28"/>
                  </a:lnTo>
                  <a:lnTo>
                    <a:pt x="25" y="47"/>
                  </a:lnTo>
                  <a:lnTo>
                    <a:pt x="40" y="57"/>
                  </a:lnTo>
                  <a:lnTo>
                    <a:pt x="40" y="70"/>
                  </a:lnTo>
                  <a:lnTo>
                    <a:pt x="60" y="77"/>
                  </a:lnTo>
                  <a:lnTo>
                    <a:pt x="72" y="85"/>
                  </a:lnTo>
                  <a:lnTo>
                    <a:pt x="82" y="100"/>
                  </a:lnTo>
                  <a:lnTo>
                    <a:pt x="87" y="105"/>
                  </a:lnTo>
                  <a:lnTo>
                    <a:pt x="90" y="102"/>
                  </a:lnTo>
                  <a:lnTo>
                    <a:pt x="85" y="90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0" name="Freeform 322"/>
            <p:cNvSpPr>
              <a:spLocks/>
            </p:cNvSpPr>
            <p:nvPr/>
          </p:nvSpPr>
          <p:spPr bwMode="auto">
            <a:xfrm>
              <a:off x="4702173" y="3030966"/>
              <a:ext cx="53252" cy="64765"/>
            </a:xfrm>
            <a:custGeom>
              <a:avLst/>
              <a:gdLst>
                <a:gd name="T0" fmla="*/ 37 w 37"/>
                <a:gd name="T1" fmla="*/ 18 h 45"/>
                <a:gd name="T2" fmla="*/ 37 w 37"/>
                <a:gd name="T3" fmla="*/ 15 h 45"/>
                <a:gd name="T4" fmla="*/ 29 w 37"/>
                <a:gd name="T5" fmla="*/ 15 h 45"/>
                <a:gd name="T6" fmla="*/ 22 w 37"/>
                <a:gd name="T7" fmla="*/ 10 h 45"/>
                <a:gd name="T8" fmla="*/ 15 w 37"/>
                <a:gd name="T9" fmla="*/ 5 h 45"/>
                <a:gd name="T10" fmla="*/ 10 w 37"/>
                <a:gd name="T11" fmla="*/ 0 h 45"/>
                <a:gd name="T12" fmla="*/ 2 w 37"/>
                <a:gd name="T13" fmla="*/ 5 h 45"/>
                <a:gd name="T14" fmla="*/ 0 w 37"/>
                <a:gd name="T15" fmla="*/ 10 h 45"/>
                <a:gd name="T16" fmla="*/ 0 w 37"/>
                <a:gd name="T17" fmla="*/ 15 h 45"/>
                <a:gd name="T18" fmla="*/ 0 w 37"/>
                <a:gd name="T19" fmla="*/ 23 h 45"/>
                <a:gd name="T20" fmla="*/ 5 w 37"/>
                <a:gd name="T21" fmla="*/ 35 h 45"/>
                <a:gd name="T22" fmla="*/ 2 w 37"/>
                <a:gd name="T23" fmla="*/ 38 h 45"/>
                <a:gd name="T24" fmla="*/ 12 w 37"/>
                <a:gd name="T25" fmla="*/ 43 h 45"/>
                <a:gd name="T26" fmla="*/ 17 w 37"/>
                <a:gd name="T27" fmla="*/ 45 h 45"/>
                <a:gd name="T28" fmla="*/ 17 w 37"/>
                <a:gd name="T29" fmla="*/ 30 h 45"/>
                <a:gd name="T30" fmla="*/ 19 w 37"/>
                <a:gd name="T31" fmla="*/ 20 h 45"/>
                <a:gd name="T32" fmla="*/ 24 w 37"/>
                <a:gd name="T33" fmla="*/ 23 h 45"/>
                <a:gd name="T34" fmla="*/ 29 w 37"/>
                <a:gd name="T35" fmla="*/ 23 h 45"/>
                <a:gd name="T36" fmla="*/ 32 w 37"/>
                <a:gd name="T37" fmla="*/ 25 h 45"/>
                <a:gd name="T38" fmla="*/ 34 w 37"/>
                <a:gd name="T39" fmla="*/ 20 h 45"/>
                <a:gd name="T40" fmla="*/ 34 w 37"/>
                <a:gd name="T41" fmla="*/ 18 h 45"/>
                <a:gd name="T42" fmla="*/ 37 w 37"/>
                <a:gd name="T43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37" h="45">
                  <a:moveTo>
                    <a:pt x="37" y="18"/>
                  </a:moveTo>
                  <a:lnTo>
                    <a:pt x="37" y="15"/>
                  </a:lnTo>
                  <a:lnTo>
                    <a:pt x="29" y="15"/>
                  </a:lnTo>
                  <a:lnTo>
                    <a:pt x="22" y="10"/>
                  </a:lnTo>
                  <a:lnTo>
                    <a:pt x="15" y="5"/>
                  </a:lnTo>
                  <a:lnTo>
                    <a:pt x="10" y="0"/>
                  </a:lnTo>
                  <a:lnTo>
                    <a:pt x="2" y="5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0" y="23"/>
                  </a:lnTo>
                  <a:lnTo>
                    <a:pt x="5" y="35"/>
                  </a:lnTo>
                  <a:lnTo>
                    <a:pt x="2" y="38"/>
                  </a:lnTo>
                  <a:lnTo>
                    <a:pt x="12" y="43"/>
                  </a:lnTo>
                  <a:lnTo>
                    <a:pt x="17" y="45"/>
                  </a:lnTo>
                  <a:lnTo>
                    <a:pt x="17" y="30"/>
                  </a:lnTo>
                  <a:lnTo>
                    <a:pt x="19" y="20"/>
                  </a:lnTo>
                  <a:lnTo>
                    <a:pt x="24" y="23"/>
                  </a:lnTo>
                  <a:lnTo>
                    <a:pt x="29" y="23"/>
                  </a:lnTo>
                  <a:lnTo>
                    <a:pt x="32" y="25"/>
                  </a:lnTo>
                  <a:lnTo>
                    <a:pt x="34" y="20"/>
                  </a:lnTo>
                  <a:lnTo>
                    <a:pt x="34" y="18"/>
                  </a:lnTo>
                  <a:lnTo>
                    <a:pt x="37" y="18"/>
                  </a:lnTo>
                  <a:close/>
                </a:path>
              </a:pathLst>
            </a:custGeom>
            <a:grpFill/>
            <a:ln w="9525">
              <a:solidFill>
                <a:srgbClr val="AEC9E8"/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01" name="Freeform 324"/>
            <p:cNvSpPr>
              <a:spLocks/>
            </p:cNvSpPr>
            <p:nvPr/>
          </p:nvSpPr>
          <p:spPr bwMode="auto">
            <a:xfrm>
              <a:off x="4716565" y="2946051"/>
              <a:ext cx="103625" cy="128092"/>
            </a:xfrm>
            <a:custGeom>
              <a:avLst/>
              <a:gdLst>
                <a:gd name="T0" fmla="*/ 52 w 72"/>
                <a:gd name="T1" fmla="*/ 84 h 89"/>
                <a:gd name="T2" fmla="*/ 57 w 72"/>
                <a:gd name="T3" fmla="*/ 84 h 89"/>
                <a:gd name="T4" fmla="*/ 64 w 72"/>
                <a:gd name="T5" fmla="*/ 87 h 89"/>
                <a:gd name="T6" fmla="*/ 67 w 72"/>
                <a:gd name="T7" fmla="*/ 89 h 89"/>
                <a:gd name="T8" fmla="*/ 67 w 72"/>
                <a:gd name="T9" fmla="*/ 87 h 89"/>
                <a:gd name="T10" fmla="*/ 57 w 72"/>
                <a:gd name="T11" fmla="*/ 69 h 89"/>
                <a:gd name="T12" fmla="*/ 57 w 72"/>
                <a:gd name="T13" fmla="*/ 59 h 89"/>
                <a:gd name="T14" fmla="*/ 72 w 72"/>
                <a:gd name="T15" fmla="*/ 47 h 89"/>
                <a:gd name="T16" fmla="*/ 62 w 72"/>
                <a:gd name="T17" fmla="*/ 39 h 89"/>
                <a:gd name="T18" fmla="*/ 44 w 72"/>
                <a:gd name="T19" fmla="*/ 30 h 89"/>
                <a:gd name="T20" fmla="*/ 27 w 72"/>
                <a:gd name="T21" fmla="*/ 17 h 89"/>
                <a:gd name="T22" fmla="*/ 22 w 72"/>
                <a:gd name="T23" fmla="*/ 2 h 89"/>
                <a:gd name="T24" fmla="*/ 7 w 72"/>
                <a:gd name="T25" fmla="*/ 0 h 89"/>
                <a:gd name="T26" fmla="*/ 0 w 72"/>
                <a:gd name="T27" fmla="*/ 7 h 89"/>
                <a:gd name="T28" fmla="*/ 0 w 72"/>
                <a:gd name="T29" fmla="*/ 12 h 89"/>
                <a:gd name="T30" fmla="*/ 0 w 72"/>
                <a:gd name="T31" fmla="*/ 15 h 89"/>
                <a:gd name="T32" fmla="*/ 2 w 72"/>
                <a:gd name="T33" fmla="*/ 17 h 89"/>
                <a:gd name="T34" fmla="*/ 5 w 72"/>
                <a:gd name="T35" fmla="*/ 17 h 89"/>
                <a:gd name="T36" fmla="*/ 5 w 72"/>
                <a:gd name="T37" fmla="*/ 20 h 89"/>
                <a:gd name="T38" fmla="*/ 0 w 72"/>
                <a:gd name="T39" fmla="*/ 22 h 89"/>
                <a:gd name="T40" fmla="*/ 2 w 72"/>
                <a:gd name="T41" fmla="*/ 25 h 89"/>
                <a:gd name="T42" fmla="*/ 2 w 72"/>
                <a:gd name="T43" fmla="*/ 30 h 89"/>
                <a:gd name="T44" fmla="*/ 2 w 72"/>
                <a:gd name="T45" fmla="*/ 32 h 89"/>
                <a:gd name="T46" fmla="*/ 5 w 72"/>
                <a:gd name="T47" fmla="*/ 37 h 89"/>
                <a:gd name="T48" fmla="*/ 5 w 72"/>
                <a:gd name="T49" fmla="*/ 39 h 89"/>
                <a:gd name="T50" fmla="*/ 5 w 72"/>
                <a:gd name="T51" fmla="*/ 49 h 89"/>
                <a:gd name="T52" fmla="*/ 7 w 72"/>
                <a:gd name="T53" fmla="*/ 57 h 89"/>
                <a:gd name="T54" fmla="*/ 7 w 72"/>
                <a:gd name="T55" fmla="*/ 59 h 89"/>
                <a:gd name="T56" fmla="*/ 0 w 72"/>
                <a:gd name="T57" fmla="*/ 59 h 89"/>
                <a:gd name="T58" fmla="*/ 5 w 72"/>
                <a:gd name="T59" fmla="*/ 64 h 89"/>
                <a:gd name="T60" fmla="*/ 12 w 72"/>
                <a:gd name="T61" fmla="*/ 69 h 89"/>
                <a:gd name="T62" fmla="*/ 19 w 72"/>
                <a:gd name="T63" fmla="*/ 74 h 89"/>
                <a:gd name="T64" fmla="*/ 27 w 72"/>
                <a:gd name="T65" fmla="*/ 74 h 89"/>
                <a:gd name="T66" fmla="*/ 27 w 72"/>
                <a:gd name="T67" fmla="*/ 77 h 89"/>
                <a:gd name="T68" fmla="*/ 37 w 72"/>
                <a:gd name="T69" fmla="*/ 72 h 89"/>
                <a:gd name="T70" fmla="*/ 39 w 72"/>
                <a:gd name="T71" fmla="*/ 72 h 89"/>
                <a:gd name="T72" fmla="*/ 42 w 72"/>
                <a:gd name="T73" fmla="*/ 74 h 89"/>
                <a:gd name="T74" fmla="*/ 47 w 72"/>
                <a:gd name="T75" fmla="*/ 79 h 89"/>
                <a:gd name="T76" fmla="*/ 52 w 72"/>
                <a:gd name="T77" fmla="*/ 84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72" h="89">
                  <a:moveTo>
                    <a:pt x="52" y="84"/>
                  </a:moveTo>
                  <a:lnTo>
                    <a:pt x="57" y="84"/>
                  </a:lnTo>
                  <a:lnTo>
                    <a:pt x="64" y="87"/>
                  </a:lnTo>
                  <a:lnTo>
                    <a:pt x="67" y="89"/>
                  </a:lnTo>
                  <a:lnTo>
                    <a:pt x="67" y="87"/>
                  </a:lnTo>
                  <a:lnTo>
                    <a:pt x="57" y="69"/>
                  </a:lnTo>
                  <a:lnTo>
                    <a:pt x="57" y="59"/>
                  </a:lnTo>
                  <a:lnTo>
                    <a:pt x="72" y="47"/>
                  </a:lnTo>
                  <a:lnTo>
                    <a:pt x="62" y="39"/>
                  </a:lnTo>
                  <a:lnTo>
                    <a:pt x="44" y="30"/>
                  </a:lnTo>
                  <a:lnTo>
                    <a:pt x="27" y="17"/>
                  </a:lnTo>
                  <a:lnTo>
                    <a:pt x="22" y="2"/>
                  </a:lnTo>
                  <a:lnTo>
                    <a:pt x="7" y="0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20"/>
                  </a:lnTo>
                  <a:lnTo>
                    <a:pt x="0" y="22"/>
                  </a:lnTo>
                  <a:lnTo>
                    <a:pt x="2" y="25"/>
                  </a:lnTo>
                  <a:lnTo>
                    <a:pt x="2" y="30"/>
                  </a:lnTo>
                  <a:lnTo>
                    <a:pt x="2" y="32"/>
                  </a:lnTo>
                  <a:lnTo>
                    <a:pt x="5" y="37"/>
                  </a:lnTo>
                  <a:lnTo>
                    <a:pt x="5" y="39"/>
                  </a:lnTo>
                  <a:lnTo>
                    <a:pt x="5" y="49"/>
                  </a:lnTo>
                  <a:lnTo>
                    <a:pt x="7" y="57"/>
                  </a:lnTo>
                  <a:lnTo>
                    <a:pt x="7" y="59"/>
                  </a:lnTo>
                  <a:lnTo>
                    <a:pt x="0" y="59"/>
                  </a:lnTo>
                  <a:lnTo>
                    <a:pt x="5" y="64"/>
                  </a:lnTo>
                  <a:lnTo>
                    <a:pt x="12" y="69"/>
                  </a:lnTo>
                  <a:lnTo>
                    <a:pt x="19" y="74"/>
                  </a:lnTo>
                  <a:lnTo>
                    <a:pt x="27" y="74"/>
                  </a:lnTo>
                  <a:lnTo>
                    <a:pt x="27" y="77"/>
                  </a:lnTo>
                  <a:lnTo>
                    <a:pt x="37" y="72"/>
                  </a:lnTo>
                  <a:lnTo>
                    <a:pt x="39" y="72"/>
                  </a:lnTo>
                  <a:lnTo>
                    <a:pt x="42" y="74"/>
                  </a:lnTo>
                  <a:lnTo>
                    <a:pt x="47" y="79"/>
                  </a:lnTo>
                  <a:lnTo>
                    <a:pt x="52" y="84"/>
                  </a:lnTo>
                  <a:close/>
                </a:path>
              </a:pathLst>
            </a:custGeom>
            <a:grpFill/>
            <a:ln w="3175">
              <a:solidFill>
                <a:srgbClr val="AEC9E8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pic>
        <p:nvPicPr>
          <p:cNvPr id="302" name="Picture 3" descr="Upper Gastrointestinal Bleeding: Evidence-Based Treatmen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42249" y="2477301"/>
            <a:ext cx="1656524" cy="1896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301452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5503" y="104508"/>
            <a:ext cx="8726759" cy="875204"/>
          </a:xfrm>
        </p:spPr>
        <p:txBody>
          <a:bodyPr/>
          <a:lstStyle/>
          <a:p>
            <a:r>
              <a:rPr lang="pt-PT" dirty="0"/>
              <a:t>     After registering:  How to use the interactive e-mail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26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3"/>
            <a:ext cx="8723057" cy="1009799"/>
          </a:xfrm>
          <a:prstGeom prst="rect">
            <a:avLst/>
          </a:prstGeom>
        </p:spPr>
        <p:txBody>
          <a:bodyPr vert="horz" lIns="0" tIns="36000" rIns="0" bIns="36000" rtlCol="0">
            <a:normAutofit fontScale="62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600" dirty="0"/>
              <a:t>In the received PO e-mail you will have three options</a:t>
            </a:r>
          </a:p>
          <a:p>
            <a:pPr lvl="1"/>
            <a:r>
              <a:rPr lang="en-US" sz="1800" dirty="0"/>
              <a:t>Create Order Confirmation</a:t>
            </a:r>
          </a:p>
          <a:p>
            <a:pPr lvl="1"/>
            <a:r>
              <a:rPr lang="en-US" sz="1800" dirty="0"/>
              <a:t>Create Ship Notice</a:t>
            </a:r>
          </a:p>
          <a:p>
            <a:pPr lvl="1"/>
            <a:r>
              <a:rPr lang="en-US" sz="1800" dirty="0"/>
              <a:t>Create Invoice (invoices are not available yet)</a:t>
            </a:r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1153" y="2234647"/>
            <a:ext cx="5930199" cy="3633787"/>
          </a:xfrm>
        </p:spPr>
      </p:pic>
      <p:sp>
        <p:nvSpPr>
          <p:cNvPr id="3" name="Rounded Rectangle 2"/>
          <p:cNvSpPr/>
          <p:nvPr/>
        </p:nvSpPr>
        <p:spPr>
          <a:xfrm>
            <a:off x="3189768" y="3076354"/>
            <a:ext cx="3622159" cy="503275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1249142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3945" y="99194"/>
            <a:ext cx="10208560" cy="875204"/>
          </a:xfrm>
        </p:spPr>
        <p:txBody>
          <a:bodyPr/>
          <a:lstStyle/>
          <a:p>
            <a:r>
              <a:rPr lang="pt-PT" dirty="0"/>
              <a:t>         How to use the  interactive e-mail – Create PO confirmation</a:t>
            </a:r>
            <a:br>
              <a:rPr lang="pt-PT" dirty="0"/>
            </a:br>
            <a:r>
              <a:rPr lang="pt-PT" dirty="0"/>
              <a:t>         Confirm Entire Ord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>
                <a:solidFill>
                  <a:srgbClr val="003684"/>
                </a:solidFill>
              </a:rPr>
              <a:pPr/>
              <a:t>27</a:t>
            </a:fld>
            <a:endParaRPr lang="en-US" sz="800" dirty="0">
              <a:solidFill>
                <a:srgbClr val="003684"/>
              </a:solidFill>
            </a:endParaRPr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lang="en-US" sz="1800" dirty="0">
                <a:solidFill>
                  <a:srgbClr val="003684"/>
                </a:solidFill>
              </a:rPr>
              <a:t>In Create Order Confirmation you have two options: </a:t>
            </a:r>
          </a:p>
          <a:p>
            <a:pPr marL="0" indent="0">
              <a:buClr>
                <a:srgbClr val="FA0057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9476" y="1839433"/>
            <a:ext cx="4971394" cy="3352801"/>
          </a:xfrm>
        </p:spPr>
      </p:pic>
      <p:sp>
        <p:nvSpPr>
          <p:cNvPr id="3" name="Rounded Rectangle 2"/>
          <p:cNvSpPr/>
          <p:nvPr/>
        </p:nvSpPr>
        <p:spPr>
          <a:xfrm>
            <a:off x="3558363" y="3090530"/>
            <a:ext cx="2055628" cy="42530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364143" y="336367"/>
            <a:ext cx="375062" cy="400858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solidFill>
                  <a:srgbClr val="FFFFFF"/>
                </a:solidFill>
                <a:latin typeface="Century Gothic" panose="020B0502020202020204" pitchFamily="34" charset="0"/>
              </a:rPr>
              <a:t>2</a:t>
            </a:r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99143681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2618" y="101515"/>
            <a:ext cx="9319010" cy="875204"/>
          </a:xfrm>
        </p:spPr>
        <p:txBody>
          <a:bodyPr/>
          <a:lstStyle/>
          <a:p>
            <a:r>
              <a:rPr lang="pt-PT" sz="2000" dirty="0"/>
              <a:t>       </a:t>
            </a:r>
            <a:r>
              <a:rPr lang="pt-PT" dirty="0"/>
              <a:t>How to use the interactive e-mail – Create PO confirmation</a:t>
            </a:r>
            <a:br>
              <a:rPr lang="pt-PT" dirty="0"/>
            </a:br>
            <a:r>
              <a:rPr lang="pt-PT" dirty="0"/>
              <a:t>      Confirm Entire Ord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28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4471" y="907734"/>
            <a:ext cx="8723057" cy="637532"/>
          </a:xfrm>
          <a:prstGeom prst="rect">
            <a:avLst/>
          </a:prstGeom>
        </p:spPr>
        <p:txBody>
          <a:bodyPr vert="horz" lIns="0" tIns="36000" rIns="0" bIns="36000" rtlCol="0">
            <a:normAutofit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400" dirty="0"/>
              <a:t>Confirm Entire Order - fill in the necessary fields and press “Next”</a:t>
            </a:r>
          </a:p>
          <a:p>
            <a:r>
              <a:rPr lang="en-US" sz="1400" dirty="0"/>
              <a:t>Review Order Confirmation – Confirm  and press “Submit”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13451" y="1577796"/>
            <a:ext cx="8118010" cy="3020558"/>
          </a:xfrm>
        </p:spPr>
      </p:pic>
      <p:sp>
        <p:nvSpPr>
          <p:cNvPr id="3" name="Right Arrow 2"/>
          <p:cNvSpPr/>
          <p:nvPr/>
        </p:nvSpPr>
        <p:spPr>
          <a:xfrm>
            <a:off x="2601432" y="2821339"/>
            <a:ext cx="793898" cy="66985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ounded Rectangle 9"/>
          <p:cNvSpPr/>
          <p:nvPr/>
        </p:nvSpPr>
        <p:spPr>
          <a:xfrm>
            <a:off x="9563629" y="1545266"/>
            <a:ext cx="467833" cy="177208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18725" y="4637831"/>
            <a:ext cx="8754547" cy="1631076"/>
          </a:xfrm>
          <a:prstGeom prst="rect">
            <a:avLst/>
          </a:prstGeom>
        </p:spPr>
      </p:pic>
      <p:sp>
        <p:nvSpPr>
          <p:cNvPr id="12" name="Rounded Rectangle 11"/>
          <p:cNvSpPr/>
          <p:nvPr/>
        </p:nvSpPr>
        <p:spPr>
          <a:xfrm>
            <a:off x="9563629" y="4598354"/>
            <a:ext cx="467833" cy="229436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TextBox 12"/>
          <p:cNvSpPr txBox="1"/>
          <p:nvPr/>
        </p:nvSpPr>
        <p:spPr>
          <a:xfrm>
            <a:off x="9631535" y="1234524"/>
            <a:ext cx="2268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9684130" y="4763001"/>
            <a:ext cx="22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15" name="Rounded Rectangle 14"/>
          <p:cNvSpPr/>
          <p:nvPr/>
        </p:nvSpPr>
        <p:spPr>
          <a:xfrm>
            <a:off x="1913451" y="1792258"/>
            <a:ext cx="780130" cy="248893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6" name="Rounded Rectangle 15"/>
          <p:cNvSpPr/>
          <p:nvPr/>
        </p:nvSpPr>
        <p:spPr>
          <a:xfrm>
            <a:off x="1718724" y="5204477"/>
            <a:ext cx="780130" cy="248893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7" name="Rectangle 16"/>
          <p:cNvSpPr/>
          <p:nvPr/>
        </p:nvSpPr>
        <p:spPr>
          <a:xfrm>
            <a:off x="1524754" y="194363"/>
            <a:ext cx="415727" cy="45556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99736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104508"/>
            <a:ext cx="9186298" cy="875204"/>
          </a:xfrm>
        </p:spPr>
        <p:txBody>
          <a:bodyPr/>
          <a:lstStyle/>
          <a:p>
            <a:r>
              <a:rPr lang="pt-PT" sz="2000" dirty="0"/>
              <a:t>       </a:t>
            </a:r>
            <a:r>
              <a:rPr lang="pt-PT" dirty="0"/>
              <a:t>How to use the interactive e-mail – Create PO confirmation</a:t>
            </a:r>
            <a:br>
              <a:rPr lang="pt-PT" dirty="0"/>
            </a:br>
            <a:r>
              <a:rPr lang="pt-PT" dirty="0"/>
              <a:t>      Reject Entire Ord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29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Reject Entire Order - fill in the necessary fields </a:t>
            </a:r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4282" y="1971578"/>
            <a:ext cx="4746296" cy="3748193"/>
          </a:xfrm>
        </p:spPr>
      </p:pic>
      <p:sp>
        <p:nvSpPr>
          <p:cNvPr id="3" name="Rounded Rectangle 2"/>
          <p:cNvSpPr/>
          <p:nvPr/>
        </p:nvSpPr>
        <p:spPr>
          <a:xfrm>
            <a:off x="5720317" y="5004391"/>
            <a:ext cx="1247554" cy="460744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633843" y="253827"/>
            <a:ext cx="415673" cy="43985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856572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 First Contact – The Supplier will receive an invitation from Faurecia</a:t>
            </a:r>
            <a:br>
              <a:rPr lang="pt-PT" sz="1800" dirty="0"/>
            </a:br>
            <a:r>
              <a:rPr lang="pt-PT" sz="1800" dirty="0"/>
              <a:t>        Different channels of Invitation - Registration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1891958" y="2006778"/>
            <a:ext cx="9502519" cy="445346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Invite to</a:t>
            </a:r>
            <a:r>
              <a:rPr kumimoji="0" lang="en-US" sz="2400" b="1" i="0" u="none" strike="noStrike" kern="1200" cap="none" spc="0" normalizeH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 register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 may come by e-mail, PO, RFQ, etc </a:t>
            </a: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r>
              <a:rPr lang="fr-FR" sz="2400" dirty="0">
                <a:solidFill>
                  <a:srgbClr val="003684"/>
                </a:solidFill>
              </a:rPr>
              <a:t>Registration is free and  highly recommended  to work with Faurecia</a:t>
            </a: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</a:endParaRPr>
          </a:p>
          <a:p>
            <a:pPr lvl="0">
              <a:buClr>
                <a:srgbClr val="FA0057"/>
              </a:buClr>
            </a:pPr>
            <a:r>
              <a:rPr lang="fr-FR" sz="2400" dirty="0">
                <a:solidFill>
                  <a:schemeClr val="bg2"/>
                </a:solidFill>
              </a:rPr>
              <a:t>NOTICE: </a:t>
            </a:r>
            <a:r>
              <a:rPr kumimoji="0" lang="fr-FR" sz="2400" b="1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</a:rPr>
              <a:t> 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If you already have an Ariba Account,  you don’t have to register again</a:t>
            </a:r>
            <a:r>
              <a:rPr lang="fr-FR" sz="2400" dirty="0">
                <a:solidFill>
                  <a:srgbClr val="003684"/>
                </a:solidFill>
              </a:rPr>
              <a:t>; </a:t>
            </a:r>
            <a:r>
              <a:rPr kumimoji="0" lang="fr-FR" sz="2400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</a:rPr>
              <a:t> just connect  into to register  as a Faurecia Supplier in Ariba Network.  </a:t>
            </a:r>
            <a:endParaRPr kumimoji="0" lang="en-US" sz="240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2400" dirty="0">
              <a:solidFill>
                <a:srgbClr val="003684"/>
              </a:solidFill>
            </a:endParaRPr>
          </a:p>
          <a:p>
            <a:pPr marL="0" marR="0" lvl="0" indent="0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None/>
              <a:tabLst/>
              <a:defRPr/>
            </a:pPr>
            <a:endParaRPr lang="fr-FR" sz="1400" dirty="0">
              <a:solidFill>
                <a:srgbClr val="003684"/>
              </a:solidFill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fr-FR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1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228594" marR="0" lvl="0" indent="-228594" algn="l" defTabSz="914377" rtl="0" eaLnBrk="1" fontAlgn="auto" latinLnBrk="0" hangingPunct="1">
              <a:lnSpc>
                <a:spcPct val="110000"/>
              </a:lnSpc>
              <a:spcBef>
                <a:spcPts val="1000"/>
              </a:spcBef>
              <a:spcAft>
                <a:spcPts val="0"/>
              </a:spcAft>
              <a:buClr>
                <a:srgbClr val="FA0057"/>
              </a:buClr>
              <a:buSzPct val="80000"/>
              <a:buFont typeface="Wingdings" panose="05000000000000000000" pitchFamily="2" charset="2"/>
              <a:buChar char="n"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457189" marR="0" lvl="1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685783" marR="0" lvl="1" indent="-228594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Pct val="60000"/>
              <a:buFont typeface="Wingdings" panose="05000000000000000000" pitchFamily="2" charset="2"/>
              <a:buChar char="n"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914377" marR="0" lvl="2" indent="0" algn="l" defTabSz="914377" rtl="0" eaLnBrk="1" fontAlgn="auto" latinLnBrk="0" hangingPunct="1">
              <a:lnSpc>
                <a:spcPct val="110000"/>
              </a:lnSpc>
              <a:spcBef>
                <a:spcPts val="500"/>
              </a:spcBef>
              <a:spcAft>
                <a:spcPts val="0"/>
              </a:spcAft>
              <a:buClr>
                <a:srgbClr val="003684"/>
              </a:buClr>
              <a:buSzTx/>
              <a:buFont typeface="Century Gothic" panose="020B0502020202020204" pitchFamily="34" charset="0"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04427" y="329945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9451348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5503" y="104508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How</a:t>
            </a:r>
            <a:r>
              <a:rPr lang="pt-PT" dirty="0"/>
              <a:t> to use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interactive</a:t>
            </a:r>
            <a:r>
              <a:rPr lang="pt-PT" dirty="0"/>
              <a:t> e-mail – </a:t>
            </a:r>
            <a:r>
              <a:rPr lang="pt-PT" dirty="0" err="1"/>
              <a:t>Create</a:t>
            </a:r>
            <a:r>
              <a:rPr lang="pt-PT" dirty="0"/>
              <a:t> </a:t>
            </a:r>
            <a:r>
              <a:rPr lang="pt-PT" dirty="0" err="1"/>
              <a:t>Ship</a:t>
            </a:r>
            <a:r>
              <a:rPr lang="pt-PT" dirty="0"/>
              <a:t> </a:t>
            </a:r>
            <a:r>
              <a:rPr lang="pt-PT" dirty="0" err="1"/>
              <a:t>Notice</a:t>
            </a:r>
            <a:endParaRPr lang="pt-P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>
                <a:solidFill>
                  <a:srgbClr val="003684"/>
                </a:solidFill>
              </a:rPr>
              <a:pPr/>
              <a:t>30</a:t>
            </a:fld>
            <a:endParaRPr lang="en-US" sz="800" dirty="0">
              <a:solidFill>
                <a:srgbClr val="003684"/>
              </a:solidFill>
            </a:endParaRPr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lang="en-US" sz="1800" dirty="0">
                <a:solidFill>
                  <a:srgbClr val="003684"/>
                </a:solidFill>
              </a:rPr>
              <a:t>Create Ship Notice</a:t>
            </a:r>
          </a:p>
          <a:p>
            <a:pPr marL="0" indent="0">
              <a:buClr>
                <a:srgbClr val="FA0057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900" y="1971578"/>
            <a:ext cx="5930199" cy="3633787"/>
          </a:xfrm>
        </p:spPr>
      </p:pic>
      <p:sp>
        <p:nvSpPr>
          <p:cNvPr id="3" name="Rounded Rectangle 2"/>
          <p:cNvSpPr/>
          <p:nvPr/>
        </p:nvSpPr>
        <p:spPr>
          <a:xfrm>
            <a:off x="4869712" y="2913322"/>
            <a:ext cx="1041990" cy="333152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solidFill>
                  <a:srgbClr val="FFFFFF"/>
                </a:solidFill>
                <a:latin typeface="Century Gothic" panose="020B0502020202020204" pitchFamily="34" charset="0"/>
              </a:rPr>
              <a:t>2</a:t>
            </a:r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1575566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5618" y="104508"/>
            <a:ext cx="9147438" cy="875204"/>
          </a:xfrm>
        </p:spPr>
        <p:txBody>
          <a:bodyPr/>
          <a:lstStyle/>
          <a:p>
            <a:r>
              <a:rPr lang="pt-PT" dirty="0"/>
              <a:t> How to use the interactive e-mail – Create Ship Notice (1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1</a:t>
            </a:fld>
            <a:endParaRPr lang="en-US" sz="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3739" y="1446029"/>
            <a:ext cx="8598329" cy="4791739"/>
          </a:xfrm>
        </p:spPr>
      </p:pic>
      <p:sp>
        <p:nvSpPr>
          <p:cNvPr id="8" name="Espace réservé du contenu 2"/>
          <p:cNvSpPr txBox="1">
            <a:spLocks/>
          </p:cNvSpPr>
          <p:nvPr/>
        </p:nvSpPr>
        <p:spPr>
          <a:xfrm>
            <a:off x="1739205" y="1031652"/>
            <a:ext cx="8723057" cy="336405"/>
          </a:xfrm>
          <a:prstGeom prst="rect">
            <a:avLst/>
          </a:prstGeom>
        </p:spPr>
        <p:txBody>
          <a:bodyPr vert="horz" lIns="0" tIns="36000" rIns="0" bIns="36000" rtlCol="0">
            <a:normAutofit fontScale="92500"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reate Ship Notice – fill in necessary fields </a:t>
            </a:r>
            <a:r>
              <a:rPr lang="en-US" sz="1800" b="0" dirty="0"/>
              <a:t>(continues next slide) </a:t>
            </a: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sp>
        <p:nvSpPr>
          <p:cNvPr id="9" name="Right Arrow 8"/>
          <p:cNvSpPr/>
          <p:nvPr/>
        </p:nvSpPr>
        <p:spPr>
          <a:xfrm>
            <a:off x="2339164" y="3168503"/>
            <a:ext cx="531627" cy="8824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ight Arrow 9"/>
          <p:cNvSpPr/>
          <p:nvPr/>
        </p:nvSpPr>
        <p:spPr>
          <a:xfrm>
            <a:off x="2339163" y="3681952"/>
            <a:ext cx="531627" cy="8824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ight Arrow 10"/>
          <p:cNvSpPr/>
          <p:nvPr/>
        </p:nvSpPr>
        <p:spPr>
          <a:xfrm>
            <a:off x="2335618" y="3841898"/>
            <a:ext cx="531627" cy="8824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ectangle 11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3781365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104508"/>
            <a:ext cx="9343954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How</a:t>
            </a:r>
            <a:r>
              <a:rPr lang="pt-PT" dirty="0"/>
              <a:t> to use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interactive</a:t>
            </a:r>
            <a:r>
              <a:rPr lang="pt-PT" dirty="0"/>
              <a:t> e-mail – </a:t>
            </a:r>
            <a:r>
              <a:rPr lang="pt-PT" dirty="0" err="1"/>
              <a:t>Create</a:t>
            </a:r>
            <a:r>
              <a:rPr lang="pt-PT" dirty="0"/>
              <a:t> </a:t>
            </a:r>
            <a:r>
              <a:rPr lang="pt-PT" dirty="0" err="1"/>
              <a:t>Ship</a:t>
            </a:r>
            <a:r>
              <a:rPr lang="pt-PT" dirty="0"/>
              <a:t> </a:t>
            </a:r>
            <a:r>
              <a:rPr lang="pt-PT" dirty="0" err="1"/>
              <a:t>Notice</a:t>
            </a:r>
            <a:r>
              <a:rPr lang="pt-PT" dirty="0"/>
              <a:t> (2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>
                <a:solidFill>
                  <a:srgbClr val="003684"/>
                </a:solidFill>
              </a:rPr>
              <a:pPr/>
              <a:t>32</a:t>
            </a:fld>
            <a:endParaRPr lang="en-US" sz="800" dirty="0">
              <a:solidFill>
                <a:srgbClr val="003684"/>
              </a:solidFill>
            </a:endParaRPr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1739205" y="1031652"/>
            <a:ext cx="8723057" cy="336405"/>
          </a:xfrm>
          <a:prstGeom prst="rect">
            <a:avLst/>
          </a:prstGeom>
        </p:spPr>
        <p:txBody>
          <a:bodyPr vert="horz" lIns="0" tIns="36000" rIns="0" bIns="36000" rtlCol="0">
            <a:normAutofit fontScale="92500"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lang="en-US" sz="1800" dirty="0">
                <a:solidFill>
                  <a:srgbClr val="003684"/>
                </a:solidFill>
              </a:rPr>
              <a:t>Create Ship Notice – Click “Next” </a:t>
            </a: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0100" y="1581740"/>
            <a:ext cx="8851801" cy="4521348"/>
          </a:xfrm>
        </p:spPr>
      </p:pic>
      <p:sp>
        <p:nvSpPr>
          <p:cNvPr id="9" name="Rounded Rectangle 8"/>
          <p:cNvSpPr/>
          <p:nvPr/>
        </p:nvSpPr>
        <p:spPr>
          <a:xfrm>
            <a:off x="10008782" y="5767596"/>
            <a:ext cx="513119" cy="257521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solidFill>
                  <a:srgbClr val="FFFFFF"/>
                </a:solidFill>
                <a:latin typeface="Century Gothic" panose="020B0502020202020204" pitchFamily="34" charset="0"/>
              </a:rPr>
              <a:t>2</a:t>
            </a:r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318114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5503" y="104508"/>
            <a:ext cx="944224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How</a:t>
            </a:r>
            <a:r>
              <a:rPr lang="pt-PT" dirty="0"/>
              <a:t> to use </a:t>
            </a:r>
            <a:r>
              <a:rPr lang="pt-PT" dirty="0" err="1"/>
              <a:t>the</a:t>
            </a:r>
            <a:r>
              <a:rPr lang="pt-PT" dirty="0"/>
              <a:t> </a:t>
            </a:r>
            <a:r>
              <a:rPr lang="pt-PT" dirty="0" err="1"/>
              <a:t>interactive</a:t>
            </a:r>
            <a:r>
              <a:rPr lang="pt-PT" dirty="0"/>
              <a:t> e-mail – </a:t>
            </a:r>
            <a:r>
              <a:rPr lang="pt-PT" dirty="0" err="1"/>
              <a:t>Create</a:t>
            </a:r>
            <a:r>
              <a:rPr lang="pt-PT" dirty="0"/>
              <a:t> </a:t>
            </a:r>
            <a:r>
              <a:rPr lang="pt-PT" dirty="0" err="1"/>
              <a:t>Ship</a:t>
            </a:r>
            <a:r>
              <a:rPr lang="pt-PT" dirty="0"/>
              <a:t> </a:t>
            </a:r>
            <a:r>
              <a:rPr lang="pt-PT" dirty="0" err="1"/>
              <a:t>Notice</a:t>
            </a:r>
            <a:r>
              <a:rPr lang="pt-PT" dirty="0"/>
              <a:t> (3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3</a:t>
            </a:fld>
            <a:endParaRPr lang="en-US" sz="800" dirty="0"/>
          </a:p>
        </p:txBody>
      </p:sp>
      <p:sp>
        <p:nvSpPr>
          <p:cNvPr id="8" name="Espace réservé du contenu 2"/>
          <p:cNvSpPr txBox="1">
            <a:spLocks/>
          </p:cNvSpPr>
          <p:nvPr/>
        </p:nvSpPr>
        <p:spPr>
          <a:xfrm>
            <a:off x="1739205" y="1031652"/>
            <a:ext cx="8723057" cy="336405"/>
          </a:xfrm>
          <a:prstGeom prst="rect">
            <a:avLst/>
          </a:prstGeom>
        </p:spPr>
        <p:txBody>
          <a:bodyPr vert="horz" lIns="0" tIns="36000" rIns="0" bIns="36000" rtlCol="0">
            <a:normAutofit fontScale="92500"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reate Ship Notice – Confirm information and click “Submit”</a:t>
            </a:r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7637" y="1595386"/>
            <a:ext cx="8377972" cy="4658684"/>
          </a:xfrm>
        </p:spPr>
      </p:pic>
      <p:sp>
        <p:nvSpPr>
          <p:cNvPr id="9" name="Rounded Rectangle 8"/>
          <p:cNvSpPr/>
          <p:nvPr/>
        </p:nvSpPr>
        <p:spPr>
          <a:xfrm>
            <a:off x="9299944" y="1595386"/>
            <a:ext cx="460744" cy="233414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angle 9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313840034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256024"/>
            <a:ext cx="8726759" cy="875204"/>
          </a:xfrm>
        </p:spPr>
        <p:txBody>
          <a:bodyPr/>
          <a:lstStyle/>
          <a:p>
            <a:r>
              <a:rPr lang="pt-PT" dirty="0"/>
              <a:t>      How to use the interactive e-mail – Create invoice</a:t>
            </a:r>
            <a:br>
              <a:rPr lang="pt-PT" dirty="0"/>
            </a:br>
            <a:r>
              <a:rPr lang="pt-PT" dirty="0"/>
              <a:t>      </a:t>
            </a:r>
            <a:r>
              <a:rPr lang="pt-PT" sz="1800" dirty="0"/>
              <a:t> 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4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lick in “Create Invoice”</a:t>
            </a:r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0900" y="2185029"/>
            <a:ext cx="5930199" cy="3633787"/>
          </a:xfrm>
        </p:spPr>
      </p:pic>
      <p:sp>
        <p:nvSpPr>
          <p:cNvPr id="3" name="Rounded Rectangle 2"/>
          <p:cNvSpPr/>
          <p:nvPr/>
        </p:nvSpPr>
        <p:spPr>
          <a:xfrm>
            <a:off x="5911703" y="3140150"/>
            <a:ext cx="857693" cy="304800"/>
          </a:xfrm>
          <a:prstGeom prst="round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739205" y="303350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05358308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5503" y="104508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sz="2000" dirty="0" err="1"/>
              <a:t>How</a:t>
            </a:r>
            <a:r>
              <a:rPr lang="pt-PT" sz="2000" dirty="0"/>
              <a:t> to use </a:t>
            </a:r>
            <a:r>
              <a:rPr lang="pt-PT" sz="2000" dirty="0" err="1"/>
              <a:t>the</a:t>
            </a:r>
            <a:r>
              <a:rPr lang="pt-PT" sz="2000" dirty="0"/>
              <a:t> </a:t>
            </a:r>
            <a:r>
              <a:rPr lang="pt-PT" sz="2000" dirty="0" err="1"/>
              <a:t>interactive</a:t>
            </a:r>
            <a:r>
              <a:rPr lang="pt-PT" sz="2000" dirty="0"/>
              <a:t> e-mail – </a:t>
            </a:r>
            <a:r>
              <a:rPr lang="pt-PT" sz="2000" dirty="0" err="1"/>
              <a:t>Create</a:t>
            </a:r>
            <a:r>
              <a:rPr lang="pt-PT" sz="2000" dirty="0"/>
              <a:t> </a:t>
            </a:r>
            <a:r>
              <a:rPr lang="pt-PT" sz="2000" dirty="0" err="1"/>
              <a:t>Invoice</a:t>
            </a:r>
            <a:r>
              <a:rPr lang="pt-PT" sz="2000" dirty="0"/>
              <a:t> (1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5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reate invoice - Fill in the necessary fields </a:t>
            </a:r>
            <a:r>
              <a:rPr lang="en-US" sz="1800" b="0" dirty="0"/>
              <a:t>(continues next slide)</a:t>
            </a:r>
            <a:r>
              <a:rPr lang="en-US" sz="1800" dirty="0"/>
              <a:t> 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76916" y="1497565"/>
            <a:ext cx="8438167" cy="4768557"/>
          </a:xfrm>
        </p:spPr>
      </p:pic>
      <p:sp>
        <p:nvSpPr>
          <p:cNvPr id="10" name="Right Arrow 9"/>
          <p:cNvSpPr/>
          <p:nvPr/>
        </p:nvSpPr>
        <p:spPr>
          <a:xfrm>
            <a:off x="1876915" y="2601434"/>
            <a:ext cx="433894" cy="74072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ight Arrow 10"/>
          <p:cNvSpPr/>
          <p:nvPr/>
        </p:nvSpPr>
        <p:spPr>
          <a:xfrm>
            <a:off x="1876915" y="4242392"/>
            <a:ext cx="433894" cy="74072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ight Arrow 11"/>
          <p:cNvSpPr/>
          <p:nvPr/>
        </p:nvSpPr>
        <p:spPr>
          <a:xfrm>
            <a:off x="5445911" y="5022113"/>
            <a:ext cx="433894" cy="74072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3" name="Rectangle 12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87781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98537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sz="2000" dirty="0" err="1"/>
              <a:t>How</a:t>
            </a:r>
            <a:r>
              <a:rPr lang="pt-PT" sz="2000" dirty="0"/>
              <a:t> to use </a:t>
            </a:r>
            <a:r>
              <a:rPr lang="pt-PT" sz="2000" dirty="0" err="1"/>
              <a:t>the</a:t>
            </a:r>
            <a:r>
              <a:rPr lang="pt-PT" sz="2000" dirty="0"/>
              <a:t> </a:t>
            </a:r>
            <a:r>
              <a:rPr lang="pt-PT" sz="2000" dirty="0" err="1"/>
              <a:t>interactive</a:t>
            </a:r>
            <a:r>
              <a:rPr lang="pt-PT" sz="2000" dirty="0"/>
              <a:t> e-mail – </a:t>
            </a:r>
            <a:r>
              <a:rPr lang="pt-PT" sz="2000" dirty="0" err="1"/>
              <a:t>Create</a:t>
            </a:r>
            <a:r>
              <a:rPr lang="pt-PT" sz="2000" dirty="0"/>
              <a:t> </a:t>
            </a:r>
            <a:r>
              <a:rPr lang="pt-PT" sz="2000" dirty="0" err="1"/>
              <a:t>Invoice</a:t>
            </a:r>
            <a:r>
              <a:rPr lang="pt-PT" sz="2000" dirty="0"/>
              <a:t> (2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6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reate invoice - Fill in the necessary fields and click “Next”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7020" y="1511741"/>
            <a:ext cx="8227324" cy="4738135"/>
          </a:xfrm>
        </p:spPr>
      </p:pic>
      <p:sp>
        <p:nvSpPr>
          <p:cNvPr id="9" name="Right Arrow 8"/>
          <p:cNvSpPr/>
          <p:nvPr/>
        </p:nvSpPr>
        <p:spPr>
          <a:xfrm>
            <a:off x="5272245" y="3995568"/>
            <a:ext cx="433894" cy="74072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ight Arrow 9"/>
          <p:cNvSpPr/>
          <p:nvPr/>
        </p:nvSpPr>
        <p:spPr>
          <a:xfrm>
            <a:off x="1735502" y="3995568"/>
            <a:ext cx="433894" cy="74072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ounded Rectangle 10"/>
          <p:cNvSpPr/>
          <p:nvPr/>
        </p:nvSpPr>
        <p:spPr>
          <a:xfrm>
            <a:off x="9710983" y="6077141"/>
            <a:ext cx="517451" cy="230645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ectangle 11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73650518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2201" y="104508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sz="2000" dirty="0" err="1"/>
              <a:t>How</a:t>
            </a:r>
            <a:r>
              <a:rPr lang="pt-PT" sz="2000" dirty="0"/>
              <a:t> to use </a:t>
            </a:r>
            <a:r>
              <a:rPr lang="pt-PT" sz="2000" dirty="0" err="1"/>
              <a:t>the</a:t>
            </a:r>
            <a:r>
              <a:rPr lang="pt-PT" sz="2000" dirty="0"/>
              <a:t> </a:t>
            </a:r>
            <a:r>
              <a:rPr lang="pt-PT" sz="2000" dirty="0" err="1"/>
              <a:t>interactive</a:t>
            </a:r>
            <a:r>
              <a:rPr lang="pt-PT" sz="2000" dirty="0"/>
              <a:t> e-mail – </a:t>
            </a:r>
            <a:r>
              <a:rPr lang="pt-PT" sz="2000" dirty="0" err="1"/>
              <a:t>Create</a:t>
            </a:r>
            <a:r>
              <a:rPr lang="pt-PT" sz="2000" dirty="0"/>
              <a:t> </a:t>
            </a:r>
            <a:r>
              <a:rPr lang="pt-PT" sz="2000" dirty="0" err="1"/>
              <a:t>Invoice</a:t>
            </a:r>
            <a:r>
              <a:rPr lang="pt-PT" sz="2000" dirty="0"/>
              <a:t> (3/3)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7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Create invoice – Confirm information and click “Submit”   </a:t>
            </a:r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74601" y="1639716"/>
            <a:ext cx="8061958" cy="4512991"/>
          </a:xfrm>
        </p:spPr>
      </p:pic>
      <p:sp>
        <p:nvSpPr>
          <p:cNvPr id="9" name="Rounded Rectangle 8"/>
          <p:cNvSpPr/>
          <p:nvPr/>
        </p:nvSpPr>
        <p:spPr>
          <a:xfrm>
            <a:off x="9250327" y="1828801"/>
            <a:ext cx="460744" cy="205563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ectangle 9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1837198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18299" y="163107"/>
            <a:ext cx="8726759" cy="875204"/>
          </a:xfrm>
        </p:spPr>
        <p:txBody>
          <a:bodyPr/>
          <a:lstStyle/>
          <a:p>
            <a:r>
              <a:rPr lang="pt-PT" dirty="0"/>
              <a:t>      How to use the  interactive e-mail –  Lost PO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7" y="6502968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38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931827"/>
          </a:xfrm>
          <a:prstGeom prst="rect">
            <a:avLst/>
          </a:prstGeom>
        </p:spPr>
        <p:txBody>
          <a:bodyPr vert="horz" lIns="0" tIns="36000" rIns="0" bIns="36000" rtlCol="0">
            <a:normAutofit fontScale="92500"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If you loose the PO go to Ariba Network:</a:t>
            </a:r>
          </a:p>
          <a:p>
            <a:pPr lvl="1"/>
            <a:r>
              <a:rPr lang="en-US" sz="1500" dirty="0"/>
              <a:t>Step1 - Click “Select”</a:t>
            </a:r>
          </a:p>
          <a:p>
            <a:pPr lvl="1"/>
            <a:r>
              <a:rPr lang="en-US" sz="1500" dirty="0"/>
              <a:t>Step 2 - Click “Send me a copy to take action”</a:t>
            </a:r>
          </a:p>
          <a:p>
            <a:pPr marL="0" indent="0">
              <a:buNone/>
            </a:pPr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7530" y="2474502"/>
            <a:ext cx="8869386" cy="2529889"/>
          </a:xfrm>
        </p:spPr>
      </p:pic>
      <p:sp>
        <p:nvSpPr>
          <p:cNvPr id="10" name="Rounded Rectangle 9"/>
          <p:cNvSpPr/>
          <p:nvPr/>
        </p:nvSpPr>
        <p:spPr>
          <a:xfrm>
            <a:off x="9158176" y="4472764"/>
            <a:ext cx="1134140" cy="460743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2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6989844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78796" y="38186"/>
            <a:ext cx="8726759" cy="875204"/>
          </a:xfrm>
        </p:spPr>
        <p:txBody>
          <a:bodyPr/>
          <a:lstStyle/>
          <a:p>
            <a:r>
              <a:rPr lang="pt-PT" dirty="0"/>
              <a:t>        Ariba Support Access (1/3) 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5876" y="1204676"/>
            <a:ext cx="9060249" cy="2844642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pPr/>
              <a:t>39</a:t>
            </a:fld>
            <a:endParaRPr lang="en-US" noProof="0" dirty="0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5125" y="3238439"/>
            <a:ext cx="6590513" cy="2997974"/>
          </a:xfrm>
          <a:prstGeom prst="rect">
            <a:avLst/>
          </a:prstGeom>
        </p:spPr>
      </p:pic>
      <p:sp>
        <p:nvSpPr>
          <p:cNvPr id="10" name="Rounded Rectangle 9"/>
          <p:cNvSpPr/>
          <p:nvPr/>
        </p:nvSpPr>
        <p:spPr>
          <a:xfrm>
            <a:off x="9285070" y="1214951"/>
            <a:ext cx="1341054" cy="41864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1" name="Rounded Rectangle 10"/>
          <p:cNvSpPr/>
          <p:nvPr/>
        </p:nvSpPr>
        <p:spPr>
          <a:xfrm>
            <a:off x="7955623" y="3544584"/>
            <a:ext cx="1700015" cy="40069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ounded Rectangle 11"/>
          <p:cNvSpPr/>
          <p:nvPr/>
        </p:nvSpPr>
        <p:spPr>
          <a:xfrm>
            <a:off x="7606301" y="4307774"/>
            <a:ext cx="2049336" cy="1168352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4" name="Rectangle 13"/>
          <p:cNvSpPr/>
          <p:nvPr/>
        </p:nvSpPr>
        <p:spPr>
          <a:xfrm>
            <a:off x="1735502" y="280650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3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6844329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 First Contact – The Supplier will receive an invitation from Faurecia</a:t>
            </a:r>
            <a:br>
              <a:rPr lang="pt-PT" sz="1800" dirty="0"/>
            </a:br>
            <a:r>
              <a:rPr lang="pt-PT" sz="1800" dirty="0"/>
              <a:t>        Registration  from a PO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Espace réservé du contenu 5"/>
          <p:cNvSpPr>
            <a:spLocks noGrp="1"/>
          </p:cNvSpPr>
          <p:nvPr>
            <p:ph idx="1"/>
          </p:nvPr>
        </p:nvSpPr>
        <p:spPr>
          <a:xfrm>
            <a:off x="282575" y="1049338"/>
            <a:ext cx="11630025" cy="5307012"/>
          </a:xfrm>
        </p:spPr>
        <p:txBody>
          <a:bodyPr/>
          <a:lstStyle/>
          <a:p>
            <a:pPr marL="0" indent="0">
              <a:buNone/>
            </a:pPr>
            <a:r>
              <a:rPr lang="fr-FR" dirty="0"/>
              <a:t>   </a:t>
            </a:r>
            <a:endParaRPr lang="en-US" dirty="0"/>
          </a:p>
        </p:txBody>
      </p:sp>
      <p:pic>
        <p:nvPicPr>
          <p:cNvPr id="9" name="Image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65502" y="1107226"/>
            <a:ext cx="7331550" cy="556386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473840127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741323" y="937311"/>
            <a:ext cx="4458628" cy="5134887"/>
          </a:xfrm>
          <a:prstGeom prst="rect">
            <a:avLst/>
          </a:prstGeom>
        </p:spPr>
      </p:pic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71"/>
            <a:ext cx="12192000" cy="88092"/>
          </a:xfrm>
        </p:spPr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8" name="Titre 1"/>
          <p:cNvSpPr txBox="1">
            <a:spLocks/>
          </p:cNvSpPr>
          <p:nvPr/>
        </p:nvSpPr>
        <p:spPr>
          <a:xfrm>
            <a:off x="1735514" y="6"/>
            <a:ext cx="8726759" cy="875205"/>
          </a:xfrm>
          <a:prstGeom prst="rect">
            <a:avLst/>
          </a:prstGeom>
        </p:spPr>
        <p:txBody>
          <a:bodyPr lIns="0" tIns="36000" rIns="0" bIns="36000" anchor="ctr" anchorCtr="0"/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r-FR" sz="2400" b="1" kern="1200">
                <a:solidFill>
                  <a:schemeClr val="tx1"/>
                </a:solidFill>
                <a:latin typeface="Century Gothic" panose="020B0502020202020204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1219139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j-ea"/>
                <a:cs typeface="+mj-cs"/>
              </a:rPr>
              <a:t>       Ariba Support Access (2/3)  </a:t>
            </a:r>
          </a:p>
        </p:txBody>
      </p:sp>
      <p:sp>
        <p:nvSpPr>
          <p:cNvPr id="74" name="Rounded Rectangle 73"/>
          <p:cNvSpPr/>
          <p:nvPr/>
        </p:nvSpPr>
        <p:spPr>
          <a:xfrm>
            <a:off x="6683420" y="5672863"/>
            <a:ext cx="3711693" cy="641613"/>
          </a:xfrm>
          <a:prstGeom prst="roundRect">
            <a:avLst/>
          </a:prstGeom>
          <a:solidFill>
            <a:srgbClr val="003684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351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6683421" y="5638115"/>
            <a:ext cx="3711695" cy="6665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0057"/>
              </a:buClr>
              <a:buSzPct val="80000"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ry searching for whatever you need help with by using the </a:t>
            </a:r>
            <a:r>
              <a:rPr kumimoji="0" lang="en-US" sz="933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 need help with </a:t>
            </a: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earch box.</a:t>
            </a:r>
          </a:p>
          <a:p>
            <a:pPr marL="0" marR="0" lvl="0" indent="0" algn="just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A0057"/>
              </a:buClr>
              <a:buSzPct val="80000"/>
              <a:buFontTx/>
              <a:buNone/>
              <a:tabLst/>
              <a:defRPr/>
            </a:pPr>
            <a:r>
              <a:rPr kumimoji="0" lang="en-US" sz="933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f you need further support after conducting a search, the above mentioned support options will become available.</a:t>
            </a:r>
            <a:endParaRPr kumimoji="0" lang="pt-PT" sz="93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4949250" y="1892635"/>
            <a:ext cx="1099857" cy="367367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4949249" y="2318238"/>
            <a:ext cx="1099857" cy="367367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1735514" y="1862873"/>
            <a:ext cx="798376" cy="21344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822471" y="1098068"/>
            <a:ext cx="3500749" cy="4424875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4108" y="2533640"/>
            <a:ext cx="454315" cy="454315"/>
          </a:xfrm>
          <a:prstGeom prst="rect">
            <a:avLst/>
          </a:prstGeom>
        </p:spPr>
      </p:pic>
      <p:sp>
        <p:nvSpPr>
          <p:cNvPr id="7" name="Right Arrow 6"/>
          <p:cNvSpPr/>
          <p:nvPr/>
        </p:nvSpPr>
        <p:spPr>
          <a:xfrm>
            <a:off x="6212617" y="2304062"/>
            <a:ext cx="470803" cy="367367"/>
          </a:xfrm>
          <a:prstGeom prst="rightArrow">
            <a:avLst/>
          </a:prstGeom>
          <a:solidFill>
            <a:srgbClr val="003684"/>
          </a:solidFill>
          <a:ln>
            <a:solidFill>
              <a:srgbClr val="00368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822471" y="4365814"/>
            <a:ext cx="3467171" cy="1127853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46CF3204-D7F0-4E2A-AE41-98D04B1A9EBC}"/>
              </a:ext>
            </a:extLst>
          </p:cNvPr>
          <p:cNvSpPr/>
          <p:nvPr/>
        </p:nvSpPr>
        <p:spPr>
          <a:xfrm>
            <a:off x="1735513" y="1228986"/>
            <a:ext cx="3344487" cy="347692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PT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F661101-3818-4D09-8485-4FB273D3BAA1}"/>
              </a:ext>
            </a:extLst>
          </p:cNvPr>
          <p:cNvSpPr txBox="1"/>
          <p:nvPr/>
        </p:nvSpPr>
        <p:spPr>
          <a:xfrm>
            <a:off x="2802465" y="1255526"/>
            <a:ext cx="145521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800" dirty="0"/>
              <a:t>Search with key words  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1497A40-F7A4-4356-8662-CCD01B0FC8F8}"/>
              </a:ext>
            </a:extLst>
          </p:cNvPr>
          <p:cNvSpPr/>
          <p:nvPr/>
        </p:nvSpPr>
        <p:spPr>
          <a:xfrm>
            <a:off x="1729727" y="175010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3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27132821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282017" y="1122022"/>
            <a:ext cx="11630743" cy="5234350"/>
          </a:xfrm>
        </p:spPr>
        <p:txBody>
          <a:bodyPr>
            <a:normAutofit fontScale="55000" lnSpcReduction="20000"/>
          </a:bodyPr>
          <a:lstStyle/>
          <a:p>
            <a:pPr>
              <a:spcAft>
                <a:spcPts val="0"/>
              </a:spcAft>
            </a:pPr>
            <a:r>
              <a:rPr lang="fr-FR" sz="2900" dirty="0"/>
              <a:t>Questions regarding Ariba usage </a:t>
            </a:r>
            <a:r>
              <a:rPr lang="fr-FR" sz="2100" dirty="0"/>
              <a:t>:</a:t>
            </a:r>
          </a:p>
          <a:p>
            <a:pPr marL="269875" indent="0">
              <a:spcAft>
                <a:spcPts val="600"/>
              </a:spcAft>
              <a:buNone/>
            </a:pPr>
            <a:r>
              <a:rPr lang="en-US" sz="2500" dirty="0">
                <a:ea typeface="Times New Roman" panose="02020603050405020304" pitchFamily="18" charset="0"/>
                <a:cs typeface="Arial" panose="020B0604020202020204" pitchFamily="34" charset="0"/>
              </a:rPr>
              <a:t>Please click on one of the below links for any questions regarding registration, configuration or general Ariba Network questions :</a:t>
            </a:r>
          </a:p>
          <a:p>
            <a:pPr marL="541338" lvl="1" indent="-93663" algn="just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180340" algn="l"/>
                <a:tab pos="540385" algn="l"/>
              </a:tabLst>
            </a:pPr>
            <a:r>
              <a:rPr lang="en-US" sz="2200" dirty="0">
                <a:ea typeface="Times New Roman" panose="02020603050405020304" pitchFamily="18" charset="0"/>
                <a:cs typeface="Arial" panose="020B0604020202020204" pitchFamily="34" charset="0"/>
              </a:rPr>
              <a:t> USA/Canada : </a:t>
            </a:r>
            <a:r>
              <a:rPr lang="en-US" sz="2200" dirty="0">
                <a:solidFill>
                  <a:srgbClr val="F1896E"/>
                </a:solidFill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support.ariba.com/sites/Company?ANID=AN01274677429NAM&amp;h=efiEiEb9GzUpOl83jqsNw#Enablement-Inquiry</a:t>
            </a:r>
            <a:endParaRPr lang="en-US" sz="2200" dirty="0">
              <a:solidFill>
                <a:srgbClr val="F1896E"/>
              </a:solidFill>
              <a:cs typeface="Arial" panose="020B0604020202020204" pitchFamily="34" charset="0"/>
            </a:endParaRPr>
          </a:p>
          <a:p>
            <a:pPr marL="541338" lvl="1" indent="-93663" algn="just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180340" algn="l"/>
                <a:tab pos="540385" algn="l"/>
              </a:tabLst>
            </a:pPr>
            <a:r>
              <a:rPr lang="en-US" sz="2200" dirty="0">
                <a:cs typeface="Arial" panose="020B0604020202020204" pitchFamily="34" charset="0"/>
              </a:rPr>
              <a:t> Brazil : </a:t>
            </a:r>
            <a:r>
              <a:rPr lang="en-US" sz="2200" dirty="0">
                <a:solidFill>
                  <a:srgbClr val="F1896E"/>
                </a:solidFill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support.ariba.com/sites/Company?ANID=AN01274677429BRZ&amp;h=ZUMjmQJ1cv1AyRPHP4rNzA#Enablement-Inquiry</a:t>
            </a:r>
            <a:endParaRPr lang="fr-FR" sz="2200" dirty="0">
              <a:solidFill>
                <a:srgbClr val="F1896E"/>
              </a:solidFill>
              <a:cs typeface="Arial" panose="020B0604020202020204" pitchFamily="34" charset="0"/>
            </a:endParaRPr>
          </a:p>
          <a:p>
            <a:pPr marL="541338" lvl="1" indent="-93663" algn="just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180340" algn="l"/>
                <a:tab pos="540385" algn="l"/>
              </a:tabLst>
            </a:pPr>
            <a:r>
              <a:rPr lang="en-US" sz="2200" dirty="0">
                <a:cs typeface="Arial" panose="020B0604020202020204" pitchFamily="34" charset="0"/>
              </a:rPr>
              <a:t> Latin America:   </a:t>
            </a:r>
            <a:r>
              <a:rPr lang="en-US" sz="2200" dirty="0">
                <a:solidFill>
                  <a:srgbClr val="F1896E"/>
                </a:solidFill>
                <a:cs typeface="Arial" panose="020B060402020202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support.ariba.com/sites/Company?ANID=AN01274677429LAC&amp;h=1a9ipmjaTdbyL4I4jaUcg#Enablement-Inquiry</a:t>
            </a:r>
            <a:endParaRPr lang="fr-FR" sz="2200" dirty="0">
              <a:solidFill>
                <a:srgbClr val="F1896E"/>
              </a:solidFill>
              <a:cs typeface="Arial" panose="020B0604020202020204" pitchFamily="34" charset="0"/>
            </a:endParaRPr>
          </a:p>
          <a:p>
            <a:pPr marL="541338" lvl="1" indent="-93663" algn="just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180340" algn="l"/>
                <a:tab pos="540385" algn="l"/>
              </a:tabLst>
            </a:pPr>
            <a:r>
              <a:rPr lang="en-US" sz="2200" dirty="0">
                <a:cs typeface="Arial" panose="020B0604020202020204" pitchFamily="34" charset="0"/>
              </a:rPr>
              <a:t> EMEA: </a:t>
            </a:r>
            <a:r>
              <a:rPr lang="en-US" sz="2200" dirty="0">
                <a:solidFill>
                  <a:srgbClr val="F1896E"/>
                </a:solidFill>
                <a:cs typeface="Arial" panose="020B0604020202020204" pitchFamily="34" charset="0"/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support.ariba.com/sites/Company?ANID=AN01274677429EMA&amp;h=aYCJ5Mm2uFBJv1T7QaeZ9A#Enablement-Inquiry</a:t>
            </a:r>
            <a:endParaRPr lang="fr-FR" sz="2200" dirty="0">
              <a:solidFill>
                <a:srgbClr val="F1896E"/>
              </a:solidFill>
              <a:cs typeface="Arial" panose="020B0604020202020204" pitchFamily="34" charset="0"/>
            </a:endParaRPr>
          </a:p>
          <a:p>
            <a:pPr marL="541338" lvl="1" indent="-93663" algn="just">
              <a:spcAft>
                <a:spcPts val="600"/>
              </a:spcAft>
              <a:buFont typeface="Wingdings" panose="05000000000000000000" pitchFamily="2" charset="2"/>
              <a:buChar char="q"/>
              <a:tabLst>
                <a:tab pos="180340" algn="l"/>
                <a:tab pos="540385" algn="l"/>
              </a:tabLst>
            </a:pPr>
            <a:r>
              <a:rPr lang="en-US" sz="2200" dirty="0">
                <a:cs typeface="Arial" panose="020B0604020202020204" pitchFamily="34" charset="0"/>
              </a:rPr>
              <a:t> SE Asia: </a:t>
            </a:r>
            <a:r>
              <a:rPr lang="en-US" sz="2200" dirty="0">
                <a:solidFill>
                  <a:srgbClr val="F1896E"/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connectsupport.ariba.com/sites/Company?ANID=AN01274677429SEA&amp;h=kRV62sa3KWxd5CoBSswQ#Enablement-Inquiry</a:t>
            </a:r>
            <a:endParaRPr lang="fr-FR" sz="2200" dirty="0">
              <a:solidFill>
                <a:srgbClr val="F1896E"/>
              </a:solidFill>
            </a:endParaRPr>
          </a:p>
          <a:p>
            <a:endParaRPr lang="fr-FR" dirty="0"/>
          </a:p>
          <a:p>
            <a:r>
              <a:rPr lang="fr-FR" sz="2900" dirty="0"/>
              <a:t>Questions regarding your relationship with Faurecia </a:t>
            </a:r>
            <a:r>
              <a:rPr lang="fr-FR" dirty="0"/>
              <a:t>:</a:t>
            </a:r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200" dirty="0"/>
              <a:t>EMEA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2200" dirty="0"/>
              <a:t>Enterprise account  : </a:t>
            </a:r>
            <a:r>
              <a:rPr lang="fr-FR" sz="2200" dirty="0">
                <a:hlinkClick r:id="rId10"/>
              </a:rPr>
              <a:t>supplier.enablement.emea@faurecia.com</a:t>
            </a:r>
            <a:endParaRPr lang="fr-FR" sz="2200" dirty="0"/>
          </a:p>
          <a:p>
            <a:pPr lvl="2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2200" dirty="0"/>
              <a:t>Standard account  :  </a:t>
            </a:r>
            <a:r>
              <a:rPr lang="fr-FR" sz="2200" dirty="0">
                <a:hlinkClick r:id="rId11"/>
              </a:rPr>
              <a:t>light.enablement.emea@faurecia.com</a:t>
            </a:r>
            <a:endParaRPr lang="fr-FR" sz="22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200" dirty="0"/>
              <a:t>North America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2200" dirty="0"/>
              <a:t>Enterprise accounts : </a:t>
            </a:r>
            <a:r>
              <a:rPr lang="en-US" sz="2200" u="sng" dirty="0">
                <a:hlinkClick r:id="rId12"/>
              </a:rPr>
              <a:t>full.enablement.nao@faurecia.com</a:t>
            </a:r>
            <a:r>
              <a:rPr lang="en-US" sz="2200" dirty="0"/>
              <a:t> </a:t>
            </a:r>
            <a:endParaRPr lang="fr-FR" sz="2200" dirty="0"/>
          </a:p>
          <a:p>
            <a:pPr lvl="2">
              <a:spcAft>
                <a:spcPts val="600"/>
              </a:spcAft>
              <a:buFont typeface="Wingdings" panose="05000000000000000000" pitchFamily="2" charset="2"/>
              <a:buChar char="§"/>
            </a:pPr>
            <a:r>
              <a:rPr lang="fr-FR" sz="2200" dirty="0"/>
              <a:t>Standard accounts :  </a:t>
            </a:r>
            <a:r>
              <a:rPr lang="en-US" sz="2200" dirty="0">
                <a:hlinkClick r:id="rId13"/>
              </a:rPr>
              <a:t>light</a:t>
            </a:r>
            <a:r>
              <a:rPr lang="en-US" sz="2200" u="sng" dirty="0">
                <a:hlinkClick r:id="rId13"/>
              </a:rPr>
              <a:t>.enablement.nao@faurecia.com</a:t>
            </a:r>
            <a:endParaRPr lang="fr-FR" sz="2200" dirty="0"/>
          </a:p>
          <a:p>
            <a:pPr lvl="1">
              <a:buFont typeface="Wingdings" panose="05000000000000000000" pitchFamily="2" charset="2"/>
              <a:buChar char="q"/>
            </a:pPr>
            <a:r>
              <a:rPr lang="fr-FR" sz="2200" dirty="0"/>
              <a:t>China:</a:t>
            </a:r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2200" dirty="0"/>
              <a:t>Enterprise accounts : </a:t>
            </a:r>
            <a:r>
              <a:rPr lang="en-US" sz="2200" u="sng" dirty="0">
                <a:solidFill>
                  <a:srgbClr val="1F497D"/>
                </a:solidFill>
                <a:ea typeface="DengXian"/>
                <a:hlinkClick r:id="rId14"/>
              </a:rPr>
              <a:t>supplier.enablement.asia@faurecia.com</a:t>
            </a:r>
            <a:endParaRPr lang="fr-FR" sz="2200" dirty="0"/>
          </a:p>
          <a:p>
            <a:pPr lvl="2">
              <a:buFont typeface="Wingdings" panose="05000000000000000000" pitchFamily="2" charset="2"/>
              <a:buChar char="§"/>
            </a:pPr>
            <a:r>
              <a:rPr lang="fr-FR" sz="2200" dirty="0"/>
              <a:t>Standard accounts :  </a:t>
            </a:r>
            <a:r>
              <a:rPr lang="en-US" sz="2200" u="sng" dirty="0">
                <a:solidFill>
                  <a:srgbClr val="1F497D"/>
                </a:solidFill>
                <a:ea typeface="DengXian"/>
                <a:hlinkClick r:id="rId15"/>
              </a:rPr>
              <a:t>light.enablement.asia@faurecia.com</a:t>
            </a:r>
            <a:endParaRPr lang="en-US" sz="2200" u="sng" dirty="0"/>
          </a:p>
          <a:p>
            <a:pPr lvl="2">
              <a:buFont typeface="Wingdings" panose="05000000000000000000" pitchFamily="2" charset="2"/>
              <a:buChar char="§"/>
            </a:pPr>
            <a:endParaRPr lang="fr-FR" sz="1733" dirty="0"/>
          </a:p>
          <a:p>
            <a:pPr lvl="2">
              <a:buFont typeface="Wingdings" panose="05000000000000000000" pitchFamily="2" charset="2"/>
              <a:buChar char="§"/>
            </a:pPr>
            <a:endParaRPr lang="fr-FR" sz="1733" dirty="0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71"/>
            <a:ext cx="12192000" cy="88092"/>
          </a:xfrm>
        </p:spPr>
        <p:txBody>
          <a:bodyPr/>
          <a:lstStyle/>
          <a:p>
            <a:pPr marL="0" marR="0" lvl="0" indent="0" algn="l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/>
              <a:t> </a:t>
            </a:r>
            <a:endParaRPr lang="fr-FR" dirty="0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35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33B3670-7CFA-4AE8-BD91-982E0BBFB5F8}" type="slidenum"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003684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pPr marL="0" marR="0" lvl="0" indent="0" algn="ctr" defTabSz="91435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srgbClr val="003684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sp>
        <p:nvSpPr>
          <p:cNvPr id="7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                        Ariba Support Access (3/3) </a:t>
            </a:r>
          </a:p>
        </p:txBody>
      </p:sp>
      <p:sp>
        <p:nvSpPr>
          <p:cNvPr id="8" name="Rectangle 7"/>
          <p:cNvSpPr/>
          <p:nvPr/>
        </p:nvSpPr>
        <p:spPr>
          <a:xfrm>
            <a:off x="1835153" y="242466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3</a:t>
            </a:r>
            <a:endParaRPr lang="en-US" sz="2400" dirty="0">
              <a:latin typeface="Century Gothic" panose="020B050202020202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722160838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-1" y="0"/>
            <a:ext cx="12192001" cy="68580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6" name="Image 5"/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02174" y="2626491"/>
            <a:ext cx="3387651" cy="1605019"/>
          </a:xfrm>
          <a:prstGeom prst="rect">
            <a:avLst/>
          </a:prstGeom>
        </p:spPr>
      </p:pic>
      <p:sp>
        <p:nvSpPr>
          <p:cNvPr id="2" name="Footer Placeholder 1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6"/>
            <a:ext cx="12192000" cy="88092"/>
          </a:xfrm>
        </p:spPr>
        <p:txBody>
          <a:bodyPr/>
          <a:lstStyle/>
          <a:p>
            <a:r>
              <a:rPr lang="en-US"/>
              <a:t> </a:t>
            </a:r>
            <a:endParaRPr lang="en-US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922709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0769" y="104508"/>
            <a:ext cx="8726759" cy="875204"/>
          </a:xfrm>
        </p:spPr>
        <p:txBody>
          <a:bodyPr/>
          <a:lstStyle/>
          <a:p>
            <a:r>
              <a:rPr lang="pt-PT" sz="1800" dirty="0"/>
              <a:t>        First Contact – The Supplier will receive an invitation from Faurecia (2)</a:t>
            </a:r>
            <a:br>
              <a:rPr lang="pt-PT" sz="1800" dirty="0"/>
            </a:br>
            <a:r>
              <a:rPr lang="pt-PT" sz="1800" dirty="0"/>
              <a:t>        Registration from a PO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>
                <a:solidFill>
                  <a:srgbClr val="003684"/>
                </a:solidFill>
              </a:rPr>
              <a:pPr/>
              <a:t>5</a:t>
            </a:fld>
            <a:endParaRPr lang="en-US" dirty="0">
              <a:solidFill>
                <a:srgbClr val="003684"/>
              </a:solidFill>
            </a:endParaRPr>
          </a:p>
        </p:txBody>
      </p:sp>
      <p:sp>
        <p:nvSpPr>
          <p:cNvPr id="10" name="Espace réservé du contenu 2"/>
          <p:cNvSpPr txBox="1">
            <a:spLocks/>
          </p:cNvSpPr>
          <p:nvPr/>
        </p:nvSpPr>
        <p:spPr>
          <a:xfrm>
            <a:off x="1734471" y="934698"/>
            <a:ext cx="8791763" cy="986252"/>
          </a:xfrm>
          <a:prstGeom prst="rect">
            <a:avLst/>
          </a:prstGeom>
        </p:spPr>
        <p:txBody>
          <a:bodyPr vert="horz" lIns="0" tIns="36000" rIns="0" bIns="36000" rtlCol="0">
            <a:normAutofit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Clr>
                <a:srgbClr val="FA0057"/>
              </a:buClr>
              <a:buNone/>
            </a:pPr>
            <a:endParaRPr lang="en-US" sz="1400" dirty="0">
              <a:solidFill>
                <a:srgbClr val="003684"/>
              </a:solidFill>
            </a:endParaRPr>
          </a:p>
          <a:p>
            <a:pPr>
              <a:buClr>
                <a:srgbClr val="FA0057"/>
              </a:buClr>
            </a:pPr>
            <a:r>
              <a:rPr lang="en-US" sz="1400" dirty="0">
                <a:solidFill>
                  <a:srgbClr val="003684"/>
                </a:solidFill>
              </a:rPr>
              <a:t>In the PO e-mail you receive, click “Process order”</a:t>
            </a:r>
          </a:p>
          <a:p>
            <a:pPr lvl="1">
              <a:buClr>
                <a:srgbClr val="003684"/>
              </a:buClr>
            </a:pPr>
            <a:r>
              <a:rPr lang="en-US" sz="1200" dirty="0">
                <a:solidFill>
                  <a:srgbClr val="003684"/>
                </a:solidFill>
              </a:rPr>
              <a:t>Registration only works by invitation from Faurecia </a:t>
            </a:r>
            <a:endParaRPr lang="en-US" sz="1400" dirty="0">
              <a:solidFill>
                <a:srgbClr val="003684"/>
              </a:solidFill>
            </a:endParaRPr>
          </a:p>
          <a:p>
            <a:pPr marL="457189" lvl="1" indent="0">
              <a:buClr>
                <a:srgbClr val="003684"/>
              </a:buClr>
              <a:buNone/>
            </a:pPr>
            <a:endParaRPr lang="en-US" sz="1200" dirty="0">
              <a:solidFill>
                <a:srgbClr val="003684"/>
              </a:solidFill>
            </a:endParaRPr>
          </a:p>
          <a:p>
            <a:pPr lvl="1">
              <a:buClr>
                <a:srgbClr val="003684"/>
              </a:buClr>
            </a:pPr>
            <a:endParaRPr lang="en-US" sz="1200" dirty="0">
              <a:solidFill>
                <a:srgbClr val="003684"/>
              </a:solidFill>
            </a:endParaRP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13" name="Content Placeholder 12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1326" y="2189807"/>
            <a:ext cx="9125643" cy="3622659"/>
          </a:xfrm>
        </p:spPr>
      </p:pic>
      <p:sp>
        <p:nvSpPr>
          <p:cNvPr id="14" name="Rounded Rectangle 13"/>
          <p:cNvSpPr/>
          <p:nvPr/>
        </p:nvSpPr>
        <p:spPr>
          <a:xfrm>
            <a:off x="5224130" y="4791740"/>
            <a:ext cx="1828800" cy="588334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3" name="Rounded Rectangle 2"/>
          <p:cNvSpPr/>
          <p:nvPr/>
        </p:nvSpPr>
        <p:spPr>
          <a:xfrm>
            <a:off x="2105831" y="3664689"/>
            <a:ext cx="1154821" cy="120503"/>
          </a:xfrm>
          <a:prstGeom prst="round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98D3F14-86B2-489E-ABB1-3F971A95758A}"/>
              </a:ext>
            </a:extLst>
          </p:cNvPr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E51D9A4-EEDA-4D17-B025-8A25B6E83300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359102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45084" y="103698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Registration</a:t>
            </a:r>
            <a:r>
              <a:rPr lang="pt-PT" dirty="0"/>
              <a:t> - Step 1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501957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 noProof="0" smtClean="0"/>
              <a:pPr/>
              <a:t>6</a:t>
            </a:fld>
            <a:endParaRPr lang="en-US" noProof="0" dirty="0"/>
          </a:p>
        </p:txBody>
      </p:sp>
      <p:pic>
        <p:nvPicPr>
          <p:cNvPr id="8" name="Content Placeholder 7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8928" y="2430202"/>
            <a:ext cx="9119073" cy="3339734"/>
          </a:xfrm>
        </p:spPr>
      </p:pic>
      <p:sp>
        <p:nvSpPr>
          <p:cNvPr id="9" name="Espace réservé du contenu 2"/>
          <p:cNvSpPr txBox="1">
            <a:spLocks/>
          </p:cNvSpPr>
          <p:nvPr/>
        </p:nvSpPr>
        <p:spPr>
          <a:xfrm>
            <a:off x="1739205" y="1023389"/>
            <a:ext cx="8723057" cy="966610"/>
          </a:xfrm>
          <a:prstGeom prst="rect">
            <a:avLst/>
          </a:prstGeom>
        </p:spPr>
        <p:txBody>
          <a:bodyPr vert="horz" lIns="0" tIns="36000" rIns="0" bIns="36000" rtlCol="0">
            <a:normAutofit fontScale="85000" lnSpcReduction="1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700" dirty="0"/>
              <a:t>It will direct you to the Ariba Network connection page</a:t>
            </a:r>
          </a:p>
          <a:p>
            <a:r>
              <a:rPr lang="en-US" sz="1700" dirty="0"/>
              <a:t>Click the “Sign up” button if you </a:t>
            </a:r>
            <a:r>
              <a:rPr lang="en-US" sz="1700" u="sng" dirty="0"/>
              <a:t>don’t have</a:t>
            </a:r>
            <a:r>
              <a:rPr lang="en-US" sz="1700" dirty="0"/>
              <a:t> an Ariba Account</a:t>
            </a:r>
          </a:p>
          <a:p>
            <a:r>
              <a:rPr lang="en-US" sz="1700" dirty="0"/>
              <a:t>Click “Log in” if you </a:t>
            </a:r>
            <a:r>
              <a:rPr lang="en-US" sz="1700" u="sng" dirty="0"/>
              <a:t>already have</a:t>
            </a:r>
            <a:r>
              <a:rPr lang="en-US" sz="1700" dirty="0"/>
              <a:t> one</a:t>
            </a:r>
          </a:p>
          <a:p>
            <a:pPr marL="914377" lvl="2" indent="0">
              <a:buNone/>
            </a:pPr>
            <a:endParaRPr lang="en-US" sz="1800" dirty="0"/>
          </a:p>
        </p:txBody>
      </p:sp>
      <p:sp>
        <p:nvSpPr>
          <p:cNvPr id="3" name="Rounded Rectangle 2"/>
          <p:cNvSpPr/>
          <p:nvPr/>
        </p:nvSpPr>
        <p:spPr>
          <a:xfrm>
            <a:off x="5648548" y="2951025"/>
            <a:ext cx="894905" cy="388411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0" name="Rounded Rectangle 9"/>
          <p:cNvSpPr/>
          <p:nvPr/>
        </p:nvSpPr>
        <p:spPr>
          <a:xfrm>
            <a:off x="6593958" y="3339436"/>
            <a:ext cx="345558" cy="191385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6" name="TextBox 5"/>
          <p:cNvSpPr txBox="1"/>
          <p:nvPr/>
        </p:nvSpPr>
        <p:spPr>
          <a:xfrm>
            <a:off x="5337101" y="2951024"/>
            <a:ext cx="22682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sz="2000" b="1" dirty="0">
                <a:solidFill>
                  <a:srgbClr val="FF0000"/>
                </a:solidFill>
              </a:rPr>
              <a:t>1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6939516" y="3250461"/>
            <a:ext cx="22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</a:rPr>
              <a:t>2</a:t>
            </a:r>
          </a:p>
        </p:txBody>
      </p:sp>
      <p:sp>
        <p:nvSpPr>
          <p:cNvPr id="7" name="Rounded Rectangle 6"/>
          <p:cNvSpPr/>
          <p:nvPr/>
        </p:nvSpPr>
        <p:spPr>
          <a:xfrm>
            <a:off x="4373527" y="5082364"/>
            <a:ext cx="3452037" cy="290623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12" name="Rectangle 11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1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45B5ECC-9C00-46E7-8BD2-2728D528FEC2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45002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105079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Registration</a:t>
            </a:r>
            <a:r>
              <a:rPr lang="pt-PT" dirty="0"/>
              <a:t> - Step 2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>
                <a:solidFill>
                  <a:srgbClr val="003684"/>
                </a:solidFill>
              </a:rPr>
              <a:pPr/>
              <a:t>7</a:t>
            </a:fld>
            <a:endParaRPr lang="en-US" dirty="0">
              <a:solidFill>
                <a:srgbClr val="003684"/>
              </a:solidFill>
            </a:endParaRPr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1"/>
            <a:ext cx="8723057" cy="1194098"/>
          </a:xfrm>
          <a:prstGeom prst="rect">
            <a:avLst/>
          </a:prstGeom>
        </p:spPr>
        <p:txBody>
          <a:bodyPr vert="horz" lIns="0" tIns="36000" rIns="0" bIns="36000" rtlCol="0">
            <a:normAutofit fontScale="47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lang="en-US" sz="2500" dirty="0">
                <a:solidFill>
                  <a:srgbClr val="003684"/>
                </a:solidFill>
              </a:rPr>
              <a:t>You will be directed to the registration page</a:t>
            </a:r>
          </a:p>
          <a:p>
            <a:pPr>
              <a:buClr>
                <a:srgbClr val="FA0057"/>
              </a:buClr>
            </a:pPr>
            <a:r>
              <a:rPr lang="en-US" sz="2500" dirty="0">
                <a:solidFill>
                  <a:srgbClr val="003684"/>
                </a:solidFill>
              </a:rPr>
              <a:t>Fill in all the required fields with your information </a:t>
            </a:r>
          </a:p>
          <a:p>
            <a:pPr>
              <a:buClr>
                <a:srgbClr val="FA0057"/>
              </a:buClr>
            </a:pPr>
            <a:r>
              <a:rPr lang="en-US" sz="2500" dirty="0">
                <a:solidFill>
                  <a:srgbClr val="003684"/>
                </a:solidFill>
              </a:rPr>
              <a:t>Agree with the “Terms of use” and “SAP Ariba Privacy Statement” </a:t>
            </a:r>
          </a:p>
          <a:p>
            <a:pPr>
              <a:buClr>
                <a:srgbClr val="FA0057"/>
              </a:buClr>
            </a:pPr>
            <a:r>
              <a:rPr lang="en-US" sz="2500" dirty="0">
                <a:solidFill>
                  <a:srgbClr val="003684"/>
                </a:solidFill>
              </a:rPr>
              <a:t>Finalize by clicking “Register”</a:t>
            </a: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10" name="Content Placeholder 9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9686" y="1942618"/>
            <a:ext cx="3000071" cy="4129683"/>
          </a:xfrm>
        </p:spPr>
      </p:pic>
      <p:sp>
        <p:nvSpPr>
          <p:cNvPr id="12" name="Rounded Rectangle 11"/>
          <p:cNvSpPr/>
          <p:nvPr/>
        </p:nvSpPr>
        <p:spPr>
          <a:xfrm>
            <a:off x="8449341" y="1873369"/>
            <a:ext cx="737189" cy="352381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72892" y="1891041"/>
            <a:ext cx="22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  <a:latin typeface="Calibri" panose="020F0502020204030204"/>
              </a:rPr>
              <a:t>2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792642" y="6125536"/>
            <a:ext cx="22682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PT" b="1" dirty="0">
                <a:solidFill>
                  <a:srgbClr val="FF0000"/>
                </a:solidFill>
                <a:latin typeface="Calibri" panose="020F0502020204030204"/>
              </a:rPr>
              <a:t>1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427" y="2382197"/>
            <a:ext cx="3855075" cy="4078048"/>
          </a:xfrm>
          <a:prstGeom prst="rect">
            <a:avLst/>
          </a:prstGeom>
        </p:spPr>
      </p:pic>
      <p:sp>
        <p:nvSpPr>
          <p:cNvPr id="8" name="Rounded Rectangle 7"/>
          <p:cNvSpPr/>
          <p:nvPr/>
        </p:nvSpPr>
        <p:spPr>
          <a:xfrm>
            <a:off x="2068426" y="6106824"/>
            <a:ext cx="2163332" cy="388046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9" name="Right Arrow 8"/>
          <p:cNvSpPr/>
          <p:nvPr/>
        </p:nvSpPr>
        <p:spPr>
          <a:xfrm>
            <a:off x="3150092" y="3552664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6" name="Right Arrow 15"/>
          <p:cNvSpPr/>
          <p:nvPr/>
        </p:nvSpPr>
        <p:spPr>
          <a:xfrm>
            <a:off x="3150092" y="3779301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7" name="Right Arrow 16"/>
          <p:cNvSpPr/>
          <p:nvPr/>
        </p:nvSpPr>
        <p:spPr>
          <a:xfrm>
            <a:off x="3304609" y="2939575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8" name="Right Arrow 17"/>
          <p:cNvSpPr/>
          <p:nvPr/>
        </p:nvSpPr>
        <p:spPr>
          <a:xfrm>
            <a:off x="3304609" y="3144560"/>
            <a:ext cx="309034" cy="144427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9" name="Right Arrow 18"/>
          <p:cNvSpPr/>
          <p:nvPr/>
        </p:nvSpPr>
        <p:spPr>
          <a:xfrm>
            <a:off x="3052972" y="4601797"/>
            <a:ext cx="309034" cy="140379"/>
          </a:xfrm>
          <a:prstGeom prst="rightArrow">
            <a:avLst/>
          </a:prstGeom>
          <a:solidFill>
            <a:srgbClr val="FA0057"/>
          </a:solidFill>
          <a:ln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solidFill>
                  <a:srgbClr val="FFFFFF"/>
                </a:solidFill>
                <a:latin typeface="Century Gothic" panose="020B0502020202020204" pitchFamily="34" charset="0"/>
              </a:rPr>
              <a:t>1</a:t>
            </a:r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9F9F5F7E-DFDF-46F2-9A8D-B6FDF7DF0A64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5767145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104508"/>
            <a:ext cx="8726759" cy="875204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Registration</a:t>
            </a:r>
            <a:r>
              <a:rPr lang="pt-PT" dirty="0"/>
              <a:t> - Step 3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33B3670-7CFA-4AE8-BD91-982E0BBFB5F8}" type="slidenum">
              <a:rPr lang="en-US">
                <a:solidFill>
                  <a:srgbClr val="003684"/>
                </a:solidFill>
              </a:rPr>
              <a:pPr/>
              <a:t>8</a:t>
            </a:fld>
            <a:endParaRPr lang="en-US" dirty="0">
              <a:solidFill>
                <a:srgbClr val="003684"/>
              </a:solidFill>
            </a:endParaRPr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1031652"/>
            <a:ext cx="8723057" cy="605419"/>
          </a:xfrm>
          <a:prstGeom prst="rect">
            <a:avLst/>
          </a:prstGeom>
        </p:spPr>
        <p:txBody>
          <a:bodyPr vert="horz" lIns="0" tIns="36000" rIns="0" bIns="36000" rtlCol="0">
            <a:normAutofit fontScale="77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>
                <a:srgbClr val="FA0057"/>
              </a:buClr>
            </a:pPr>
            <a:r>
              <a:rPr lang="en-US" sz="1800" dirty="0">
                <a:solidFill>
                  <a:srgbClr val="003684"/>
                </a:solidFill>
              </a:rPr>
              <a:t>You will be redirected to the PO </a:t>
            </a:r>
          </a:p>
          <a:p>
            <a:pPr>
              <a:buClr>
                <a:srgbClr val="FA0057"/>
              </a:buClr>
            </a:pPr>
            <a:r>
              <a:rPr lang="en-US" sz="1800" dirty="0">
                <a:solidFill>
                  <a:srgbClr val="003684"/>
                </a:solidFill>
              </a:rPr>
              <a:t>Click “Done” when finished</a:t>
            </a:r>
          </a:p>
          <a:p>
            <a:pPr marL="0" indent="0">
              <a:buClr>
                <a:srgbClr val="FA0057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  <a:p>
            <a:pPr marL="914377" lvl="2" indent="0">
              <a:buClr>
                <a:srgbClr val="003684"/>
              </a:buClr>
              <a:buNone/>
            </a:pPr>
            <a:endParaRPr lang="en-US" sz="1800" dirty="0">
              <a:solidFill>
                <a:srgbClr val="003684"/>
              </a:solidFill>
            </a:endParaRP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55543" y="2152946"/>
            <a:ext cx="7070837" cy="3982078"/>
          </a:xfr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2123" y="2083545"/>
            <a:ext cx="1810003" cy="533474"/>
          </a:xfrm>
          <a:prstGeom prst="rect">
            <a:avLst/>
          </a:prstGeom>
        </p:spPr>
      </p:pic>
      <p:sp>
        <p:nvSpPr>
          <p:cNvPr id="13" name="Rounded Rectangle 12"/>
          <p:cNvSpPr/>
          <p:nvPr/>
        </p:nvSpPr>
        <p:spPr>
          <a:xfrm>
            <a:off x="7973105" y="1980687"/>
            <a:ext cx="1928037" cy="739191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10" name="Rectangle 9"/>
          <p:cNvSpPr/>
          <p:nvPr/>
        </p:nvSpPr>
        <p:spPr>
          <a:xfrm>
            <a:off x="861338" y="2083545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solidFill>
                  <a:srgbClr val="FFFFFF"/>
                </a:solidFill>
                <a:latin typeface="Century Gothic" panose="020B0502020202020204" pitchFamily="34" charset="0"/>
              </a:rPr>
              <a:t>1</a:t>
            </a:r>
            <a:endParaRPr lang="en-US" sz="2400" dirty="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F6490F84-B2E8-4B2F-8090-2AB9E6B91DF1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9194582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9205" y="189569"/>
            <a:ext cx="8726759" cy="705083"/>
          </a:xfrm>
        </p:spPr>
        <p:txBody>
          <a:bodyPr/>
          <a:lstStyle/>
          <a:p>
            <a:r>
              <a:rPr lang="pt-PT" dirty="0"/>
              <a:t>      </a:t>
            </a:r>
            <a:r>
              <a:rPr lang="pt-PT" dirty="0" err="1"/>
              <a:t>Registration</a:t>
            </a:r>
            <a:r>
              <a:rPr lang="pt-PT" dirty="0"/>
              <a:t> - Step 4</a:t>
            </a:r>
          </a:p>
        </p:txBody>
      </p:sp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68278" y="1814623"/>
            <a:ext cx="5255441" cy="4891448"/>
          </a:xfrm>
        </p:spPr>
      </p:pic>
      <p:sp>
        <p:nvSpPr>
          <p:cNvPr id="4" name="Footer Placeholder 3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0" y="6494869"/>
            <a:ext cx="12192000" cy="88092"/>
          </a:xfrm>
        </p:spPr>
        <p:txBody>
          <a:bodyPr/>
          <a:lstStyle/>
          <a:p>
            <a:r>
              <a:rPr lang="pt-PT"/>
              <a:t> 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5972456" y="6510257"/>
            <a:ext cx="247087" cy="195814"/>
          </a:xfrm>
        </p:spPr>
        <p:txBody>
          <a:bodyPr/>
          <a:lstStyle/>
          <a:p>
            <a:fld id="{233B3670-7CFA-4AE8-BD91-982E0BBFB5F8}" type="slidenum">
              <a:rPr lang="en-US" sz="800"/>
              <a:pPr/>
              <a:t>9</a:t>
            </a:fld>
            <a:endParaRPr lang="en-US" sz="800" dirty="0"/>
          </a:p>
        </p:txBody>
      </p:sp>
      <p:sp>
        <p:nvSpPr>
          <p:cNvPr id="7" name="Espace réservé du contenu 2"/>
          <p:cNvSpPr txBox="1">
            <a:spLocks/>
          </p:cNvSpPr>
          <p:nvPr/>
        </p:nvSpPr>
        <p:spPr>
          <a:xfrm>
            <a:off x="1739205" y="974795"/>
            <a:ext cx="8723057" cy="837285"/>
          </a:xfrm>
          <a:prstGeom prst="rect">
            <a:avLst/>
          </a:prstGeom>
        </p:spPr>
        <p:txBody>
          <a:bodyPr vert="horz" lIns="0" tIns="36000" rIns="0" bIns="36000" rtlCol="0">
            <a:normAutofit fontScale="62500" lnSpcReduction="20000"/>
          </a:bodyPr>
          <a:lstStyle>
            <a:lvl1pPr marL="228594" indent="-228594" algn="l" defTabSz="914377" rtl="0" eaLnBrk="1" latinLnBrk="0" hangingPunct="1">
              <a:lnSpc>
                <a:spcPct val="110000"/>
              </a:lnSpc>
              <a:spcBef>
                <a:spcPts val="1000"/>
              </a:spcBef>
              <a:buClr>
                <a:schemeClr val="bg2"/>
              </a:buClr>
              <a:buSzPct val="80000"/>
              <a:buFont typeface="Wingdings" panose="05000000000000000000" pitchFamily="2" charset="2"/>
              <a:buChar char="n"/>
              <a:defRPr lang="en-US" sz="2000" b="1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SzPct val="60000"/>
              <a:buFont typeface="Wingdings" panose="05000000000000000000" pitchFamily="2" charset="2"/>
              <a:buChar char="n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Clr>
                <a:schemeClr val="tx1"/>
              </a:buClr>
              <a:buFont typeface="Century Gothic" panose="020B0502020202020204" pitchFamily="34" charset="0"/>
              <a:buChar char="−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110000"/>
              </a:lnSpc>
              <a:spcBef>
                <a:spcPts val="500"/>
              </a:spcBef>
              <a:buFont typeface="Century Gothic" panose="020B0502020202020204" pitchFamily="34" charset="0"/>
              <a:buChar char="-"/>
              <a:defRPr lang="fr-FR" sz="2000" kern="1200">
                <a:solidFill>
                  <a:schemeClr val="tx1"/>
                </a:solidFill>
                <a:latin typeface="Century Gothic" panose="020B0502020202020204" pitchFamily="34" charset="0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800" dirty="0"/>
              <a:t>You will be directed to this configuration page </a:t>
            </a:r>
          </a:p>
          <a:p>
            <a:r>
              <a:rPr lang="en-US" sz="1800" dirty="0"/>
              <a:t>Select one option </a:t>
            </a:r>
          </a:p>
          <a:p>
            <a:r>
              <a:rPr lang="en-US" sz="1800" dirty="0"/>
              <a:t>Click “Continue to the Ariba Network” to finalize</a:t>
            </a:r>
          </a:p>
          <a:p>
            <a:endParaRPr lang="en-US" sz="1800" dirty="0"/>
          </a:p>
          <a:p>
            <a:endParaRPr lang="en-US" sz="1800" dirty="0"/>
          </a:p>
          <a:p>
            <a:pPr marL="914377" lvl="2" indent="0">
              <a:buNone/>
            </a:pPr>
            <a:endParaRPr lang="en-US" sz="1800" dirty="0"/>
          </a:p>
        </p:txBody>
      </p:sp>
      <p:sp>
        <p:nvSpPr>
          <p:cNvPr id="3" name="Rounded Rectangle 2"/>
          <p:cNvSpPr/>
          <p:nvPr/>
        </p:nvSpPr>
        <p:spPr>
          <a:xfrm>
            <a:off x="3693041" y="6310336"/>
            <a:ext cx="1651590" cy="324380"/>
          </a:xfrm>
          <a:prstGeom prst="roundRect">
            <a:avLst/>
          </a:prstGeom>
          <a:noFill/>
          <a:ln w="28575">
            <a:solidFill>
              <a:srgbClr val="FA005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PT"/>
          </a:p>
        </p:txBody>
      </p:sp>
      <p:sp>
        <p:nvSpPr>
          <p:cNvPr id="8" name="Rectangle 7"/>
          <p:cNvSpPr/>
          <p:nvPr/>
        </p:nvSpPr>
        <p:spPr>
          <a:xfrm>
            <a:off x="1730768" y="346972"/>
            <a:ext cx="375062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algn="ctr"/>
            <a:r>
              <a:rPr lang="fr-FR" sz="2400" dirty="0">
                <a:latin typeface="Century Gothic" panose="020B0502020202020204" pitchFamily="34" charset="0"/>
              </a:rPr>
              <a:t>1</a:t>
            </a:r>
            <a:endParaRPr lang="en-US" sz="2400" dirty="0">
              <a:latin typeface="Century Gothic" panose="020B050202020202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70F8432-AC64-49AF-9977-C58843233389}"/>
              </a:ext>
            </a:extLst>
          </p:cNvPr>
          <p:cNvSpPr/>
          <p:nvPr/>
        </p:nvSpPr>
        <p:spPr>
          <a:xfrm>
            <a:off x="1457325" y="346972"/>
            <a:ext cx="648505" cy="390276"/>
          </a:xfrm>
          <a:prstGeom prst="rect">
            <a:avLst/>
          </a:prstGeom>
          <a:solidFill>
            <a:schemeClr val="bg2"/>
          </a:solidFill>
          <a:ln w="952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A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9019985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CONTAIN_GUIDS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0e1a43a7-cb0e-4ee7-acc4-b1b27d219bd5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3f93014e-5964-4931-a93a-19e38d2c3d11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ce87ecac-6953-4838-9df4-f4c6c94a6a2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ef91d87-43e5-46fc-81a2-740b608a356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e10ff017-9a6b-4041-b915-038fe87de5d9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48f60164-8d79-445f-9b90-700b2a4b0c30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ceff3fa7-c2a5-4c6e-92a7-086cda33252c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ae01d452-fe53-4cc3-960c-decb95b9b541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a7261956-6f7e-443c-bb96-36453889f202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ceda565-b238-437b-abc9-c8ff21b2c78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45188f88-2a2f-4632-918c-76529211406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bf314a08-ba31-479a-b941-8d57bdc0a801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253c87c1-dd76-4a88-8680-3637dfd39199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7556585d-d754-49e7-823e-96ca50d1cab2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20ecc37a-f15a-4397-9d95-ea3c2fad8d11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0be0ebe5-e788-48f6-a32e-49fd488f038f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b605719b-43ab-4962-a431-7722bed44065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9114b657-82f3-470e-a059-546ce5cd3709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a402bcf4-a0ec-4b9a-9b13-9d306e404abc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1b451091-4e00-4bb0-8f46-5e3c9e401289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043cd291-0407-4386-811d-ca5e5e360ba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c0059220-ccfa-4df7-8bec-b8178a68ef8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9a32b645-12a6-471e-b164-c848dc0dde47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4261a0c7-6b0c-4baa-a64c-08ab8ae6b3eb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5ce7210a-cd61-4e0c-b06f-c0143bc8df2b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a33bad8e-3815-4146-8adb-04db913d48a5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ec98dee-3175-4a16-bf4b-63577291377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e646577c-e21f-46ab-b5de-bf7b8f339510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d30d3b33-4935-4d0f-b997-abf79f21aec0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f33a790f-a344-4766-a2ec-a58ef31172d9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b26b3a8a-dc47-4dd6-ae6d-62433d0a1b7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1e2b9728-f6c2-49f4-b9a9-25517345f101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1a7a1e85-ed09-4c23-bdcc-7291cff4de89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   Classification\_- FAURECIA - CONFIDENTIAL&#10;    Classification Date - 10/07/2019 13:54:50&#10;zeW3484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cc199173-6b91-4646-b2d1-2b7c3cdc8bd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6baf7269-0641-415e-84c6-0882fafa403f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ddaee6ee-41da-43ac-aa24-3d934e130363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2289639f-f4c1-49b5-9a99-78dbfb395e8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42e3e61-e573-49ea-904f-0881266c59d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8f7049f7-4ee8-4922-9e7d-4c56fa2470df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0oQZuRQP2b_bGtvLTx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6f0ec236-fb1d-4745-a7ca-58a1718670df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d1964307-d50c-44a0-b1ee-a18c3be2fc31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JHEADERFOOTERLABEL" val="TRUE"/>
  <p:tag name="BJHEADERFOOTERTEXTLABEL" val=" 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FFISYNC_SLIDE_GUID" val="cbbb28ad-ea04-45b0-93b5-af8d1ed717cd"/>
</p:tagLst>
</file>

<file path=ppt/theme/theme1.xml><?xml version="1.0" encoding="utf-8"?>
<a:theme xmlns:a="http://schemas.openxmlformats.org/drawingml/2006/main" name="Thème Office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 Faurecia 16 9" id="{67B83508-CE4C-4DAB-977C-C26AA8AC04A2}" vid="{65F73C8D-6E62-48A0-9EA2-AF8E234318F6}"/>
    </a:ext>
  </a:extLst>
</a:theme>
</file>

<file path=ppt/theme/theme10.xml><?xml version="1.0" encoding="utf-8"?>
<a:theme xmlns:a="http://schemas.openxmlformats.org/drawingml/2006/main" name="6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11.xml><?xml version="1.0" encoding="utf-8"?>
<a:theme xmlns:a="http://schemas.openxmlformats.org/drawingml/2006/main" name="7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1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Thème Office">
  <a:themeElements>
    <a:clrScheme name="Custom 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CB442E94-4E88-49AC-AF98-421E90B7742B}" vid="{C315F0DA-9BAF-474A-9635-0FAD0411DDBE}"/>
    </a:ext>
  </a:extLst>
</a:theme>
</file>

<file path=ppt/theme/theme3.xml><?xml version="1.0" encoding="utf-8"?>
<a:theme xmlns:a="http://schemas.openxmlformats.org/drawingml/2006/main" name="Thème1 faurecia fcm">
  <a:themeElements>
    <a:clrScheme name="Personnalisé 1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A0057"/>
      </a:hlink>
      <a:folHlink>
        <a:srgbClr val="FA005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4.xml><?xml version="1.0" encoding="utf-8"?>
<a:theme xmlns:a="http://schemas.openxmlformats.org/drawingml/2006/main" name="3_Thème Office">
  <a:themeElements>
    <a:clrScheme name="Custom 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ésentation1" id="{CB442E94-4E88-49AC-AF98-421E90B7742B}" vid="{C315F0DA-9BAF-474A-9635-0FAD0411DDBE}"/>
    </a:ext>
  </a:extLst>
</a:theme>
</file>

<file path=ppt/theme/theme5.xml><?xml version="1.0" encoding="utf-8"?>
<a:theme xmlns:a="http://schemas.openxmlformats.org/drawingml/2006/main" name="1_Thème1 faurecia fcm">
  <a:themeElements>
    <a:clrScheme name="Personnalisé 13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A0057"/>
      </a:hlink>
      <a:folHlink>
        <a:srgbClr val="FA0057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6.xml><?xml version="1.0" encoding="utf-8"?>
<a:theme xmlns:a="http://schemas.openxmlformats.org/drawingml/2006/main" name="2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7.xml><?xml version="1.0" encoding="utf-8"?>
<a:theme xmlns:a="http://schemas.openxmlformats.org/drawingml/2006/main" name="3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8.xml><?xml version="1.0" encoding="utf-8"?>
<a:theme xmlns:a="http://schemas.openxmlformats.org/drawingml/2006/main" name="4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ppt/theme/theme9.xml><?xml version="1.0" encoding="utf-8"?>
<a:theme xmlns:a="http://schemas.openxmlformats.org/drawingml/2006/main" name="5_Thème1 faurecia fcm">
  <a:themeElements>
    <a:clrScheme name="Custom 1">
      <a:dk1>
        <a:srgbClr val="003684"/>
      </a:dk1>
      <a:lt1>
        <a:srgbClr val="FFFFFF"/>
      </a:lt1>
      <a:dk2>
        <a:srgbClr val="575756"/>
      </a:dk2>
      <a:lt2>
        <a:srgbClr val="FA0057"/>
      </a:lt2>
      <a:accent1>
        <a:srgbClr val="00AAA8"/>
      </a:accent1>
      <a:accent2>
        <a:srgbClr val="FFCC00"/>
      </a:accent2>
      <a:accent3>
        <a:srgbClr val="CF122E"/>
      </a:accent3>
      <a:accent4>
        <a:srgbClr val="458AC9"/>
      </a:accent4>
      <a:accent5>
        <a:srgbClr val="B4DEDF"/>
      </a:accent5>
      <a:accent6>
        <a:srgbClr val="FFF29A"/>
      </a:accent6>
      <a:hlink>
        <a:srgbClr val="F1896E"/>
      </a:hlink>
      <a:folHlink>
        <a:srgbClr val="AEC9E8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dirty="0" err="1" smtClean="0">
            <a:latin typeface="Century Gothic" panose="020B0502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E4436B-AB60-4D6C-A8A5-65883639851A}" vid="{24B52840-B413-4627-92A3-498067993D3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FD93998378FCC4EA07AF806DBCFE58E" ma:contentTypeVersion="0" ma:contentTypeDescription="Create a new document." ma:contentTypeScope="" ma:versionID="b1fac9e65e2438e6547b8526e7d37a5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sisl xmlns:xsi="http://www.w3.org/2001/XMLSchema-instance" xmlns:xsd="http://www.w3.org/2001/XMLSchema" xmlns="http://www.boldonjames.com/2008/01/sie/internal/label" sislVersion="0" policy="2152ec2e-c0c1-4834-9aa1-dc782ab0e2aa" origin="userSelected">
  <element uid="67e66f8d-4e76-4fdc-a7a1-b421fe54f86a" value=""/>
</sisl>
</file>

<file path=customXml/itemProps1.xml><?xml version="1.0" encoding="utf-8"?>
<ds:datastoreItem xmlns:ds="http://schemas.openxmlformats.org/officeDocument/2006/customXml" ds:itemID="{6332990A-B764-4653-AD65-C9B5F02A4E2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B36704D8-C03F-4668-8E23-C219D6912983}">
  <ds:schemaRefs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8C8D8E1A-3DD6-429E-9694-8170A4A89514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DE41F3B3-D5D4-49FA-B80E-70138C2BB9C6}">
  <ds:schemaRefs>
    <ds:schemaRef ds:uri="http://www.w3.org/2001/XMLSchema"/>
    <ds:schemaRef ds:uri="http://www.boldonjames.com/2008/01/sie/internal/label"/>
  </ds:schemaRefs>
</ds:datastoreItem>
</file>

<file path=docProps/CustomMKOP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KProdID">
    <vt:lpwstr>ZMOutlook</vt:lpwstr>
  </property>
  <property fmtid="{D5CDD505-2E9C-101B-9397-08002B2CF9AE}" pid="3" name="SizeBefore">
    <vt:lpwstr>6065649</vt:lpwstr>
  </property>
  <property fmtid="{D5CDD505-2E9C-101B-9397-08002B2CF9AE}" pid="4" name="OptimizationTime">
    <vt:lpwstr>20201102_1312</vt:lpwstr>
  </property>
</Properties>
</file>

<file path=docProps/app.xml><?xml version="1.0" encoding="utf-8"?>
<Properties xmlns="http://schemas.openxmlformats.org/officeDocument/2006/extended-properties" xmlns:vt="http://schemas.openxmlformats.org/officeDocument/2006/docPropsVTypes">
  <Template>Template Faurecia 16 9</Template>
  <TotalTime>8084</TotalTime>
  <Words>1558</Words>
  <Application>Microsoft Office PowerPoint</Application>
  <PresentationFormat>Grand écran</PresentationFormat>
  <Paragraphs>434</Paragraphs>
  <Slides>42</Slides>
  <Notes>42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42</vt:i4>
      </vt:variant>
    </vt:vector>
  </HeadingPairs>
  <TitlesOfParts>
    <vt:vector size="60" baseType="lpstr">
      <vt:lpstr>Arial</vt:lpstr>
      <vt:lpstr>Calibri</vt:lpstr>
      <vt:lpstr>Century Gothic</vt:lpstr>
      <vt:lpstr>Times New Roman</vt:lpstr>
      <vt:lpstr>Verdana</vt:lpstr>
      <vt:lpstr>Wingdings</vt:lpstr>
      <vt:lpstr>Thème Office</vt:lpstr>
      <vt:lpstr>2_Thème Office</vt:lpstr>
      <vt:lpstr>Thème1 faurecia fcm</vt:lpstr>
      <vt:lpstr>3_Thème Office</vt:lpstr>
      <vt:lpstr>1_Thème1 faurecia fcm</vt:lpstr>
      <vt:lpstr>2_Thème1 faurecia fcm</vt:lpstr>
      <vt:lpstr>3_Thème1 faurecia fcm</vt:lpstr>
      <vt:lpstr>4_Thème1 faurecia fcm</vt:lpstr>
      <vt:lpstr>5_Thème1 faurecia fcm</vt:lpstr>
      <vt:lpstr>6_Thème1 faurecia fcm</vt:lpstr>
      <vt:lpstr>7_Thème1 faurecia fcm</vt:lpstr>
      <vt:lpstr>think-cell Slide</vt:lpstr>
      <vt:lpstr>How to:  Steps for Registering and interact with Ariba                       </vt:lpstr>
      <vt:lpstr>Summary</vt:lpstr>
      <vt:lpstr>        First Contact – The Supplier will receive an invitation from Faurecia         Different channels of Invitation - Registration</vt:lpstr>
      <vt:lpstr>        First Contact – The Supplier will receive an invitation from Faurecia         Registration  from a PO </vt:lpstr>
      <vt:lpstr>        First Contact – The Supplier will receive an invitation from Faurecia (2)         Registration from a PO </vt:lpstr>
      <vt:lpstr>      Registration - Step 1</vt:lpstr>
      <vt:lpstr>      Registration - Step 2</vt:lpstr>
      <vt:lpstr>      Registration - Step 3</vt:lpstr>
      <vt:lpstr>      Registration - Step 4</vt:lpstr>
      <vt:lpstr>       Registration - Step 5</vt:lpstr>
      <vt:lpstr>      Registration - Step 6</vt:lpstr>
      <vt:lpstr> Registration Complete!</vt:lpstr>
      <vt:lpstr>        First Contact – The Supplier will receive an invitation from Faurecia         Registration from a Buyer Invitation  </vt:lpstr>
      <vt:lpstr>                 Registration - Step 1</vt:lpstr>
      <vt:lpstr>                 Registration - Step 2                  Once clicked on “Register” button     </vt:lpstr>
      <vt:lpstr>                 Registration - Step 3                       </vt:lpstr>
      <vt:lpstr>                 Registration - Step 4                       </vt:lpstr>
      <vt:lpstr>Registration - Step 5                       </vt:lpstr>
      <vt:lpstr>Registration - Step 5                       </vt:lpstr>
      <vt:lpstr>Registration - Step 6                       </vt:lpstr>
      <vt:lpstr>Registration - Step 7                       </vt:lpstr>
      <vt:lpstr> Registration Complete!</vt:lpstr>
      <vt:lpstr>         The Supplier will receive a Qualification Questionnaire from Faurecia by mail           </vt:lpstr>
      <vt:lpstr>         The Supplier performs Qualification Questionnaire           </vt:lpstr>
      <vt:lpstr> Qualification Process Complete!</vt:lpstr>
      <vt:lpstr>     After registering:  How to use the interactive e-mail </vt:lpstr>
      <vt:lpstr>         How to use the  interactive e-mail – Create PO confirmation          Confirm Entire Order</vt:lpstr>
      <vt:lpstr>       How to use the interactive e-mail – Create PO confirmation       Confirm Entire Order</vt:lpstr>
      <vt:lpstr>       How to use the interactive e-mail – Create PO confirmation       Reject Entire Order</vt:lpstr>
      <vt:lpstr>      How to use the interactive e-mail – Create Ship Notice</vt:lpstr>
      <vt:lpstr> How to use the interactive e-mail – Create Ship Notice (1/3)</vt:lpstr>
      <vt:lpstr>      How to use the interactive e-mail – Create Ship Notice (2/3)</vt:lpstr>
      <vt:lpstr>      How to use the interactive e-mail – Create Ship Notice (3/3)</vt:lpstr>
      <vt:lpstr>      How to use the interactive e-mail – Create invoice         </vt:lpstr>
      <vt:lpstr>      How to use the interactive e-mail – Create Invoice (1/3)</vt:lpstr>
      <vt:lpstr>      How to use the interactive e-mail – Create Invoice (2/3)</vt:lpstr>
      <vt:lpstr>      How to use the interactive e-mail – Create Invoice (3/3)</vt:lpstr>
      <vt:lpstr>      How to use the  interactive e-mail –  Lost PO</vt:lpstr>
      <vt:lpstr>        Ariba Support Access (1/3) </vt:lpstr>
      <vt:lpstr>Présentation PowerPoint</vt:lpstr>
      <vt:lpstr>                        Ariba Support Access (3/3) </vt:lpstr>
      <vt:lpstr>Présentation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COLLERY Michele</dc:creator>
  <cp:lastModifiedBy>Claude CHASSARD</cp:lastModifiedBy>
  <cp:revision>661</cp:revision>
  <cp:lastPrinted>2019-09-18T12:35:15Z</cp:lastPrinted>
  <dcterms:created xsi:type="dcterms:W3CDTF">2019-04-11T13:07:10Z</dcterms:created>
  <dcterms:modified xsi:type="dcterms:W3CDTF">2020-11-02T12:0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FD93998378FCC4EA07AF806DBCFE58E</vt:lpwstr>
  </property>
  <property fmtid="{D5CDD505-2E9C-101B-9397-08002B2CF9AE}" pid="3" name="docIndexRef">
    <vt:lpwstr>4dcb5ea9-8bc7-4d74-b4a8-e7bdf1ef3a3b</vt:lpwstr>
  </property>
  <property fmtid="{D5CDD505-2E9C-101B-9397-08002B2CF9AE}" pid="4" name="bjSaver">
    <vt:lpwstr>CqHrL/cTktVys/4sx2KRsOgF9NRxZouA</vt:lpwstr>
  </property>
  <property fmtid="{D5CDD505-2E9C-101B-9397-08002B2CF9AE}" pid="5" name="bjDocumentLabelXML">
    <vt:lpwstr>&lt;?xml version="1.0" encoding="us-ascii"?&gt;&lt;sisl xmlns:xsi="http://www.w3.org/2001/XMLSchema-instance" xmlns:xsd="http://www.w3.org/2001/XMLSchema" sislVersion="0" policy="2152ec2e-c0c1-4834-9aa1-dc782ab0e2aa" origin="userSelected" xmlns="http://www.boldonj</vt:lpwstr>
  </property>
  <property fmtid="{D5CDD505-2E9C-101B-9397-08002B2CF9AE}" pid="6" name="bjDocumentLabelXML-0">
    <vt:lpwstr>ames.com/2008/01/sie/internal/label"&gt;&lt;element uid="67e66f8d-4e76-4fdc-a7a1-b421fe54f86a" value="" /&gt;&lt;/sisl&gt;</vt:lpwstr>
  </property>
  <property fmtid="{D5CDD505-2E9C-101B-9397-08002B2CF9AE}" pid="7" name="bjDocumentSecurityLabel">
    <vt:lpwstr>N O N - S E N S I T I V E      </vt:lpwstr>
  </property>
  <property fmtid="{D5CDD505-2E9C-101B-9397-08002B2CF9AE}" pid="8" name="bjSlideMasterFooterText">
    <vt:lpwstr> </vt:lpwstr>
  </property>
  <property fmtid="{D5CDD505-2E9C-101B-9397-08002B2CF9AE}" pid="9" name="Offisync_ServerID">
    <vt:lpwstr>49dd7498-7dcb-4346-8342-7736edc0ff88</vt:lpwstr>
  </property>
  <property fmtid="{D5CDD505-2E9C-101B-9397-08002B2CF9AE}" pid="10" name="Offisync_ProviderInitializationData">
    <vt:lpwstr>https://faurus.ww.faurecia.com/</vt:lpwstr>
  </property>
  <property fmtid="{D5CDD505-2E9C-101B-9397-08002B2CF9AE}" pid="11" name="Offisync_UpdateToken">
    <vt:lpwstr>1</vt:lpwstr>
  </property>
  <property fmtid="{D5CDD505-2E9C-101B-9397-08002B2CF9AE}" pid="12" name="Jive_PrevVersionNumber">
    <vt:lpwstr>-1</vt:lpwstr>
  </property>
  <property fmtid="{D5CDD505-2E9C-101B-9397-08002B2CF9AE}" pid="13" name="Jive_LatestUserAccountName">
    <vt:lpwstr>collerym</vt:lpwstr>
  </property>
  <property fmtid="{D5CDD505-2E9C-101B-9397-08002B2CF9AE}" pid="14" name="Jive_LatestFileFullName">
    <vt:lpwstr>be00d94f45f9cccd59354a16eafada50</vt:lpwstr>
  </property>
  <property fmtid="{D5CDD505-2E9C-101B-9397-08002B2CF9AE}" pid="15" name="Jive_ModifiedButNotPublished">
    <vt:lpwstr>True</vt:lpwstr>
  </property>
  <property fmtid="{D5CDD505-2E9C-101B-9397-08002B2CF9AE}" pid="16" name="Offisync_UniqueId">
    <vt:lpwstr>178118</vt:lpwstr>
  </property>
</Properties>
</file>